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wmf" ContentType="image/x-wm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4.xml" ContentType="application/vnd.openxmlformats-officedocument.theme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5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theme/theme6.xml" ContentType="application/vnd.openxmlformats-officedocument.theme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omments/modernComment_1EC_7E6CADD2.xml" ContentType="application/vnd.ms-powerpoint.comments+xml"/>
  <Override PartName="/ppt/notesSlides/notesSlide3.xml" ContentType="application/vnd.openxmlformats-officedocument.presentationml.notesSlide+xml"/>
  <Override PartName="/ppt/comments/modernComment_20D_7725D55D.xml" ContentType="application/vnd.ms-powerpoint.comments+xml"/>
  <Override PartName="/ppt/comments/modernComment_1D8_25052CCA.xml" ContentType="application/vnd.ms-powerpoint.comments+xml"/>
  <Override PartName="/ppt/comments/modernComment_1D7_DF015B7.xml" ContentType="application/vnd.ms-powerpoint.comment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omments/modernComment_1DA_74406E95.xml" ContentType="application/vnd.ms-powerpoint.comment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rawings/drawing1.xml" ContentType="application/vnd.openxmlformats-officedocument.drawingml.chartshapes+xml"/>
  <Override PartName="/ppt/notesSlides/notesSlide14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drawings/drawing2.xml" ContentType="application/vnd.openxmlformats-officedocument.drawingml.chartshape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18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64" r:id="rId4"/>
    <p:sldMasterId id="2147483779" r:id="rId5"/>
    <p:sldMasterId id="2147483797" r:id="rId6"/>
    <p:sldMasterId id="2147483820" r:id="rId7"/>
    <p:sldMasterId id="2147483852" r:id="rId8"/>
    <p:sldMasterId id="2147483896" r:id="rId9"/>
    <p:sldMasterId id="2147483912" r:id="rId10"/>
  </p:sldMasterIdLst>
  <p:notesMasterIdLst>
    <p:notesMasterId r:id="rId41"/>
  </p:notesMasterIdLst>
  <p:handoutMasterIdLst>
    <p:handoutMasterId r:id="rId42"/>
  </p:handoutMasterIdLst>
  <p:sldIdLst>
    <p:sldId id="486" r:id="rId11"/>
    <p:sldId id="302" r:id="rId12"/>
    <p:sldId id="276" r:id="rId13"/>
    <p:sldId id="277" r:id="rId14"/>
    <p:sldId id="289" r:id="rId15"/>
    <p:sldId id="491" r:id="rId16"/>
    <p:sldId id="492" r:id="rId17"/>
    <p:sldId id="525" r:id="rId18"/>
    <p:sldId id="472" r:id="rId19"/>
    <p:sldId id="471" r:id="rId20"/>
    <p:sldId id="473" r:id="rId21"/>
    <p:sldId id="338" r:id="rId22"/>
    <p:sldId id="474" r:id="rId23"/>
    <p:sldId id="521" r:id="rId24"/>
    <p:sldId id="526" r:id="rId25"/>
    <p:sldId id="508" r:id="rId26"/>
    <p:sldId id="522" r:id="rId27"/>
    <p:sldId id="523" r:id="rId28"/>
    <p:sldId id="524" r:id="rId29"/>
    <p:sldId id="533" r:id="rId30"/>
    <p:sldId id="529" r:id="rId31"/>
    <p:sldId id="535" r:id="rId32"/>
    <p:sldId id="536" r:id="rId33"/>
    <p:sldId id="538" r:id="rId34"/>
    <p:sldId id="539" r:id="rId35"/>
    <p:sldId id="540" r:id="rId36"/>
    <p:sldId id="541" r:id="rId37"/>
    <p:sldId id="509" r:id="rId38"/>
    <p:sldId id="513" r:id="rId39"/>
    <p:sldId id="510" r:id="rId40"/>
  </p:sldIdLst>
  <p:sldSz cx="12192000" cy="6858000"/>
  <p:notesSz cx="6797675" cy="992663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ain Slides" id="{E1974ECC-2F0E-7648-81E0-CE7CA352CA6E}">
          <p14:sldIdLst>
            <p14:sldId id="486"/>
            <p14:sldId id="302"/>
            <p14:sldId id="276"/>
            <p14:sldId id="277"/>
            <p14:sldId id="289"/>
            <p14:sldId id="491"/>
            <p14:sldId id="492"/>
            <p14:sldId id="525"/>
            <p14:sldId id="472"/>
            <p14:sldId id="471"/>
            <p14:sldId id="473"/>
            <p14:sldId id="338"/>
            <p14:sldId id="474"/>
            <p14:sldId id="521"/>
            <p14:sldId id="526"/>
            <p14:sldId id="508"/>
            <p14:sldId id="522"/>
            <p14:sldId id="523"/>
            <p14:sldId id="524"/>
            <p14:sldId id="533"/>
            <p14:sldId id="529"/>
            <p14:sldId id="535"/>
            <p14:sldId id="536"/>
            <p14:sldId id="538"/>
            <p14:sldId id="539"/>
            <p14:sldId id="540"/>
            <p14:sldId id="541"/>
            <p14:sldId id="509"/>
            <p14:sldId id="513"/>
            <p14:sldId id="51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94E5882-CBDA-A240-C437-F112C8C93470}" name="Munarini, Jessica" initials="MJ" userId="S::JMunarini@ppg.com::4069313f-ad49-42bb-b4f1-148e87e20160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irte Hoock" initials="BH" lastIdx="52" clrIdx="0">
    <p:extLst>
      <p:ext uri="{19B8F6BF-5375-455C-9EA6-DF929625EA0E}">
        <p15:presenceInfo xmlns:p15="http://schemas.microsoft.com/office/powerpoint/2012/main" userId="S-1-5-21-1275210071-1592454029-725345543-1787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11111"/>
    <a:srgbClr val="7D7E7F"/>
    <a:srgbClr val="343434"/>
    <a:srgbClr val="00B149"/>
    <a:srgbClr val="D0006F"/>
    <a:srgbClr val="E5F7EC"/>
    <a:srgbClr val="B2E9FB"/>
    <a:srgbClr val="FFE5D0"/>
    <a:srgbClr val="3EC7F4"/>
    <a:srgbClr val="0078A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49AAC0B-016C-41CD-BAAF-ADE1535BD0FF}" v="15" dt="2023-09-05T11:31:56.20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006" autoAdjust="0"/>
    <p:restoredTop sz="96259" autoAdjust="0"/>
  </p:normalViewPr>
  <p:slideViewPr>
    <p:cSldViewPr snapToGrid="0" snapToObjects="1">
      <p:cViewPr>
        <p:scale>
          <a:sx n="110" d="100"/>
          <a:sy n="110" d="100"/>
        </p:scale>
        <p:origin x="274" y="509"/>
      </p:cViewPr>
      <p:guideLst>
        <p:guide orient="horz" pos="2160"/>
        <p:guide pos="3840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napToGrid="0" snapToObjects="1">
      <p:cViewPr varScale="1">
        <p:scale>
          <a:sx n="75" d="100"/>
          <a:sy n="75" d="100"/>
        </p:scale>
        <p:origin x="2502" y="7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9" Type="http://schemas.openxmlformats.org/officeDocument/2006/relationships/slide" Target="slides/slide29.xml"/><Relationship Id="rId21" Type="http://schemas.openxmlformats.org/officeDocument/2006/relationships/slide" Target="slides/slide11.xml"/><Relationship Id="rId34" Type="http://schemas.openxmlformats.org/officeDocument/2006/relationships/slide" Target="slides/slide24.xml"/><Relationship Id="rId42" Type="http://schemas.openxmlformats.org/officeDocument/2006/relationships/handoutMaster" Target="handoutMasters/handoutMaster1.xml"/><Relationship Id="rId47" Type="http://schemas.openxmlformats.org/officeDocument/2006/relationships/tableStyles" Target="tableStyles.xml"/><Relationship Id="rId50" Type="http://schemas.microsoft.com/office/2018/10/relationships/authors" Target="author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9" Type="http://schemas.openxmlformats.org/officeDocument/2006/relationships/slide" Target="slides/slide19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slide" Target="slides/slide22.xml"/><Relationship Id="rId37" Type="http://schemas.openxmlformats.org/officeDocument/2006/relationships/slide" Target="slides/slide27.xml"/><Relationship Id="rId40" Type="http://schemas.openxmlformats.org/officeDocument/2006/relationships/slide" Target="slides/slide30.xml"/><Relationship Id="rId45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36" Type="http://schemas.openxmlformats.org/officeDocument/2006/relationships/slide" Target="slides/slide26.xml"/><Relationship Id="rId49" Type="http://schemas.microsoft.com/office/2015/10/relationships/revisionInfo" Target="revisionInfo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9.xml"/><Relationship Id="rId31" Type="http://schemas.openxmlformats.org/officeDocument/2006/relationships/slide" Target="slides/slide21.xml"/><Relationship Id="rId44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slide" Target="slides/slide20.xml"/><Relationship Id="rId35" Type="http://schemas.openxmlformats.org/officeDocument/2006/relationships/slide" Target="slides/slide25.xml"/><Relationship Id="rId43" Type="http://schemas.openxmlformats.org/officeDocument/2006/relationships/commentAuthors" Target="commentAuthors.xml"/><Relationship Id="rId48" Type="http://schemas.microsoft.com/office/2016/11/relationships/changesInfo" Target="changesInfos/changesInfo1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slide" Target="slides/slide23.xml"/><Relationship Id="rId38" Type="http://schemas.openxmlformats.org/officeDocument/2006/relationships/slide" Target="slides/slide28.xml"/><Relationship Id="rId46" Type="http://schemas.openxmlformats.org/officeDocument/2006/relationships/theme" Target="theme/theme1.xml"/><Relationship Id="rId20" Type="http://schemas.openxmlformats.org/officeDocument/2006/relationships/slide" Target="slides/slide10.xml"/><Relationship Id="rId41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unarini, Jessica" userId="4069313f-ad49-42bb-b4f1-148e87e20160" providerId="ADAL" clId="{349AAC0B-016C-41CD-BAAF-ADE1535BD0FF}"/>
    <pc:docChg chg="undo redo custSel modSld">
      <pc:chgData name="Munarini, Jessica" userId="4069313f-ad49-42bb-b4f1-148e87e20160" providerId="ADAL" clId="{349AAC0B-016C-41CD-BAAF-ADE1535BD0FF}" dt="2023-09-06T15:29:00.147" v="531"/>
      <pc:docMkLst>
        <pc:docMk/>
      </pc:docMkLst>
      <pc:sldChg chg="modSp mod">
        <pc:chgData name="Munarini, Jessica" userId="4069313f-ad49-42bb-b4f1-148e87e20160" providerId="ADAL" clId="{349AAC0B-016C-41CD-BAAF-ADE1535BD0FF}" dt="2023-09-04T16:26:38.324" v="309" actId="20577"/>
        <pc:sldMkLst>
          <pc:docMk/>
          <pc:sldMk cId="429445670" sldId="276"/>
        </pc:sldMkLst>
        <pc:spChg chg="mod">
          <ac:chgData name="Munarini, Jessica" userId="4069313f-ad49-42bb-b4f1-148e87e20160" providerId="ADAL" clId="{349AAC0B-016C-41CD-BAAF-ADE1535BD0FF}" dt="2023-09-04T15:56:00.359" v="43" actId="313"/>
          <ac:spMkLst>
            <pc:docMk/>
            <pc:sldMk cId="429445670" sldId="276"/>
            <ac:spMk id="2" creationId="{4BF545CF-D3F8-6546-B2EE-55733FD4A04E}"/>
          </ac:spMkLst>
        </pc:spChg>
        <pc:spChg chg="mod">
          <ac:chgData name="Munarini, Jessica" userId="4069313f-ad49-42bb-b4f1-148e87e20160" providerId="ADAL" clId="{349AAC0B-016C-41CD-BAAF-ADE1535BD0FF}" dt="2023-09-04T16:26:38.324" v="309" actId="20577"/>
          <ac:spMkLst>
            <pc:docMk/>
            <pc:sldMk cId="429445670" sldId="276"/>
            <ac:spMk id="12" creationId="{BECB150F-9A72-7E4F-904F-44BC6E90A03D}"/>
          </ac:spMkLst>
        </pc:spChg>
      </pc:sldChg>
      <pc:sldChg chg="modSp mod">
        <pc:chgData name="Munarini, Jessica" userId="4069313f-ad49-42bb-b4f1-148e87e20160" providerId="ADAL" clId="{349AAC0B-016C-41CD-BAAF-ADE1535BD0FF}" dt="2023-09-04T15:56:01.027" v="44" actId="313"/>
        <pc:sldMkLst>
          <pc:docMk/>
          <pc:sldMk cId="411590568" sldId="277"/>
        </pc:sldMkLst>
        <pc:spChg chg="mod">
          <ac:chgData name="Munarini, Jessica" userId="4069313f-ad49-42bb-b4f1-148e87e20160" providerId="ADAL" clId="{349AAC0B-016C-41CD-BAAF-ADE1535BD0FF}" dt="2023-09-04T15:56:01.027" v="44" actId="313"/>
          <ac:spMkLst>
            <pc:docMk/>
            <pc:sldMk cId="411590568" sldId="277"/>
            <ac:spMk id="2" creationId="{4D9657F0-36A9-CA40-93B4-57D4CF8581FD}"/>
          </ac:spMkLst>
        </pc:spChg>
      </pc:sldChg>
      <pc:sldChg chg="modSp mod">
        <pc:chgData name="Munarini, Jessica" userId="4069313f-ad49-42bb-b4f1-148e87e20160" providerId="ADAL" clId="{349AAC0B-016C-41CD-BAAF-ADE1535BD0FF}" dt="2023-09-04T15:56:01.540" v="45" actId="313"/>
        <pc:sldMkLst>
          <pc:docMk/>
          <pc:sldMk cId="1719424667" sldId="289"/>
        </pc:sldMkLst>
        <pc:spChg chg="mod">
          <ac:chgData name="Munarini, Jessica" userId="4069313f-ad49-42bb-b4f1-148e87e20160" providerId="ADAL" clId="{349AAC0B-016C-41CD-BAAF-ADE1535BD0FF}" dt="2023-09-04T15:56:01.540" v="45" actId="313"/>
          <ac:spMkLst>
            <pc:docMk/>
            <pc:sldMk cId="1719424667" sldId="289"/>
            <ac:spMk id="2" creationId="{D4582ABE-9E62-9F4B-B88D-54EABD4AF0DF}"/>
          </ac:spMkLst>
        </pc:spChg>
      </pc:sldChg>
      <pc:sldChg chg="modSp mod">
        <pc:chgData name="Munarini, Jessica" userId="4069313f-ad49-42bb-b4f1-148e87e20160" providerId="ADAL" clId="{349AAC0B-016C-41CD-BAAF-ADE1535BD0FF}" dt="2023-09-04T15:56:05.519" v="52" actId="313"/>
        <pc:sldMkLst>
          <pc:docMk/>
          <pc:sldMk cId="1228613405" sldId="338"/>
        </pc:sldMkLst>
        <pc:spChg chg="mod">
          <ac:chgData name="Munarini, Jessica" userId="4069313f-ad49-42bb-b4f1-148e87e20160" providerId="ADAL" clId="{349AAC0B-016C-41CD-BAAF-ADE1535BD0FF}" dt="2023-09-04T15:56:05.519" v="52" actId="313"/>
          <ac:spMkLst>
            <pc:docMk/>
            <pc:sldMk cId="1228613405" sldId="338"/>
            <ac:spMk id="20" creationId="{3FE60FDD-BDD4-8B4E-8CED-0881FD9A2416}"/>
          </ac:spMkLst>
        </pc:spChg>
      </pc:sldChg>
      <pc:sldChg chg="modSp mod addCm">
        <pc:chgData name="Munarini, Jessica" userId="4069313f-ad49-42bb-b4f1-148e87e20160" providerId="ADAL" clId="{349AAC0B-016C-41CD-BAAF-ADE1535BD0FF}" dt="2023-09-06T15:29:00.147" v="531"/>
        <pc:sldMkLst>
          <pc:docMk/>
          <pc:sldMk cId="233838007" sldId="471"/>
        </pc:sldMkLst>
        <pc:spChg chg="mod">
          <ac:chgData name="Munarini, Jessica" userId="4069313f-ad49-42bb-b4f1-148e87e20160" providerId="ADAL" clId="{349AAC0B-016C-41CD-BAAF-ADE1535BD0FF}" dt="2023-09-04T15:56:04.482" v="50" actId="313"/>
          <ac:spMkLst>
            <pc:docMk/>
            <pc:sldMk cId="233838007" sldId="471"/>
            <ac:spMk id="30" creationId="{8BAEBC4F-2F44-F04D-BF44-89F4C534FF9B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Munarini, Jessica" userId="4069313f-ad49-42bb-b4f1-148e87e20160" providerId="ADAL" clId="{349AAC0B-016C-41CD-BAAF-ADE1535BD0FF}" dt="2023-09-06T15:29:00.147" v="531"/>
              <pc2:cmMkLst xmlns:pc2="http://schemas.microsoft.com/office/powerpoint/2019/9/main/command">
                <pc:docMk/>
                <pc:sldMk cId="233838007" sldId="471"/>
                <pc2:cmMk id="{D0777B87-84A5-41B0-B6F2-5E565426CA6D}"/>
              </pc2:cmMkLst>
            </pc226:cmChg>
          </p:ext>
        </pc:extLst>
      </pc:sldChg>
      <pc:sldChg chg="modSp mod addCm modCm">
        <pc:chgData name="Munarini, Jessica" userId="4069313f-ad49-42bb-b4f1-148e87e20160" providerId="ADAL" clId="{349AAC0B-016C-41CD-BAAF-ADE1535BD0FF}" dt="2023-09-06T15:28:39.717" v="530"/>
        <pc:sldMkLst>
          <pc:docMk/>
          <pc:sldMk cId="621096138" sldId="472"/>
        </pc:sldMkLst>
        <pc:spChg chg="mod">
          <ac:chgData name="Munarini, Jessica" userId="4069313f-ad49-42bb-b4f1-148e87e20160" providerId="ADAL" clId="{349AAC0B-016C-41CD-BAAF-ADE1535BD0FF}" dt="2023-09-04T15:56:03.941" v="49" actId="313"/>
          <ac:spMkLst>
            <pc:docMk/>
            <pc:sldMk cId="621096138" sldId="472"/>
            <ac:spMk id="20" creationId="{61B56B05-7715-E84D-8A26-610F6338BED0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 mod">
              <pc226:chgData name="Munarini, Jessica" userId="4069313f-ad49-42bb-b4f1-148e87e20160" providerId="ADAL" clId="{349AAC0B-016C-41CD-BAAF-ADE1535BD0FF}" dt="2023-09-06T15:28:39.717" v="530"/>
              <pc2:cmMkLst xmlns:pc2="http://schemas.microsoft.com/office/powerpoint/2019/9/main/command">
                <pc:docMk/>
                <pc:sldMk cId="621096138" sldId="472"/>
                <pc2:cmMk id="{DA691F56-AE2F-4AFD-ABD9-22D7CD60DAFC}"/>
              </pc2:cmMkLst>
            </pc226:cmChg>
          </p:ext>
        </pc:extLst>
      </pc:sldChg>
      <pc:sldChg chg="modSp mod">
        <pc:chgData name="Munarini, Jessica" userId="4069313f-ad49-42bb-b4f1-148e87e20160" providerId="ADAL" clId="{349AAC0B-016C-41CD-BAAF-ADE1535BD0FF}" dt="2023-09-04T15:56:05.028" v="51" actId="313"/>
        <pc:sldMkLst>
          <pc:docMk/>
          <pc:sldMk cId="3856830542" sldId="473"/>
        </pc:sldMkLst>
        <pc:spChg chg="mod">
          <ac:chgData name="Munarini, Jessica" userId="4069313f-ad49-42bb-b4f1-148e87e20160" providerId="ADAL" clId="{349AAC0B-016C-41CD-BAAF-ADE1535BD0FF}" dt="2023-09-04T15:56:05.028" v="51" actId="313"/>
          <ac:spMkLst>
            <pc:docMk/>
            <pc:sldMk cId="3856830542" sldId="473"/>
            <ac:spMk id="72" creationId="{21A29B3C-DE41-DF40-B45F-E32C3A67D19F}"/>
          </ac:spMkLst>
        </pc:spChg>
      </pc:sldChg>
      <pc:sldChg chg="modSp mod addCm delCm modCm">
        <pc:chgData name="Munarini, Jessica" userId="4069313f-ad49-42bb-b4f1-148e87e20160" providerId="ADAL" clId="{349AAC0B-016C-41CD-BAAF-ADE1535BD0FF}" dt="2023-09-06T12:17:40.442" v="460"/>
        <pc:sldMkLst>
          <pc:docMk/>
          <pc:sldMk cId="1950379669" sldId="474"/>
        </pc:sldMkLst>
        <pc:spChg chg="mod">
          <ac:chgData name="Munarini, Jessica" userId="4069313f-ad49-42bb-b4f1-148e87e20160" providerId="ADAL" clId="{349AAC0B-016C-41CD-BAAF-ADE1535BD0FF}" dt="2023-09-04T15:56:06.078" v="53" actId="313"/>
          <ac:spMkLst>
            <pc:docMk/>
            <pc:sldMk cId="1950379669" sldId="474"/>
            <ac:spMk id="51" creationId="{6CB66F11-05B8-ED41-AA4E-8BC0D3D0E761}"/>
          </ac:spMkLst>
        </pc:spChg>
        <pc:spChg chg="mod">
          <ac:chgData name="Munarini, Jessica" userId="4069313f-ad49-42bb-b4f1-148e87e20160" providerId="ADAL" clId="{349AAC0B-016C-41CD-BAAF-ADE1535BD0FF}" dt="2023-09-05T11:32:14.060" v="434" actId="947"/>
          <ac:spMkLst>
            <pc:docMk/>
            <pc:sldMk cId="1950379669" sldId="474"/>
            <ac:spMk id="73" creationId="{B9EAC9AA-2773-4721-9144-0CC0F7E7FB46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 del">
              <pc226:chgData name="Munarini, Jessica" userId="4069313f-ad49-42bb-b4f1-148e87e20160" providerId="ADAL" clId="{349AAC0B-016C-41CD-BAAF-ADE1535BD0FF}" dt="2023-09-06T12:17:12.912" v="457"/>
              <pc2:cmMkLst xmlns:pc2="http://schemas.microsoft.com/office/powerpoint/2019/9/main/command">
                <pc:docMk/>
                <pc:sldMk cId="1950379669" sldId="474"/>
                <pc2:cmMk id="{97770E38-B80B-4AAD-AA40-51E3CAEA9AFC}"/>
              </pc2:cmMkLst>
            </pc226:cmChg>
            <pc226:cmChg xmlns:pc226="http://schemas.microsoft.com/office/powerpoint/2022/06/main/command" chg="add del">
              <pc226:chgData name="Munarini, Jessica" userId="4069313f-ad49-42bb-b4f1-148e87e20160" providerId="ADAL" clId="{349AAC0B-016C-41CD-BAAF-ADE1535BD0FF}" dt="2023-09-06T12:17:18.995" v="458"/>
              <pc2:cmMkLst xmlns:pc2="http://schemas.microsoft.com/office/powerpoint/2019/9/main/command">
                <pc:docMk/>
                <pc:sldMk cId="1950379669" sldId="474"/>
                <pc2:cmMk id="{E054F47D-3256-4CDC-A22A-91A185F6E0B1}"/>
              </pc2:cmMkLst>
            </pc226:cmChg>
            <pc226:cmChg xmlns:pc226="http://schemas.microsoft.com/office/powerpoint/2022/06/main/command" chg="add del">
              <pc226:chgData name="Munarini, Jessica" userId="4069313f-ad49-42bb-b4f1-148e87e20160" providerId="ADAL" clId="{349AAC0B-016C-41CD-BAAF-ADE1535BD0FF}" dt="2023-09-06T12:17:27.770" v="459"/>
              <pc2:cmMkLst xmlns:pc2="http://schemas.microsoft.com/office/powerpoint/2019/9/main/command">
                <pc:docMk/>
                <pc:sldMk cId="1950379669" sldId="474"/>
                <pc2:cmMk id="{5E231E81-DFC1-4B1E-8F1B-8BF1F8F546EA}"/>
              </pc2:cmMkLst>
            </pc226:cmChg>
            <pc226:cmChg xmlns:pc226="http://schemas.microsoft.com/office/powerpoint/2022/06/main/command" chg="add mod">
              <pc226:chgData name="Munarini, Jessica" userId="4069313f-ad49-42bb-b4f1-148e87e20160" providerId="ADAL" clId="{349AAC0B-016C-41CD-BAAF-ADE1535BD0FF}" dt="2023-09-06T12:17:40.442" v="460"/>
              <pc2:cmMkLst xmlns:pc2="http://schemas.microsoft.com/office/powerpoint/2019/9/main/command">
                <pc:docMk/>
                <pc:sldMk cId="1950379669" sldId="474"/>
                <pc2:cmMk id="{8B16168D-8E12-4AEC-BC38-14208F3BD5E8}"/>
              </pc2:cmMkLst>
            </pc226:cmChg>
            <pc226:cmChg xmlns:pc226="http://schemas.microsoft.com/office/powerpoint/2022/06/main/command" chg="add del">
              <pc226:chgData name="Munarini, Jessica" userId="4069313f-ad49-42bb-b4f1-148e87e20160" providerId="ADAL" clId="{349AAC0B-016C-41CD-BAAF-ADE1535BD0FF}" dt="2023-09-06T12:16:39.085" v="456"/>
              <pc2:cmMkLst xmlns:pc2="http://schemas.microsoft.com/office/powerpoint/2019/9/main/command">
                <pc:docMk/>
                <pc:sldMk cId="1950379669" sldId="474"/>
                <pc2:cmMk id="{F4BD31AD-EB05-4D42-84F9-17C712304724}"/>
              </pc2:cmMkLst>
            </pc226:cmChg>
          </p:ext>
        </pc:extLst>
      </pc:sldChg>
      <pc:sldChg chg="modSp mod">
        <pc:chgData name="Munarini, Jessica" userId="4069313f-ad49-42bb-b4f1-148e87e20160" providerId="ADAL" clId="{349AAC0B-016C-41CD-BAAF-ADE1535BD0FF}" dt="2023-09-04T15:56:18.252" v="63" actId="20577"/>
        <pc:sldMkLst>
          <pc:docMk/>
          <pc:sldMk cId="1118426770" sldId="486"/>
        </pc:sldMkLst>
        <pc:spChg chg="mod">
          <ac:chgData name="Munarini, Jessica" userId="4069313f-ad49-42bb-b4f1-148e87e20160" providerId="ADAL" clId="{349AAC0B-016C-41CD-BAAF-ADE1535BD0FF}" dt="2023-09-04T15:56:18.252" v="63" actId="20577"/>
          <ac:spMkLst>
            <pc:docMk/>
            <pc:sldMk cId="1118426770" sldId="486"/>
            <ac:spMk id="4" creationId="{00000000-0000-0000-0000-000000000000}"/>
          </ac:spMkLst>
        </pc:spChg>
      </pc:sldChg>
      <pc:sldChg chg="modSp mod">
        <pc:chgData name="Munarini, Jessica" userId="4069313f-ad49-42bb-b4f1-148e87e20160" providerId="ADAL" clId="{349AAC0B-016C-41CD-BAAF-ADE1535BD0FF}" dt="2023-09-04T15:56:02.046" v="46" actId="313"/>
        <pc:sldMkLst>
          <pc:docMk/>
          <pc:sldMk cId="1791590726" sldId="491"/>
        </pc:sldMkLst>
        <pc:spChg chg="mod">
          <ac:chgData name="Munarini, Jessica" userId="4069313f-ad49-42bb-b4f1-148e87e20160" providerId="ADAL" clId="{349AAC0B-016C-41CD-BAAF-ADE1535BD0FF}" dt="2023-09-04T15:56:02.046" v="46" actId="313"/>
          <ac:spMkLst>
            <pc:docMk/>
            <pc:sldMk cId="1791590726" sldId="491"/>
            <ac:spMk id="12" creationId="{D4582ABE-9E62-9F4B-B88D-54EABD4AF0DF}"/>
          </ac:spMkLst>
        </pc:spChg>
      </pc:sldChg>
      <pc:sldChg chg="modSp mod addCm modCm">
        <pc:chgData name="Munarini, Jessica" userId="4069313f-ad49-42bb-b4f1-148e87e20160" providerId="ADAL" clId="{349AAC0B-016C-41CD-BAAF-ADE1535BD0FF}" dt="2023-09-06T15:27:54.540" v="528"/>
        <pc:sldMkLst>
          <pc:docMk/>
          <pc:sldMk cId="2121051602" sldId="492"/>
        </pc:sldMkLst>
        <pc:spChg chg="mod">
          <ac:chgData name="Munarini, Jessica" userId="4069313f-ad49-42bb-b4f1-148e87e20160" providerId="ADAL" clId="{349AAC0B-016C-41CD-BAAF-ADE1535BD0FF}" dt="2023-09-04T15:56:02.548" v="47" actId="313"/>
          <ac:spMkLst>
            <pc:docMk/>
            <pc:sldMk cId="2121051602" sldId="492"/>
            <ac:spMk id="109" creationId="{74532774-AEF7-A94B-90C7-FD0E87AED5BF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 mod">
              <pc226:chgData name="Munarini, Jessica" userId="4069313f-ad49-42bb-b4f1-148e87e20160" providerId="ADAL" clId="{349AAC0B-016C-41CD-BAAF-ADE1535BD0FF}" dt="2023-09-06T15:27:54.540" v="528"/>
              <pc2:cmMkLst xmlns:pc2="http://schemas.microsoft.com/office/powerpoint/2019/9/main/command">
                <pc:docMk/>
                <pc:sldMk cId="2121051602" sldId="492"/>
                <pc2:cmMk id="{CD1FB91D-8D76-4B63-9E83-138C133C7915}"/>
              </pc2:cmMkLst>
            </pc226:cmChg>
          </p:ext>
        </pc:extLst>
      </pc:sldChg>
      <pc:sldChg chg="modSp mod">
        <pc:chgData name="Munarini, Jessica" userId="4069313f-ad49-42bb-b4f1-148e87e20160" providerId="ADAL" clId="{349AAC0B-016C-41CD-BAAF-ADE1535BD0FF}" dt="2023-09-04T16:33:45.245" v="319" actId="947"/>
        <pc:sldMkLst>
          <pc:docMk/>
          <pc:sldMk cId="2399693901" sldId="508"/>
        </pc:sldMkLst>
        <pc:spChg chg="mod">
          <ac:chgData name="Munarini, Jessica" userId="4069313f-ad49-42bb-b4f1-148e87e20160" providerId="ADAL" clId="{349AAC0B-016C-41CD-BAAF-ADE1535BD0FF}" dt="2023-09-04T16:33:45.245" v="319" actId="947"/>
          <ac:spMkLst>
            <pc:docMk/>
            <pc:sldMk cId="2399693901" sldId="508"/>
            <ac:spMk id="3" creationId="{71502770-C4EB-764F-ACBF-6D502E7E3AB7}"/>
          </ac:spMkLst>
        </pc:spChg>
        <pc:spChg chg="mod">
          <ac:chgData name="Munarini, Jessica" userId="4069313f-ad49-42bb-b4f1-148e87e20160" providerId="ADAL" clId="{349AAC0B-016C-41CD-BAAF-ADE1535BD0FF}" dt="2023-09-04T15:55:46.882" v="27" actId="313"/>
          <ac:spMkLst>
            <pc:docMk/>
            <pc:sldMk cId="2399693901" sldId="508"/>
            <ac:spMk id="27" creationId="{6E5CEC5A-0292-2C4E-9FBC-70E90691188F}"/>
          </ac:spMkLst>
        </pc:spChg>
      </pc:sldChg>
      <pc:sldChg chg="addSp modSp mod">
        <pc:chgData name="Munarini, Jessica" userId="4069313f-ad49-42bb-b4f1-148e87e20160" providerId="ADAL" clId="{349AAC0B-016C-41CD-BAAF-ADE1535BD0FF}" dt="2023-09-05T08:27:04.191" v="421" actId="207"/>
        <pc:sldMkLst>
          <pc:docMk/>
          <pc:sldMk cId="3145709942" sldId="509"/>
        </pc:sldMkLst>
        <pc:spChg chg="add mod">
          <ac:chgData name="Munarini, Jessica" userId="4069313f-ad49-42bb-b4f1-148e87e20160" providerId="ADAL" clId="{349AAC0B-016C-41CD-BAAF-ADE1535BD0FF}" dt="2023-09-05T08:27:04.191" v="421" actId="207"/>
          <ac:spMkLst>
            <pc:docMk/>
            <pc:sldMk cId="3145709942" sldId="509"/>
            <ac:spMk id="2" creationId="{ED8427F5-CAD0-461F-3703-60636744474E}"/>
          </ac:spMkLst>
        </pc:spChg>
        <pc:spChg chg="mod">
          <ac:chgData name="Munarini, Jessica" userId="4069313f-ad49-42bb-b4f1-148e87e20160" providerId="ADAL" clId="{349AAC0B-016C-41CD-BAAF-ADE1535BD0FF}" dt="2023-09-04T15:55:53.951" v="39" actId="313"/>
          <ac:spMkLst>
            <pc:docMk/>
            <pc:sldMk cId="3145709942" sldId="509"/>
            <ac:spMk id="15" creationId="{CD654035-BC38-B14F-AD0F-96617E608D5A}"/>
          </ac:spMkLst>
        </pc:spChg>
        <pc:grpChg chg="add mod">
          <ac:chgData name="Munarini, Jessica" userId="4069313f-ad49-42bb-b4f1-148e87e20160" providerId="ADAL" clId="{349AAC0B-016C-41CD-BAAF-ADE1535BD0FF}" dt="2023-09-04T16:41:38.970" v="414" actId="164"/>
          <ac:grpSpMkLst>
            <pc:docMk/>
            <pc:sldMk cId="3145709942" sldId="509"/>
            <ac:grpSpMk id="3" creationId="{67CEF505-1336-08AD-0395-2C8FEE25D941}"/>
          </ac:grpSpMkLst>
        </pc:grpChg>
        <pc:picChg chg="mod">
          <ac:chgData name="Munarini, Jessica" userId="4069313f-ad49-42bb-b4f1-148e87e20160" providerId="ADAL" clId="{349AAC0B-016C-41CD-BAAF-ADE1535BD0FF}" dt="2023-09-04T16:41:38.970" v="414" actId="164"/>
          <ac:picMkLst>
            <pc:docMk/>
            <pc:sldMk cId="3145709942" sldId="509"/>
            <ac:picMk id="10" creationId="{B3800679-5603-A544-B0C1-C6B4E958B819}"/>
          </ac:picMkLst>
        </pc:picChg>
      </pc:sldChg>
      <pc:sldChg chg="modSp mod">
        <pc:chgData name="Munarini, Jessica" userId="4069313f-ad49-42bb-b4f1-148e87e20160" providerId="ADAL" clId="{349AAC0B-016C-41CD-BAAF-ADE1535BD0FF}" dt="2023-09-05T11:36:08.170" v="455" actId="6549"/>
        <pc:sldMkLst>
          <pc:docMk/>
          <pc:sldMk cId="2722719829" sldId="510"/>
        </pc:sldMkLst>
        <pc:spChg chg="mod">
          <ac:chgData name="Munarini, Jessica" userId="4069313f-ad49-42bb-b4f1-148e87e20160" providerId="ADAL" clId="{349AAC0B-016C-41CD-BAAF-ADE1535BD0FF}" dt="2023-09-05T11:36:08.170" v="455" actId="6549"/>
          <ac:spMkLst>
            <pc:docMk/>
            <pc:sldMk cId="2722719829" sldId="510"/>
            <ac:spMk id="12" creationId="{42ECC5CE-F38D-7E41-9E6D-2146DC13E819}"/>
          </ac:spMkLst>
        </pc:spChg>
      </pc:sldChg>
      <pc:sldChg chg="modSp mod">
        <pc:chgData name="Munarini, Jessica" userId="4069313f-ad49-42bb-b4f1-148e87e20160" providerId="ADAL" clId="{349AAC0B-016C-41CD-BAAF-ADE1535BD0FF}" dt="2023-09-04T15:55:54.987" v="40" actId="313"/>
        <pc:sldMkLst>
          <pc:docMk/>
          <pc:sldMk cId="1329653642" sldId="513"/>
        </pc:sldMkLst>
        <pc:spChg chg="mod">
          <ac:chgData name="Munarini, Jessica" userId="4069313f-ad49-42bb-b4f1-148e87e20160" providerId="ADAL" clId="{349AAC0B-016C-41CD-BAAF-ADE1535BD0FF}" dt="2023-09-04T15:55:54.987" v="40" actId="313"/>
          <ac:spMkLst>
            <pc:docMk/>
            <pc:sldMk cId="1329653642" sldId="513"/>
            <ac:spMk id="9" creationId="{4EE3C829-28F9-6149-9E6A-689C2BEDEC9B}"/>
          </ac:spMkLst>
        </pc:spChg>
      </pc:sldChg>
      <pc:sldChg chg="modSp mod addCm delCm modCm">
        <pc:chgData name="Munarini, Jessica" userId="4069313f-ad49-42bb-b4f1-148e87e20160" providerId="ADAL" clId="{349AAC0B-016C-41CD-BAAF-ADE1535BD0FF}" dt="2023-09-06T12:18:51.680" v="461"/>
        <pc:sldMkLst>
          <pc:docMk/>
          <pc:sldMk cId="3612024992" sldId="521"/>
        </pc:sldMkLst>
        <pc:spChg chg="mod">
          <ac:chgData name="Munarini, Jessica" userId="4069313f-ad49-42bb-b4f1-148e87e20160" providerId="ADAL" clId="{349AAC0B-016C-41CD-BAAF-ADE1535BD0FF}" dt="2023-09-05T11:35:46.131" v="454" actId="14100"/>
          <ac:spMkLst>
            <pc:docMk/>
            <pc:sldMk cId="3612024992" sldId="521"/>
            <ac:spMk id="34" creationId="{DD67436E-3A31-ED46-9213-6C517AB146EB}"/>
          </ac:spMkLst>
        </pc:spChg>
        <pc:spChg chg="mod">
          <ac:chgData name="Munarini, Jessica" userId="4069313f-ad49-42bb-b4f1-148e87e20160" providerId="ADAL" clId="{349AAC0B-016C-41CD-BAAF-ADE1535BD0FF}" dt="2023-09-05T11:34:59.318" v="449" actId="1036"/>
          <ac:spMkLst>
            <pc:docMk/>
            <pc:sldMk cId="3612024992" sldId="521"/>
            <ac:spMk id="37" creationId="{14E7C558-47EA-6745-8113-F2C152948A37}"/>
          </ac:spMkLst>
        </pc:spChg>
        <pc:spChg chg="mod">
          <ac:chgData name="Munarini, Jessica" userId="4069313f-ad49-42bb-b4f1-148e87e20160" providerId="ADAL" clId="{349AAC0B-016C-41CD-BAAF-ADE1535BD0FF}" dt="2023-09-05T11:35:46.131" v="454" actId="14100"/>
          <ac:spMkLst>
            <pc:docMk/>
            <pc:sldMk cId="3612024992" sldId="521"/>
            <ac:spMk id="38" creationId="{E9B84428-9972-7E42-AAE8-AD22F8A85642}"/>
          </ac:spMkLst>
        </pc:spChg>
        <pc:spChg chg="mod">
          <ac:chgData name="Munarini, Jessica" userId="4069313f-ad49-42bb-b4f1-148e87e20160" providerId="ADAL" clId="{349AAC0B-016C-41CD-BAAF-ADE1535BD0FF}" dt="2023-09-05T11:32:43.932" v="437" actId="207"/>
          <ac:spMkLst>
            <pc:docMk/>
            <pc:sldMk cId="3612024992" sldId="521"/>
            <ac:spMk id="39" creationId="{32275BAE-FBD2-734D-88BB-272872820975}"/>
          </ac:spMkLst>
        </pc:spChg>
        <pc:spChg chg="mod">
          <ac:chgData name="Munarini, Jessica" userId="4069313f-ad49-42bb-b4f1-148e87e20160" providerId="ADAL" clId="{349AAC0B-016C-41CD-BAAF-ADE1535BD0FF}" dt="2023-09-05T11:34:59.318" v="449" actId="1036"/>
          <ac:spMkLst>
            <pc:docMk/>
            <pc:sldMk cId="3612024992" sldId="521"/>
            <ac:spMk id="41" creationId="{4D2DE6CC-C648-1B40-AA87-E98CF9BA612E}"/>
          </ac:spMkLst>
        </pc:spChg>
        <pc:spChg chg="mod">
          <ac:chgData name="Munarini, Jessica" userId="4069313f-ad49-42bb-b4f1-148e87e20160" providerId="ADAL" clId="{349AAC0B-016C-41CD-BAAF-ADE1535BD0FF}" dt="2023-09-05T11:35:46.131" v="454" actId="14100"/>
          <ac:spMkLst>
            <pc:docMk/>
            <pc:sldMk cId="3612024992" sldId="521"/>
            <ac:spMk id="42" creationId="{98ADADA5-2ABC-514D-A300-0EBD299C0E4D}"/>
          </ac:spMkLst>
        </pc:spChg>
        <pc:spChg chg="mod">
          <ac:chgData name="Munarini, Jessica" userId="4069313f-ad49-42bb-b4f1-148e87e20160" providerId="ADAL" clId="{349AAC0B-016C-41CD-BAAF-ADE1535BD0FF}" dt="2023-09-04T15:59:31.567" v="134" actId="1038"/>
          <ac:spMkLst>
            <pc:docMk/>
            <pc:sldMk cId="3612024992" sldId="521"/>
            <ac:spMk id="43" creationId="{CCB92647-99EF-FF48-B6EC-0F866F4A17D0}"/>
          </ac:spMkLst>
        </pc:spChg>
        <pc:spChg chg="mod">
          <ac:chgData name="Munarini, Jessica" userId="4069313f-ad49-42bb-b4f1-148e87e20160" providerId="ADAL" clId="{349AAC0B-016C-41CD-BAAF-ADE1535BD0FF}" dt="2023-09-05T11:34:59.318" v="449" actId="1036"/>
          <ac:spMkLst>
            <pc:docMk/>
            <pc:sldMk cId="3612024992" sldId="521"/>
            <ac:spMk id="45" creationId="{E828F3B5-1F4C-4F42-9C2C-C5FC16372B51}"/>
          </ac:spMkLst>
        </pc:spChg>
        <pc:spChg chg="mod">
          <ac:chgData name="Munarini, Jessica" userId="4069313f-ad49-42bb-b4f1-148e87e20160" providerId="ADAL" clId="{349AAC0B-016C-41CD-BAAF-ADE1535BD0FF}" dt="2023-09-05T11:35:46.131" v="454" actId="14100"/>
          <ac:spMkLst>
            <pc:docMk/>
            <pc:sldMk cId="3612024992" sldId="521"/>
            <ac:spMk id="46" creationId="{E5EE27BD-C5CB-D94B-B844-C4A59028EE71}"/>
          </ac:spMkLst>
        </pc:spChg>
        <pc:spChg chg="mod">
          <ac:chgData name="Munarini, Jessica" userId="4069313f-ad49-42bb-b4f1-148e87e20160" providerId="ADAL" clId="{349AAC0B-016C-41CD-BAAF-ADE1535BD0FF}" dt="2023-09-04T15:59:31.567" v="134" actId="1038"/>
          <ac:spMkLst>
            <pc:docMk/>
            <pc:sldMk cId="3612024992" sldId="521"/>
            <ac:spMk id="47" creationId="{3F4E1DB4-80F1-D845-A5EB-E1EC0ED3EF47}"/>
          </ac:spMkLst>
        </pc:spChg>
        <pc:spChg chg="mod">
          <ac:chgData name="Munarini, Jessica" userId="4069313f-ad49-42bb-b4f1-148e87e20160" providerId="ADAL" clId="{349AAC0B-016C-41CD-BAAF-ADE1535BD0FF}" dt="2023-09-05T11:34:59.318" v="449" actId="1036"/>
          <ac:spMkLst>
            <pc:docMk/>
            <pc:sldMk cId="3612024992" sldId="521"/>
            <ac:spMk id="49" creationId="{360476A8-22CB-764E-9392-AA4038FE0807}"/>
          </ac:spMkLst>
        </pc:spChg>
        <pc:spChg chg="mod">
          <ac:chgData name="Munarini, Jessica" userId="4069313f-ad49-42bb-b4f1-148e87e20160" providerId="ADAL" clId="{349AAC0B-016C-41CD-BAAF-ADE1535BD0FF}" dt="2023-09-05T11:35:46.131" v="454" actId="14100"/>
          <ac:spMkLst>
            <pc:docMk/>
            <pc:sldMk cId="3612024992" sldId="521"/>
            <ac:spMk id="50" creationId="{6C4E0148-A6B7-A940-9816-A747DF1E90CE}"/>
          </ac:spMkLst>
        </pc:spChg>
        <pc:spChg chg="mod">
          <ac:chgData name="Munarini, Jessica" userId="4069313f-ad49-42bb-b4f1-148e87e20160" providerId="ADAL" clId="{349AAC0B-016C-41CD-BAAF-ADE1535BD0FF}" dt="2023-09-04T15:59:31.567" v="134" actId="1038"/>
          <ac:spMkLst>
            <pc:docMk/>
            <pc:sldMk cId="3612024992" sldId="521"/>
            <ac:spMk id="51" creationId="{DEAB00C6-5F7B-1A48-A230-27CFF5F3E1CC}"/>
          </ac:spMkLst>
        </pc:spChg>
        <pc:spChg chg="mod">
          <ac:chgData name="Munarini, Jessica" userId="4069313f-ad49-42bb-b4f1-148e87e20160" providerId="ADAL" clId="{349AAC0B-016C-41CD-BAAF-ADE1535BD0FF}" dt="2023-09-05T11:34:59.318" v="449" actId="1036"/>
          <ac:spMkLst>
            <pc:docMk/>
            <pc:sldMk cId="3612024992" sldId="521"/>
            <ac:spMk id="53" creationId="{9AD1EBBE-D458-AB48-94B3-F05EAF70E5AB}"/>
          </ac:spMkLst>
        </pc:spChg>
        <pc:spChg chg="mod">
          <ac:chgData name="Munarini, Jessica" userId="4069313f-ad49-42bb-b4f1-148e87e20160" providerId="ADAL" clId="{349AAC0B-016C-41CD-BAAF-ADE1535BD0FF}" dt="2023-09-05T11:35:46.131" v="454" actId="14100"/>
          <ac:spMkLst>
            <pc:docMk/>
            <pc:sldMk cId="3612024992" sldId="521"/>
            <ac:spMk id="54" creationId="{FEC45C5A-B610-404A-AFF6-4670ABE6C21E}"/>
          </ac:spMkLst>
        </pc:spChg>
        <pc:spChg chg="mod">
          <ac:chgData name="Munarini, Jessica" userId="4069313f-ad49-42bb-b4f1-148e87e20160" providerId="ADAL" clId="{349AAC0B-016C-41CD-BAAF-ADE1535BD0FF}" dt="2023-09-04T15:59:31.567" v="134" actId="1038"/>
          <ac:spMkLst>
            <pc:docMk/>
            <pc:sldMk cId="3612024992" sldId="521"/>
            <ac:spMk id="55" creationId="{03CB55D6-803A-0242-B8E9-4EDE49C485BF}"/>
          </ac:spMkLst>
        </pc:spChg>
        <pc:spChg chg="mod">
          <ac:chgData name="Munarini, Jessica" userId="4069313f-ad49-42bb-b4f1-148e87e20160" providerId="ADAL" clId="{349AAC0B-016C-41CD-BAAF-ADE1535BD0FF}" dt="2023-09-04T15:56:06.689" v="54" actId="313"/>
          <ac:spMkLst>
            <pc:docMk/>
            <pc:sldMk cId="3612024992" sldId="521"/>
            <ac:spMk id="57" creationId="{CBBA1702-1927-2046-B853-4B2B33E5AA03}"/>
          </ac:spMkLst>
        </pc:spChg>
        <pc:spChg chg="mod">
          <ac:chgData name="Munarini, Jessica" userId="4069313f-ad49-42bb-b4f1-148e87e20160" providerId="ADAL" clId="{349AAC0B-016C-41CD-BAAF-ADE1535BD0FF}" dt="2023-09-05T11:34:59.318" v="449" actId="1036"/>
          <ac:spMkLst>
            <pc:docMk/>
            <pc:sldMk cId="3612024992" sldId="521"/>
            <ac:spMk id="59" creationId="{DF0C3164-3194-C842-BB4A-8D22645E5E05}"/>
          </ac:spMkLst>
        </pc:spChg>
        <pc:spChg chg="mod">
          <ac:chgData name="Munarini, Jessica" userId="4069313f-ad49-42bb-b4f1-148e87e20160" providerId="ADAL" clId="{349AAC0B-016C-41CD-BAAF-ADE1535BD0FF}" dt="2023-09-05T11:35:46.131" v="454" actId="14100"/>
          <ac:spMkLst>
            <pc:docMk/>
            <pc:sldMk cId="3612024992" sldId="521"/>
            <ac:spMk id="60" creationId="{9C21FA9D-A5EA-434D-9948-5701A4EBA231}"/>
          </ac:spMkLst>
        </pc:spChg>
        <pc:spChg chg="mod">
          <ac:chgData name="Munarini, Jessica" userId="4069313f-ad49-42bb-b4f1-148e87e20160" providerId="ADAL" clId="{349AAC0B-016C-41CD-BAAF-ADE1535BD0FF}" dt="2023-09-04T15:59:31.567" v="134" actId="1038"/>
          <ac:spMkLst>
            <pc:docMk/>
            <pc:sldMk cId="3612024992" sldId="521"/>
            <ac:spMk id="61" creationId="{1118216C-AFF4-3D4C-A820-6C4ECEF800E6}"/>
          </ac:spMkLst>
        </pc:spChg>
        <pc:spChg chg="mod">
          <ac:chgData name="Munarini, Jessica" userId="4069313f-ad49-42bb-b4f1-148e87e20160" providerId="ADAL" clId="{349AAC0B-016C-41CD-BAAF-ADE1535BD0FF}" dt="2023-09-04T15:59:31.567" v="134" actId="1038"/>
          <ac:spMkLst>
            <pc:docMk/>
            <pc:sldMk cId="3612024992" sldId="521"/>
            <ac:spMk id="76" creationId="{B6D1A611-F8B3-4443-B6B3-478F8AA274F9}"/>
          </ac:spMkLst>
        </pc:spChg>
        <pc:spChg chg="mod">
          <ac:chgData name="Munarini, Jessica" userId="4069313f-ad49-42bb-b4f1-148e87e20160" providerId="ADAL" clId="{349AAC0B-016C-41CD-BAAF-ADE1535BD0FF}" dt="2023-09-05T11:34:59.318" v="449" actId="1036"/>
          <ac:spMkLst>
            <pc:docMk/>
            <pc:sldMk cId="3612024992" sldId="521"/>
            <ac:spMk id="83" creationId="{E9960FEC-AA7F-4D5A-B35B-8919753A3E7E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 del mod">
              <pc226:chgData name="Munarini, Jessica" userId="4069313f-ad49-42bb-b4f1-148e87e20160" providerId="ADAL" clId="{349AAC0B-016C-41CD-BAAF-ADE1535BD0FF}" dt="2023-09-06T12:18:51.680" v="461"/>
              <pc2:cmMkLst xmlns:pc2="http://schemas.microsoft.com/office/powerpoint/2019/9/main/command">
                <pc:docMk/>
                <pc:sldMk cId="3612024992" sldId="521"/>
                <pc2:cmMk id="{62D7CE27-61F8-46C1-B6B5-67D69AF33704}"/>
              </pc2:cmMkLst>
            </pc226:cmChg>
          </p:ext>
        </pc:extLst>
      </pc:sldChg>
      <pc:sldChg chg="modSp mod addCm delCm modCm">
        <pc:chgData name="Munarini, Jessica" userId="4069313f-ad49-42bb-b4f1-148e87e20160" providerId="ADAL" clId="{349AAC0B-016C-41CD-BAAF-ADE1535BD0FF}" dt="2023-09-06T12:22:39.582" v="464"/>
        <pc:sldMkLst>
          <pc:docMk/>
          <pc:sldMk cId="2546302740" sldId="522"/>
        </pc:sldMkLst>
        <pc:spChg chg="mod">
          <ac:chgData name="Munarini, Jessica" userId="4069313f-ad49-42bb-b4f1-148e87e20160" providerId="ADAL" clId="{349AAC0B-016C-41CD-BAAF-ADE1535BD0FF}" dt="2023-09-04T16:00:36.553" v="160" actId="20577"/>
          <ac:spMkLst>
            <pc:docMk/>
            <pc:sldMk cId="2546302740" sldId="522"/>
            <ac:spMk id="4" creationId="{00000000-0000-0000-0000-000000000000}"/>
          </ac:spMkLst>
        </pc:spChg>
        <pc:spChg chg="mod">
          <ac:chgData name="Munarini, Jessica" userId="4069313f-ad49-42bb-b4f1-148e87e20160" providerId="ADAL" clId="{349AAC0B-016C-41CD-BAAF-ADE1535BD0FF}" dt="2023-09-04T15:55:48.126" v="28" actId="313"/>
          <ac:spMkLst>
            <pc:docMk/>
            <pc:sldMk cId="2546302740" sldId="522"/>
            <ac:spMk id="23" creationId="{EC84BA78-81D6-8041-94B9-D2B990288557}"/>
          </ac:spMkLst>
        </pc:spChg>
        <pc:spChg chg="mod">
          <ac:chgData name="Munarini, Jessica" userId="4069313f-ad49-42bb-b4f1-148e87e20160" providerId="ADAL" clId="{349AAC0B-016C-41CD-BAAF-ADE1535BD0FF}" dt="2023-09-04T16:01:05.185" v="165"/>
          <ac:spMkLst>
            <pc:docMk/>
            <pc:sldMk cId="2546302740" sldId="522"/>
            <ac:spMk id="29" creationId="{00E4A1A7-EB52-A546-A3BA-380BF72429B5}"/>
          </ac:spMkLst>
        </pc:spChg>
        <pc:spChg chg="mod">
          <ac:chgData name="Munarini, Jessica" userId="4069313f-ad49-42bb-b4f1-148e87e20160" providerId="ADAL" clId="{349AAC0B-016C-41CD-BAAF-ADE1535BD0FF}" dt="2023-09-04T16:01:16.556" v="166"/>
          <ac:spMkLst>
            <pc:docMk/>
            <pc:sldMk cId="2546302740" sldId="522"/>
            <ac:spMk id="40" creationId="{2D0DCD26-B182-F740-B8FD-24CDBDEA4712}"/>
          </ac:spMkLst>
        </pc:spChg>
        <pc:spChg chg="mod">
          <ac:chgData name="Munarini, Jessica" userId="4069313f-ad49-42bb-b4f1-148e87e20160" providerId="ADAL" clId="{349AAC0B-016C-41CD-BAAF-ADE1535BD0FF}" dt="2023-09-04T16:01:25.321" v="167"/>
          <ac:spMkLst>
            <pc:docMk/>
            <pc:sldMk cId="2546302740" sldId="522"/>
            <ac:spMk id="44" creationId="{CFE6821B-8574-4347-B50D-046F8037473E}"/>
          </ac:spMkLst>
        </pc:spChg>
        <pc:spChg chg="mod">
          <ac:chgData name="Munarini, Jessica" userId="4069313f-ad49-42bb-b4f1-148e87e20160" providerId="ADAL" clId="{349AAC0B-016C-41CD-BAAF-ADE1535BD0FF}" dt="2023-09-04T16:17:21.902" v="236" actId="13926"/>
          <ac:spMkLst>
            <pc:docMk/>
            <pc:sldMk cId="2546302740" sldId="522"/>
            <ac:spMk id="51" creationId="{340836D6-BC53-A342-9972-15BAC70CC921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 del">
              <pc226:chgData name="Munarini, Jessica" userId="4069313f-ad49-42bb-b4f1-148e87e20160" providerId="ADAL" clId="{349AAC0B-016C-41CD-BAAF-ADE1535BD0FF}" dt="2023-09-06T12:22:39.582" v="464"/>
              <pc2:cmMkLst xmlns:pc2="http://schemas.microsoft.com/office/powerpoint/2019/9/main/command">
                <pc:docMk/>
                <pc:sldMk cId="2546302740" sldId="522"/>
                <pc2:cmMk id="{4342141F-384E-41B3-B3A2-EBDD5D84B1E3}"/>
              </pc2:cmMkLst>
            </pc226:cmChg>
            <pc226:cmChg xmlns:pc226="http://schemas.microsoft.com/office/powerpoint/2022/06/main/command" chg="add del mod">
              <pc226:chgData name="Munarini, Jessica" userId="4069313f-ad49-42bb-b4f1-148e87e20160" providerId="ADAL" clId="{349AAC0B-016C-41CD-BAAF-ADE1535BD0FF}" dt="2023-09-06T12:22:15.774" v="463"/>
              <pc2:cmMkLst xmlns:pc2="http://schemas.microsoft.com/office/powerpoint/2019/9/main/command">
                <pc:docMk/>
                <pc:sldMk cId="2546302740" sldId="522"/>
                <pc2:cmMk id="{752E5136-8381-4419-9813-088D9B9B71B8}"/>
              </pc2:cmMkLst>
            </pc226:cmChg>
          </p:ext>
        </pc:extLst>
      </pc:sldChg>
      <pc:sldChg chg="modSp mod addCm delCm modCm">
        <pc:chgData name="Munarini, Jessica" userId="4069313f-ad49-42bb-b4f1-148e87e20160" providerId="ADAL" clId="{349AAC0B-016C-41CD-BAAF-ADE1535BD0FF}" dt="2023-09-06T12:23:53.051" v="491"/>
        <pc:sldMkLst>
          <pc:docMk/>
          <pc:sldMk cId="1650918918" sldId="523"/>
        </pc:sldMkLst>
        <pc:spChg chg="mod">
          <ac:chgData name="Munarini, Jessica" userId="4069313f-ad49-42bb-b4f1-148e87e20160" providerId="ADAL" clId="{349AAC0B-016C-41CD-BAAF-ADE1535BD0FF}" dt="2023-09-06T12:23:46.516" v="490" actId="20577"/>
          <ac:spMkLst>
            <pc:docMk/>
            <pc:sldMk cId="1650918918" sldId="523"/>
            <ac:spMk id="14" creationId="{12B4F9E8-6409-44E9-A73F-0DE76B24C7AD}"/>
          </ac:spMkLst>
        </pc:spChg>
        <pc:spChg chg="mod">
          <ac:chgData name="Munarini, Jessica" userId="4069313f-ad49-42bb-b4f1-148e87e20160" providerId="ADAL" clId="{349AAC0B-016C-41CD-BAAF-ADE1535BD0FF}" dt="2023-09-04T15:55:48.722" v="29" actId="313"/>
          <ac:spMkLst>
            <pc:docMk/>
            <pc:sldMk cId="1650918918" sldId="523"/>
            <ac:spMk id="17" creationId="{A85D209C-5095-534E-90EE-1F81158E0FCD}"/>
          </ac:spMkLst>
        </pc:spChg>
        <pc:spChg chg="mod">
          <ac:chgData name="Munarini, Jessica" userId="4069313f-ad49-42bb-b4f1-148e87e20160" providerId="ADAL" clId="{349AAC0B-016C-41CD-BAAF-ADE1535BD0FF}" dt="2023-09-04T16:11:40.920" v="215" actId="20577"/>
          <ac:spMkLst>
            <pc:docMk/>
            <pc:sldMk cId="1650918918" sldId="523"/>
            <ac:spMk id="26" creationId="{78C50E93-BA29-ED4A-AE8B-22D3F5424EBB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 del mod">
              <pc226:chgData name="Munarini, Jessica" userId="4069313f-ad49-42bb-b4f1-148e87e20160" providerId="ADAL" clId="{349AAC0B-016C-41CD-BAAF-ADE1535BD0FF}" dt="2023-09-06T12:23:53.051" v="491"/>
              <pc2:cmMkLst xmlns:pc2="http://schemas.microsoft.com/office/powerpoint/2019/9/main/command">
                <pc:docMk/>
                <pc:sldMk cId="1650918918" sldId="523"/>
                <pc2:cmMk id="{FB920855-697F-47FA-B718-BC7E41F404BD}"/>
              </pc2:cmMkLst>
            </pc226:cmChg>
          </p:ext>
        </pc:extLst>
      </pc:sldChg>
      <pc:sldChg chg="modSp mod">
        <pc:chgData name="Munarini, Jessica" userId="4069313f-ad49-42bb-b4f1-148e87e20160" providerId="ADAL" clId="{349AAC0B-016C-41CD-BAAF-ADE1535BD0FF}" dt="2023-09-04T16:18:46.623" v="241" actId="27918"/>
        <pc:sldMkLst>
          <pc:docMk/>
          <pc:sldMk cId="4055025813" sldId="524"/>
        </pc:sldMkLst>
        <pc:spChg chg="mod">
          <ac:chgData name="Munarini, Jessica" userId="4069313f-ad49-42bb-b4f1-148e87e20160" providerId="ADAL" clId="{349AAC0B-016C-41CD-BAAF-ADE1535BD0FF}" dt="2023-09-04T15:55:49.315" v="30" actId="313"/>
          <ac:spMkLst>
            <pc:docMk/>
            <pc:sldMk cId="4055025813" sldId="524"/>
            <ac:spMk id="11" creationId="{DEEE6840-C9D3-E84A-BA88-90EE45CED5F8}"/>
          </ac:spMkLst>
        </pc:spChg>
      </pc:sldChg>
      <pc:sldChg chg="modSp mod addCm modCm">
        <pc:chgData name="Munarini, Jessica" userId="4069313f-ad49-42bb-b4f1-148e87e20160" providerId="ADAL" clId="{349AAC0B-016C-41CD-BAAF-ADE1535BD0FF}" dt="2023-09-06T15:28:12.046" v="529"/>
        <pc:sldMkLst>
          <pc:docMk/>
          <pc:sldMk cId="1998968157" sldId="525"/>
        </pc:sldMkLst>
        <pc:spChg chg="mod">
          <ac:chgData name="Munarini, Jessica" userId="4069313f-ad49-42bb-b4f1-148e87e20160" providerId="ADAL" clId="{349AAC0B-016C-41CD-BAAF-ADE1535BD0FF}" dt="2023-09-04T15:56:03.345" v="48" actId="313"/>
          <ac:spMkLst>
            <pc:docMk/>
            <pc:sldMk cId="1998968157" sldId="525"/>
            <ac:spMk id="109" creationId="{74532774-AEF7-A94B-90C7-FD0E87AED5BF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 mod">
              <pc226:chgData name="Munarini, Jessica" userId="4069313f-ad49-42bb-b4f1-148e87e20160" providerId="ADAL" clId="{349AAC0B-016C-41CD-BAAF-ADE1535BD0FF}" dt="2023-09-06T15:28:12.046" v="529"/>
              <pc2:cmMkLst xmlns:pc2="http://schemas.microsoft.com/office/powerpoint/2019/9/main/command">
                <pc:docMk/>
                <pc:sldMk cId="1998968157" sldId="525"/>
                <pc2:cmMk id="{8396ADAD-58F3-4083-AAB4-55BFF3A777D7}"/>
              </pc2:cmMkLst>
            </pc226:cmChg>
          </p:ext>
        </pc:extLst>
      </pc:sldChg>
      <pc:sldChg chg="delSp modSp mod">
        <pc:chgData name="Munarini, Jessica" userId="4069313f-ad49-42bb-b4f1-148e87e20160" providerId="ADAL" clId="{349AAC0B-016C-41CD-BAAF-ADE1535BD0FF}" dt="2023-09-05T11:35:19.608" v="452" actId="1038"/>
        <pc:sldMkLst>
          <pc:docMk/>
          <pc:sldMk cId="4085565182" sldId="526"/>
        </pc:sldMkLst>
        <pc:spChg chg="mod topLvl">
          <ac:chgData name="Munarini, Jessica" userId="4069313f-ad49-42bb-b4f1-148e87e20160" providerId="ADAL" clId="{349AAC0B-016C-41CD-BAAF-ADE1535BD0FF}" dt="2023-09-05T11:34:04.428" v="446" actId="14100"/>
          <ac:spMkLst>
            <pc:docMk/>
            <pc:sldMk cId="4085565182" sldId="526"/>
            <ac:spMk id="34" creationId="{DD67436E-3A31-ED46-9213-6C517AB146EB}"/>
          </ac:spMkLst>
        </pc:spChg>
        <pc:spChg chg="mod topLvl">
          <ac:chgData name="Munarini, Jessica" userId="4069313f-ad49-42bb-b4f1-148e87e20160" providerId="ADAL" clId="{349AAC0B-016C-41CD-BAAF-ADE1535BD0FF}" dt="2023-09-04T15:58:13.308" v="107" actId="165"/>
          <ac:spMkLst>
            <pc:docMk/>
            <pc:sldMk cId="4085565182" sldId="526"/>
            <ac:spMk id="35" creationId="{7A50FDF4-79D6-2A4F-98E6-4049E30118DB}"/>
          </ac:spMkLst>
        </pc:spChg>
        <pc:spChg chg="mod topLvl">
          <ac:chgData name="Munarini, Jessica" userId="4069313f-ad49-42bb-b4f1-148e87e20160" providerId="ADAL" clId="{349AAC0B-016C-41CD-BAAF-ADE1535BD0FF}" dt="2023-09-05T11:35:19.608" v="452" actId="1038"/>
          <ac:spMkLst>
            <pc:docMk/>
            <pc:sldMk cId="4085565182" sldId="526"/>
            <ac:spMk id="37" creationId="{14E7C558-47EA-6745-8113-F2C152948A37}"/>
          </ac:spMkLst>
        </pc:spChg>
        <pc:spChg chg="mod topLvl">
          <ac:chgData name="Munarini, Jessica" userId="4069313f-ad49-42bb-b4f1-148e87e20160" providerId="ADAL" clId="{349AAC0B-016C-41CD-BAAF-ADE1535BD0FF}" dt="2023-09-05T11:34:04.428" v="446" actId="14100"/>
          <ac:spMkLst>
            <pc:docMk/>
            <pc:sldMk cId="4085565182" sldId="526"/>
            <ac:spMk id="38" creationId="{E9B84428-9972-7E42-AAE8-AD22F8A85642}"/>
          </ac:spMkLst>
        </pc:spChg>
        <pc:spChg chg="mod topLvl">
          <ac:chgData name="Munarini, Jessica" userId="4069313f-ad49-42bb-b4f1-148e87e20160" providerId="ADAL" clId="{349AAC0B-016C-41CD-BAAF-ADE1535BD0FF}" dt="2023-09-05T11:33:07.563" v="441" actId="14100"/>
          <ac:spMkLst>
            <pc:docMk/>
            <pc:sldMk cId="4085565182" sldId="526"/>
            <ac:spMk id="39" creationId="{32275BAE-FBD2-734D-88BB-272872820975}"/>
          </ac:spMkLst>
        </pc:spChg>
        <pc:spChg chg="mod topLvl">
          <ac:chgData name="Munarini, Jessica" userId="4069313f-ad49-42bb-b4f1-148e87e20160" providerId="ADAL" clId="{349AAC0B-016C-41CD-BAAF-ADE1535BD0FF}" dt="2023-09-04T15:58:13.308" v="107" actId="165"/>
          <ac:spMkLst>
            <pc:docMk/>
            <pc:sldMk cId="4085565182" sldId="526"/>
            <ac:spMk id="40" creationId="{7255339F-4FD4-E242-83DC-1F70805B19DD}"/>
          </ac:spMkLst>
        </pc:spChg>
        <pc:spChg chg="mod topLvl">
          <ac:chgData name="Munarini, Jessica" userId="4069313f-ad49-42bb-b4f1-148e87e20160" providerId="ADAL" clId="{349AAC0B-016C-41CD-BAAF-ADE1535BD0FF}" dt="2023-09-05T11:35:19.608" v="452" actId="1038"/>
          <ac:spMkLst>
            <pc:docMk/>
            <pc:sldMk cId="4085565182" sldId="526"/>
            <ac:spMk id="41" creationId="{4D2DE6CC-C648-1B40-AA87-E98CF9BA612E}"/>
          </ac:spMkLst>
        </pc:spChg>
        <pc:spChg chg="mod topLvl">
          <ac:chgData name="Munarini, Jessica" userId="4069313f-ad49-42bb-b4f1-148e87e20160" providerId="ADAL" clId="{349AAC0B-016C-41CD-BAAF-ADE1535BD0FF}" dt="2023-09-05T11:34:04.428" v="446" actId="14100"/>
          <ac:spMkLst>
            <pc:docMk/>
            <pc:sldMk cId="4085565182" sldId="526"/>
            <ac:spMk id="42" creationId="{98ADADA5-2ABC-514D-A300-0EBD299C0E4D}"/>
          </ac:spMkLst>
        </pc:spChg>
        <pc:spChg chg="mod topLvl">
          <ac:chgData name="Munarini, Jessica" userId="4069313f-ad49-42bb-b4f1-148e87e20160" providerId="ADAL" clId="{349AAC0B-016C-41CD-BAAF-ADE1535BD0FF}" dt="2023-09-05T11:33:10.876" v="442" actId="20577"/>
          <ac:spMkLst>
            <pc:docMk/>
            <pc:sldMk cId="4085565182" sldId="526"/>
            <ac:spMk id="43" creationId="{CCB92647-99EF-FF48-B6EC-0F866F4A17D0}"/>
          </ac:spMkLst>
        </pc:spChg>
        <pc:spChg chg="mod topLvl">
          <ac:chgData name="Munarini, Jessica" userId="4069313f-ad49-42bb-b4f1-148e87e20160" providerId="ADAL" clId="{349AAC0B-016C-41CD-BAAF-ADE1535BD0FF}" dt="2023-09-04T15:58:13.308" v="107" actId="165"/>
          <ac:spMkLst>
            <pc:docMk/>
            <pc:sldMk cId="4085565182" sldId="526"/>
            <ac:spMk id="44" creationId="{590ADAF2-2A29-694B-9989-F3EF8098643F}"/>
          </ac:spMkLst>
        </pc:spChg>
        <pc:spChg chg="mod topLvl">
          <ac:chgData name="Munarini, Jessica" userId="4069313f-ad49-42bb-b4f1-148e87e20160" providerId="ADAL" clId="{349AAC0B-016C-41CD-BAAF-ADE1535BD0FF}" dt="2023-09-05T11:35:19.608" v="452" actId="1038"/>
          <ac:spMkLst>
            <pc:docMk/>
            <pc:sldMk cId="4085565182" sldId="526"/>
            <ac:spMk id="45" creationId="{E828F3B5-1F4C-4F42-9C2C-C5FC16372B51}"/>
          </ac:spMkLst>
        </pc:spChg>
        <pc:spChg chg="mod topLvl">
          <ac:chgData name="Munarini, Jessica" userId="4069313f-ad49-42bb-b4f1-148e87e20160" providerId="ADAL" clId="{349AAC0B-016C-41CD-BAAF-ADE1535BD0FF}" dt="2023-09-05T11:34:04.428" v="446" actId="14100"/>
          <ac:spMkLst>
            <pc:docMk/>
            <pc:sldMk cId="4085565182" sldId="526"/>
            <ac:spMk id="46" creationId="{E5EE27BD-C5CB-D94B-B844-C4A59028EE71}"/>
          </ac:spMkLst>
        </pc:spChg>
        <pc:spChg chg="mod topLvl">
          <ac:chgData name="Munarini, Jessica" userId="4069313f-ad49-42bb-b4f1-148e87e20160" providerId="ADAL" clId="{349AAC0B-016C-41CD-BAAF-ADE1535BD0FF}" dt="2023-09-04T15:58:38.048" v="123" actId="1037"/>
          <ac:spMkLst>
            <pc:docMk/>
            <pc:sldMk cId="4085565182" sldId="526"/>
            <ac:spMk id="47" creationId="{3F4E1DB4-80F1-D845-A5EB-E1EC0ED3EF47}"/>
          </ac:spMkLst>
        </pc:spChg>
        <pc:spChg chg="mod topLvl">
          <ac:chgData name="Munarini, Jessica" userId="4069313f-ad49-42bb-b4f1-148e87e20160" providerId="ADAL" clId="{349AAC0B-016C-41CD-BAAF-ADE1535BD0FF}" dt="2023-09-04T15:58:13.308" v="107" actId="165"/>
          <ac:spMkLst>
            <pc:docMk/>
            <pc:sldMk cId="4085565182" sldId="526"/>
            <ac:spMk id="48" creationId="{B1807E44-477A-CC45-ACE5-4EBC46A60B02}"/>
          </ac:spMkLst>
        </pc:spChg>
        <pc:spChg chg="mod topLvl">
          <ac:chgData name="Munarini, Jessica" userId="4069313f-ad49-42bb-b4f1-148e87e20160" providerId="ADAL" clId="{349AAC0B-016C-41CD-BAAF-ADE1535BD0FF}" dt="2023-09-05T11:35:19.608" v="452" actId="1038"/>
          <ac:spMkLst>
            <pc:docMk/>
            <pc:sldMk cId="4085565182" sldId="526"/>
            <ac:spMk id="49" creationId="{360476A8-22CB-764E-9392-AA4038FE0807}"/>
          </ac:spMkLst>
        </pc:spChg>
        <pc:spChg chg="mod topLvl">
          <ac:chgData name="Munarini, Jessica" userId="4069313f-ad49-42bb-b4f1-148e87e20160" providerId="ADAL" clId="{349AAC0B-016C-41CD-BAAF-ADE1535BD0FF}" dt="2023-09-05T11:34:04.428" v="446" actId="14100"/>
          <ac:spMkLst>
            <pc:docMk/>
            <pc:sldMk cId="4085565182" sldId="526"/>
            <ac:spMk id="50" creationId="{6C4E0148-A6B7-A940-9816-A747DF1E90CE}"/>
          </ac:spMkLst>
        </pc:spChg>
        <pc:spChg chg="mod topLvl">
          <ac:chgData name="Munarini, Jessica" userId="4069313f-ad49-42bb-b4f1-148e87e20160" providerId="ADAL" clId="{349AAC0B-016C-41CD-BAAF-ADE1535BD0FF}" dt="2023-09-04T15:58:38.048" v="123" actId="1037"/>
          <ac:spMkLst>
            <pc:docMk/>
            <pc:sldMk cId="4085565182" sldId="526"/>
            <ac:spMk id="51" creationId="{DEAB00C6-5F7B-1A48-A230-27CFF5F3E1CC}"/>
          </ac:spMkLst>
        </pc:spChg>
        <pc:spChg chg="mod topLvl">
          <ac:chgData name="Munarini, Jessica" userId="4069313f-ad49-42bb-b4f1-148e87e20160" providerId="ADAL" clId="{349AAC0B-016C-41CD-BAAF-ADE1535BD0FF}" dt="2023-09-04T15:58:13.308" v="107" actId="165"/>
          <ac:spMkLst>
            <pc:docMk/>
            <pc:sldMk cId="4085565182" sldId="526"/>
            <ac:spMk id="52" creationId="{C48720A7-5E06-A94D-B0A4-31D6FBB1C44F}"/>
          </ac:spMkLst>
        </pc:spChg>
        <pc:spChg chg="mod topLvl">
          <ac:chgData name="Munarini, Jessica" userId="4069313f-ad49-42bb-b4f1-148e87e20160" providerId="ADAL" clId="{349AAC0B-016C-41CD-BAAF-ADE1535BD0FF}" dt="2023-09-05T11:35:19.608" v="452" actId="1038"/>
          <ac:spMkLst>
            <pc:docMk/>
            <pc:sldMk cId="4085565182" sldId="526"/>
            <ac:spMk id="53" creationId="{9AD1EBBE-D458-AB48-94B3-F05EAF70E5AB}"/>
          </ac:spMkLst>
        </pc:spChg>
        <pc:spChg chg="mod topLvl">
          <ac:chgData name="Munarini, Jessica" userId="4069313f-ad49-42bb-b4f1-148e87e20160" providerId="ADAL" clId="{349AAC0B-016C-41CD-BAAF-ADE1535BD0FF}" dt="2023-09-05T11:34:04.428" v="446" actId="14100"/>
          <ac:spMkLst>
            <pc:docMk/>
            <pc:sldMk cId="4085565182" sldId="526"/>
            <ac:spMk id="54" creationId="{FEC45C5A-B610-404A-AFF6-4670ABE6C21E}"/>
          </ac:spMkLst>
        </pc:spChg>
        <pc:spChg chg="mod topLvl">
          <ac:chgData name="Munarini, Jessica" userId="4069313f-ad49-42bb-b4f1-148e87e20160" providerId="ADAL" clId="{349AAC0B-016C-41CD-BAAF-ADE1535BD0FF}" dt="2023-09-04T15:58:38.048" v="123" actId="1037"/>
          <ac:spMkLst>
            <pc:docMk/>
            <pc:sldMk cId="4085565182" sldId="526"/>
            <ac:spMk id="55" creationId="{03CB55D6-803A-0242-B8E9-4EDE49C485BF}"/>
          </ac:spMkLst>
        </pc:spChg>
        <pc:spChg chg="mod">
          <ac:chgData name="Munarini, Jessica" userId="4069313f-ad49-42bb-b4f1-148e87e20160" providerId="ADAL" clId="{349AAC0B-016C-41CD-BAAF-ADE1535BD0FF}" dt="2023-09-04T15:55:45.454" v="26" actId="313"/>
          <ac:spMkLst>
            <pc:docMk/>
            <pc:sldMk cId="4085565182" sldId="526"/>
            <ac:spMk id="57" creationId="{CBBA1702-1927-2046-B853-4B2B33E5AA03}"/>
          </ac:spMkLst>
        </pc:spChg>
        <pc:spChg chg="mod topLvl">
          <ac:chgData name="Munarini, Jessica" userId="4069313f-ad49-42bb-b4f1-148e87e20160" providerId="ADAL" clId="{349AAC0B-016C-41CD-BAAF-ADE1535BD0FF}" dt="2023-09-04T15:58:13.308" v="107" actId="165"/>
          <ac:spMkLst>
            <pc:docMk/>
            <pc:sldMk cId="4085565182" sldId="526"/>
            <ac:spMk id="58" creationId="{50671C1F-288D-8544-846E-93987CE7754C}"/>
          </ac:spMkLst>
        </pc:spChg>
        <pc:spChg chg="mod topLvl">
          <ac:chgData name="Munarini, Jessica" userId="4069313f-ad49-42bb-b4f1-148e87e20160" providerId="ADAL" clId="{349AAC0B-016C-41CD-BAAF-ADE1535BD0FF}" dt="2023-09-05T11:35:19.608" v="452" actId="1038"/>
          <ac:spMkLst>
            <pc:docMk/>
            <pc:sldMk cId="4085565182" sldId="526"/>
            <ac:spMk id="59" creationId="{DF0C3164-3194-C842-BB4A-8D22645E5E05}"/>
          </ac:spMkLst>
        </pc:spChg>
        <pc:spChg chg="mod topLvl">
          <ac:chgData name="Munarini, Jessica" userId="4069313f-ad49-42bb-b4f1-148e87e20160" providerId="ADAL" clId="{349AAC0B-016C-41CD-BAAF-ADE1535BD0FF}" dt="2023-09-05T11:34:04.428" v="446" actId="14100"/>
          <ac:spMkLst>
            <pc:docMk/>
            <pc:sldMk cId="4085565182" sldId="526"/>
            <ac:spMk id="60" creationId="{9C21FA9D-A5EA-434D-9948-5701A4EBA231}"/>
          </ac:spMkLst>
        </pc:spChg>
        <pc:spChg chg="mod topLvl">
          <ac:chgData name="Munarini, Jessica" userId="4069313f-ad49-42bb-b4f1-148e87e20160" providerId="ADAL" clId="{349AAC0B-016C-41CD-BAAF-ADE1535BD0FF}" dt="2023-09-04T15:58:38.048" v="123" actId="1037"/>
          <ac:spMkLst>
            <pc:docMk/>
            <pc:sldMk cId="4085565182" sldId="526"/>
            <ac:spMk id="61" creationId="{1118216C-AFF4-3D4C-A820-6C4ECEF800E6}"/>
          </ac:spMkLst>
        </pc:spChg>
        <pc:spChg chg="mod topLvl">
          <ac:chgData name="Munarini, Jessica" userId="4069313f-ad49-42bb-b4f1-148e87e20160" providerId="ADAL" clId="{349AAC0B-016C-41CD-BAAF-ADE1535BD0FF}" dt="2023-09-04T15:58:38.048" v="123" actId="1037"/>
          <ac:spMkLst>
            <pc:docMk/>
            <pc:sldMk cId="4085565182" sldId="526"/>
            <ac:spMk id="76" creationId="{B6D1A611-F8B3-4443-B6B3-478F8AA274F9}"/>
          </ac:spMkLst>
        </pc:spChg>
        <pc:spChg chg="mod topLvl">
          <ac:chgData name="Munarini, Jessica" userId="4069313f-ad49-42bb-b4f1-148e87e20160" providerId="ADAL" clId="{349AAC0B-016C-41CD-BAAF-ADE1535BD0FF}" dt="2023-09-05T11:35:19.608" v="452" actId="1038"/>
          <ac:spMkLst>
            <pc:docMk/>
            <pc:sldMk cId="4085565182" sldId="526"/>
            <ac:spMk id="83" creationId="{E9960FEC-AA7F-4D5A-B35B-8919753A3E7E}"/>
          </ac:spMkLst>
        </pc:spChg>
        <pc:grpChg chg="del">
          <ac:chgData name="Munarini, Jessica" userId="4069313f-ad49-42bb-b4f1-148e87e20160" providerId="ADAL" clId="{349AAC0B-016C-41CD-BAAF-ADE1535BD0FF}" dt="2023-09-04T15:58:13.308" v="107" actId="165"/>
          <ac:grpSpMkLst>
            <pc:docMk/>
            <pc:sldMk cId="4085565182" sldId="526"/>
            <ac:grpSpMk id="2" creationId="{9C4762C6-AE61-43F7-B9BE-3F5796433A9C}"/>
          </ac:grpSpMkLst>
        </pc:grpChg>
        <pc:grpChg chg="del">
          <ac:chgData name="Munarini, Jessica" userId="4069313f-ad49-42bb-b4f1-148e87e20160" providerId="ADAL" clId="{349AAC0B-016C-41CD-BAAF-ADE1535BD0FF}" dt="2023-09-04T15:58:13.308" v="107" actId="165"/>
          <ac:grpSpMkLst>
            <pc:docMk/>
            <pc:sldMk cId="4085565182" sldId="526"/>
            <ac:grpSpMk id="3" creationId="{A2E68445-42CD-41B0-B987-2AB254A02BD1}"/>
          </ac:grpSpMkLst>
        </pc:grpChg>
        <pc:grpChg chg="del">
          <ac:chgData name="Munarini, Jessica" userId="4069313f-ad49-42bb-b4f1-148e87e20160" providerId="ADAL" clId="{349AAC0B-016C-41CD-BAAF-ADE1535BD0FF}" dt="2023-09-04T15:58:13.308" v="107" actId="165"/>
          <ac:grpSpMkLst>
            <pc:docMk/>
            <pc:sldMk cId="4085565182" sldId="526"/>
            <ac:grpSpMk id="5" creationId="{5A76C0AC-6682-435B-B6CA-57762979AD9E}"/>
          </ac:grpSpMkLst>
        </pc:grpChg>
        <pc:grpChg chg="del">
          <ac:chgData name="Munarini, Jessica" userId="4069313f-ad49-42bb-b4f1-148e87e20160" providerId="ADAL" clId="{349AAC0B-016C-41CD-BAAF-ADE1535BD0FF}" dt="2023-09-04T15:58:13.308" v="107" actId="165"/>
          <ac:grpSpMkLst>
            <pc:docMk/>
            <pc:sldMk cId="4085565182" sldId="526"/>
            <ac:grpSpMk id="6" creationId="{FA959CC0-A143-4037-89FC-9134CD62E9CE}"/>
          </ac:grpSpMkLst>
        </pc:grpChg>
        <pc:grpChg chg="del">
          <ac:chgData name="Munarini, Jessica" userId="4069313f-ad49-42bb-b4f1-148e87e20160" providerId="ADAL" clId="{349AAC0B-016C-41CD-BAAF-ADE1535BD0FF}" dt="2023-09-04T15:58:13.308" v="107" actId="165"/>
          <ac:grpSpMkLst>
            <pc:docMk/>
            <pc:sldMk cId="4085565182" sldId="526"/>
            <ac:grpSpMk id="7" creationId="{5541742A-7342-4145-8347-6953831C68E3}"/>
          </ac:grpSpMkLst>
        </pc:grpChg>
        <pc:grpChg chg="del">
          <ac:chgData name="Munarini, Jessica" userId="4069313f-ad49-42bb-b4f1-148e87e20160" providerId="ADAL" clId="{349AAC0B-016C-41CD-BAAF-ADE1535BD0FF}" dt="2023-09-04T15:58:13.308" v="107" actId="165"/>
          <ac:grpSpMkLst>
            <pc:docMk/>
            <pc:sldMk cId="4085565182" sldId="526"/>
            <ac:grpSpMk id="8" creationId="{0A19D321-4903-4029-9C88-D564DD9C784C}"/>
          </ac:grpSpMkLst>
        </pc:grpChg>
        <pc:grpChg chg="del">
          <ac:chgData name="Munarini, Jessica" userId="4069313f-ad49-42bb-b4f1-148e87e20160" providerId="ADAL" clId="{349AAC0B-016C-41CD-BAAF-ADE1535BD0FF}" dt="2023-09-04T15:58:13.308" v="107" actId="165"/>
          <ac:grpSpMkLst>
            <pc:docMk/>
            <pc:sldMk cId="4085565182" sldId="526"/>
            <ac:grpSpMk id="9" creationId="{631F68A4-C82A-4E6C-9A6E-8D8AAF87C179}"/>
          </ac:grpSpMkLst>
        </pc:grpChg>
        <pc:picChg chg="mod topLvl">
          <ac:chgData name="Munarini, Jessica" userId="4069313f-ad49-42bb-b4f1-148e87e20160" providerId="ADAL" clId="{349AAC0B-016C-41CD-BAAF-ADE1535BD0FF}" dt="2023-09-04T15:58:13.308" v="107" actId="165"/>
          <ac:picMkLst>
            <pc:docMk/>
            <pc:sldMk cId="4085565182" sldId="526"/>
            <ac:picMk id="62" creationId="{BAF3AAD5-39C3-4065-84D6-04BCC9944CF1}"/>
          </ac:picMkLst>
        </pc:picChg>
        <pc:picChg chg="mod topLvl">
          <ac:chgData name="Munarini, Jessica" userId="4069313f-ad49-42bb-b4f1-148e87e20160" providerId="ADAL" clId="{349AAC0B-016C-41CD-BAAF-ADE1535BD0FF}" dt="2023-09-04T15:58:13.308" v="107" actId="165"/>
          <ac:picMkLst>
            <pc:docMk/>
            <pc:sldMk cId="4085565182" sldId="526"/>
            <ac:picMk id="63" creationId="{B8D53CA6-C8D0-496B-8B97-AA9AB5A4147B}"/>
          </ac:picMkLst>
        </pc:picChg>
        <pc:picChg chg="mod topLvl">
          <ac:chgData name="Munarini, Jessica" userId="4069313f-ad49-42bb-b4f1-148e87e20160" providerId="ADAL" clId="{349AAC0B-016C-41CD-BAAF-ADE1535BD0FF}" dt="2023-09-04T15:58:13.308" v="107" actId="165"/>
          <ac:picMkLst>
            <pc:docMk/>
            <pc:sldMk cId="4085565182" sldId="526"/>
            <ac:picMk id="64" creationId="{399BCE01-0E44-447D-AECE-AB4E47C58E13}"/>
          </ac:picMkLst>
        </pc:picChg>
        <pc:picChg chg="mod topLvl">
          <ac:chgData name="Munarini, Jessica" userId="4069313f-ad49-42bb-b4f1-148e87e20160" providerId="ADAL" clId="{349AAC0B-016C-41CD-BAAF-ADE1535BD0FF}" dt="2023-09-04T15:58:13.308" v="107" actId="165"/>
          <ac:picMkLst>
            <pc:docMk/>
            <pc:sldMk cId="4085565182" sldId="526"/>
            <ac:picMk id="65" creationId="{DD48C956-339F-4986-BBA2-86F50BE07449}"/>
          </ac:picMkLst>
        </pc:picChg>
        <pc:picChg chg="mod topLvl">
          <ac:chgData name="Munarini, Jessica" userId="4069313f-ad49-42bb-b4f1-148e87e20160" providerId="ADAL" clId="{349AAC0B-016C-41CD-BAAF-ADE1535BD0FF}" dt="2023-09-04T15:58:13.308" v="107" actId="165"/>
          <ac:picMkLst>
            <pc:docMk/>
            <pc:sldMk cId="4085565182" sldId="526"/>
            <ac:picMk id="66" creationId="{89CD5DEF-9B93-4FBF-8DAD-E27229E6E10A}"/>
          </ac:picMkLst>
        </pc:picChg>
        <pc:picChg chg="mod topLvl">
          <ac:chgData name="Munarini, Jessica" userId="4069313f-ad49-42bb-b4f1-148e87e20160" providerId="ADAL" clId="{349AAC0B-016C-41CD-BAAF-ADE1535BD0FF}" dt="2023-09-04T15:58:13.308" v="107" actId="165"/>
          <ac:picMkLst>
            <pc:docMk/>
            <pc:sldMk cId="4085565182" sldId="526"/>
            <ac:picMk id="68" creationId="{78B9BD72-2950-4E67-84D7-547438D4B851}"/>
          </ac:picMkLst>
        </pc:picChg>
        <pc:picChg chg="mod topLvl">
          <ac:chgData name="Munarini, Jessica" userId="4069313f-ad49-42bb-b4f1-148e87e20160" providerId="ADAL" clId="{349AAC0B-016C-41CD-BAAF-ADE1535BD0FF}" dt="2023-09-04T15:58:13.308" v="107" actId="165"/>
          <ac:picMkLst>
            <pc:docMk/>
            <pc:sldMk cId="4085565182" sldId="526"/>
            <ac:picMk id="69" creationId="{889574D4-5C56-8A4D-BFF0-CD5F6A3CC835}"/>
          </ac:picMkLst>
        </pc:picChg>
      </pc:sldChg>
      <pc:sldChg chg="modSp mod">
        <pc:chgData name="Munarini, Jessica" userId="4069313f-ad49-42bb-b4f1-148e87e20160" providerId="ADAL" clId="{349AAC0B-016C-41CD-BAAF-ADE1535BD0FF}" dt="2023-09-04T16:22:07.846" v="257"/>
        <pc:sldMkLst>
          <pc:docMk/>
          <pc:sldMk cId="3681552399" sldId="529"/>
        </pc:sldMkLst>
        <pc:spChg chg="mod">
          <ac:chgData name="Munarini, Jessica" userId="4069313f-ad49-42bb-b4f1-148e87e20160" providerId="ADAL" clId="{349AAC0B-016C-41CD-BAAF-ADE1535BD0FF}" dt="2023-09-04T15:55:50.312" v="32" actId="313"/>
          <ac:spMkLst>
            <pc:docMk/>
            <pc:sldMk cId="3681552399" sldId="529"/>
            <ac:spMk id="19" creationId="{9CBA4AA6-5E8D-1849-AC86-CEA08B9AE6E9}"/>
          </ac:spMkLst>
        </pc:spChg>
        <pc:spChg chg="mod">
          <ac:chgData name="Munarini, Jessica" userId="4069313f-ad49-42bb-b4f1-148e87e20160" providerId="ADAL" clId="{349AAC0B-016C-41CD-BAAF-ADE1535BD0FF}" dt="2023-09-04T16:21:56.414" v="254"/>
          <ac:spMkLst>
            <pc:docMk/>
            <pc:sldMk cId="3681552399" sldId="529"/>
            <ac:spMk id="21" creationId="{703D39C9-9B85-4F87-8271-E3F961C6AA6D}"/>
          </ac:spMkLst>
        </pc:spChg>
        <pc:spChg chg="mod">
          <ac:chgData name="Munarini, Jessica" userId="4069313f-ad49-42bb-b4f1-148e87e20160" providerId="ADAL" clId="{349AAC0B-016C-41CD-BAAF-ADE1535BD0FF}" dt="2023-09-04T16:22:07.846" v="257"/>
          <ac:spMkLst>
            <pc:docMk/>
            <pc:sldMk cId="3681552399" sldId="529"/>
            <ac:spMk id="27" creationId="{F89BAC2D-934B-4811-B8D2-BAD0423A828B}"/>
          </ac:spMkLst>
        </pc:spChg>
      </pc:sldChg>
      <pc:sldChg chg="modSp mod addCm delCm modCm">
        <pc:chgData name="Munarini, Jessica" userId="4069313f-ad49-42bb-b4f1-148e87e20160" providerId="ADAL" clId="{349AAC0B-016C-41CD-BAAF-ADE1535BD0FF}" dt="2023-09-06T12:25:50.330" v="523" actId="122"/>
        <pc:sldMkLst>
          <pc:docMk/>
          <pc:sldMk cId="4066632467" sldId="533"/>
        </pc:sldMkLst>
        <pc:spChg chg="mod">
          <ac:chgData name="Munarini, Jessica" userId="4069313f-ad49-42bb-b4f1-148e87e20160" providerId="ADAL" clId="{349AAC0B-016C-41CD-BAAF-ADE1535BD0FF}" dt="2023-09-06T12:24:48.862" v="518" actId="20577"/>
          <ac:spMkLst>
            <pc:docMk/>
            <pc:sldMk cId="4066632467" sldId="533"/>
            <ac:spMk id="9" creationId="{33C66E80-4058-40CA-9D64-757A4EA7CFD0}"/>
          </ac:spMkLst>
        </pc:spChg>
        <pc:spChg chg="mod">
          <ac:chgData name="Munarini, Jessica" userId="4069313f-ad49-42bb-b4f1-148e87e20160" providerId="ADAL" clId="{349AAC0B-016C-41CD-BAAF-ADE1535BD0FF}" dt="2023-09-04T16:21:44.024" v="251"/>
          <ac:spMkLst>
            <pc:docMk/>
            <pc:sldMk cId="4066632467" sldId="533"/>
            <ac:spMk id="11" creationId="{07B8465C-B8FE-45BD-8F9B-7B950D002B06}"/>
          </ac:spMkLst>
        </pc:spChg>
        <pc:spChg chg="mod">
          <ac:chgData name="Munarini, Jessica" userId="4069313f-ad49-42bb-b4f1-148e87e20160" providerId="ADAL" clId="{349AAC0B-016C-41CD-BAAF-ADE1535BD0FF}" dt="2023-09-04T15:55:49.841" v="31" actId="313"/>
          <ac:spMkLst>
            <pc:docMk/>
            <pc:sldMk cId="4066632467" sldId="533"/>
            <ac:spMk id="19" creationId="{9CBA4AA6-5E8D-1849-AC86-CEA08B9AE6E9}"/>
          </ac:spMkLst>
        </pc:spChg>
        <pc:spChg chg="mod">
          <ac:chgData name="Munarini, Jessica" userId="4069313f-ad49-42bb-b4f1-148e87e20160" providerId="ADAL" clId="{349AAC0B-016C-41CD-BAAF-ADE1535BD0FF}" dt="2023-09-04T16:12:17.459" v="227"/>
          <ac:spMkLst>
            <pc:docMk/>
            <pc:sldMk cId="4066632467" sldId="533"/>
            <ac:spMk id="21" creationId="{703D39C9-9B85-4F87-8271-E3F961C6AA6D}"/>
          </ac:spMkLst>
        </pc:spChg>
        <pc:spChg chg="mod">
          <ac:chgData name="Munarini, Jessica" userId="4069313f-ad49-42bb-b4f1-148e87e20160" providerId="ADAL" clId="{349AAC0B-016C-41CD-BAAF-ADE1535BD0FF}" dt="2023-09-05T08:23:54.799" v="418" actId="20577"/>
          <ac:spMkLst>
            <pc:docMk/>
            <pc:sldMk cId="4066632467" sldId="533"/>
            <ac:spMk id="31" creationId="{FC0493E4-71FF-4ABD-A4C5-537C004AF920}"/>
          </ac:spMkLst>
        </pc:spChg>
        <pc:spChg chg="mod">
          <ac:chgData name="Munarini, Jessica" userId="4069313f-ad49-42bb-b4f1-148e87e20160" providerId="ADAL" clId="{349AAC0B-016C-41CD-BAAF-ADE1535BD0FF}" dt="2023-09-06T12:25:50.330" v="523" actId="122"/>
          <ac:spMkLst>
            <pc:docMk/>
            <pc:sldMk cId="4066632467" sldId="533"/>
            <ac:spMk id="44" creationId="{628146F2-4559-4A1E-AAB1-A0127A531F7E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 del">
              <pc226:chgData name="Munarini, Jessica" userId="4069313f-ad49-42bb-b4f1-148e87e20160" providerId="ADAL" clId="{349AAC0B-016C-41CD-BAAF-ADE1535BD0FF}" dt="2023-09-06T12:25:33.486" v="521"/>
              <pc2:cmMkLst xmlns:pc2="http://schemas.microsoft.com/office/powerpoint/2019/9/main/command">
                <pc:docMk/>
                <pc:sldMk cId="4066632467" sldId="533"/>
                <pc2:cmMk id="{47474A26-F3D6-4B29-82DD-7FC0431E1DA1}"/>
              </pc2:cmMkLst>
            </pc226:cmChg>
            <pc226:cmChg xmlns:pc226="http://schemas.microsoft.com/office/powerpoint/2022/06/main/command" chg="add del mod">
              <pc226:chgData name="Munarini, Jessica" userId="4069313f-ad49-42bb-b4f1-148e87e20160" providerId="ADAL" clId="{349AAC0B-016C-41CD-BAAF-ADE1535BD0FF}" dt="2023-09-06T12:25:01.171" v="520"/>
              <pc2:cmMkLst xmlns:pc2="http://schemas.microsoft.com/office/powerpoint/2019/9/main/command">
                <pc:docMk/>
                <pc:sldMk cId="4066632467" sldId="533"/>
                <pc2:cmMk id="{413D70C9-15E5-43C2-B815-2810022369D9}"/>
              </pc2:cmMkLst>
            </pc226:cmChg>
            <pc226:cmChg xmlns:pc226="http://schemas.microsoft.com/office/powerpoint/2022/06/main/command" chg="add del">
              <pc226:chgData name="Munarini, Jessica" userId="4069313f-ad49-42bb-b4f1-148e87e20160" providerId="ADAL" clId="{349AAC0B-016C-41CD-BAAF-ADE1535BD0FF}" dt="2023-09-06T12:24:58.139" v="519"/>
              <pc2:cmMkLst xmlns:pc2="http://schemas.microsoft.com/office/powerpoint/2019/9/main/command">
                <pc:docMk/>
                <pc:sldMk cId="4066632467" sldId="533"/>
                <pc2:cmMk id="{378FBCE7-DDCE-4124-843C-C5CAF04649AD}"/>
              </pc2:cmMkLst>
            </pc226:cmChg>
          </p:ext>
        </pc:extLst>
      </pc:sldChg>
      <pc:sldChg chg="modSp mod">
        <pc:chgData name="Munarini, Jessica" userId="4069313f-ad49-42bb-b4f1-148e87e20160" providerId="ADAL" clId="{349AAC0B-016C-41CD-BAAF-ADE1535BD0FF}" dt="2023-09-04T16:25:51.489" v="307" actId="313"/>
        <pc:sldMkLst>
          <pc:docMk/>
          <pc:sldMk cId="3125877466" sldId="535"/>
        </pc:sldMkLst>
        <pc:spChg chg="mod">
          <ac:chgData name="Munarini, Jessica" userId="4069313f-ad49-42bb-b4f1-148e87e20160" providerId="ADAL" clId="{349AAC0B-016C-41CD-BAAF-ADE1535BD0FF}" dt="2023-09-04T15:55:50.887" v="33" actId="313"/>
          <ac:spMkLst>
            <pc:docMk/>
            <pc:sldMk cId="3125877466" sldId="535"/>
            <ac:spMk id="19" creationId="{9CBA4AA6-5E8D-1849-AC86-CEA08B9AE6E9}"/>
          </ac:spMkLst>
        </pc:spChg>
        <pc:spChg chg="mod">
          <ac:chgData name="Munarini, Jessica" userId="4069313f-ad49-42bb-b4f1-148e87e20160" providerId="ADAL" clId="{349AAC0B-016C-41CD-BAAF-ADE1535BD0FF}" dt="2023-09-04T16:22:33.651" v="264"/>
          <ac:spMkLst>
            <pc:docMk/>
            <pc:sldMk cId="3125877466" sldId="535"/>
            <ac:spMk id="21" creationId="{703D39C9-9B85-4F87-8271-E3F961C6AA6D}"/>
          </ac:spMkLst>
        </pc:spChg>
        <pc:graphicFrameChg chg="modGraphic">
          <ac:chgData name="Munarini, Jessica" userId="4069313f-ad49-42bb-b4f1-148e87e20160" providerId="ADAL" clId="{349AAC0B-016C-41CD-BAAF-ADE1535BD0FF}" dt="2023-09-04T16:25:51.489" v="307" actId="313"/>
          <ac:graphicFrameMkLst>
            <pc:docMk/>
            <pc:sldMk cId="3125877466" sldId="535"/>
            <ac:graphicFrameMk id="36" creationId="{97132018-57B1-49A8-A635-EB83948D0750}"/>
          </ac:graphicFrameMkLst>
        </pc:graphicFrameChg>
      </pc:sldChg>
      <pc:sldChg chg="addSp modSp mod">
        <pc:chgData name="Munarini, Jessica" userId="4069313f-ad49-42bb-b4f1-148e87e20160" providerId="ADAL" clId="{349AAC0B-016C-41CD-BAAF-ADE1535BD0FF}" dt="2023-09-06T12:26:41.724" v="525" actId="207"/>
        <pc:sldMkLst>
          <pc:docMk/>
          <pc:sldMk cId="713169605" sldId="536"/>
        </pc:sldMkLst>
        <pc:spChg chg="add mod">
          <ac:chgData name="Munarini, Jessica" userId="4069313f-ad49-42bb-b4f1-148e87e20160" providerId="ADAL" clId="{349AAC0B-016C-41CD-BAAF-ADE1535BD0FF}" dt="2023-09-06T12:26:41.724" v="525" actId="207"/>
          <ac:spMkLst>
            <pc:docMk/>
            <pc:sldMk cId="713169605" sldId="536"/>
            <ac:spMk id="3" creationId="{837B4A17-EDFD-17DA-6061-D6776410C011}"/>
          </ac:spMkLst>
        </pc:spChg>
        <pc:spChg chg="mod">
          <ac:chgData name="Munarini, Jessica" userId="4069313f-ad49-42bb-b4f1-148e87e20160" providerId="ADAL" clId="{349AAC0B-016C-41CD-BAAF-ADE1535BD0FF}" dt="2023-09-04T15:55:51.393" v="34" actId="313"/>
          <ac:spMkLst>
            <pc:docMk/>
            <pc:sldMk cId="713169605" sldId="536"/>
            <ac:spMk id="19" creationId="{9CBA4AA6-5E8D-1849-AC86-CEA08B9AE6E9}"/>
          </ac:spMkLst>
        </pc:spChg>
        <pc:spChg chg="mod">
          <ac:chgData name="Munarini, Jessica" userId="4069313f-ad49-42bb-b4f1-148e87e20160" providerId="ADAL" clId="{349AAC0B-016C-41CD-BAAF-ADE1535BD0FF}" dt="2023-09-04T16:25:21.650" v="303"/>
          <ac:spMkLst>
            <pc:docMk/>
            <pc:sldMk cId="713169605" sldId="536"/>
            <ac:spMk id="21" creationId="{703D39C9-9B85-4F87-8271-E3F961C6AA6D}"/>
          </ac:spMkLst>
        </pc:spChg>
        <pc:grpChg chg="add mod">
          <ac:chgData name="Munarini, Jessica" userId="4069313f-ad49-42bb-b4f1-148e87e20160" providerId="ADAL" clId="{349AAC0B-016C-41CD-BAAF-ADE1535BD0FF}" dt="2023-09-04T16:39:12.194" v="350" actId="164"/>
          <ac:grpSpMkLst>
            <pc:docMk/>
            <pc:sldMk cId="713169605" sldId="536"/>
            <ac:grpSpMk id="4" creationId="{8A4B4BEA-3941-6A88-FC98-5BBA5D8F895D}"/>
          </ac:grpSpMkLst>
        </pc:grpChg>
        <pc:graphicFrameChg chg="mod modGraphic">
          <ac:chgData name="Munarini, Jessica" userId="4069313f-ad49-42bb-b4f1-148e87e20160" providerId="ADAL" clId="{349AAC0B-016C-41CD-BAAF-ADE1535BD0FF}" dt="2023-09-04T16:25:48.385" v="304" actId="313"/>
          <ac:graphicFrameMkLst>
            <pc:docMk/>
            <pc:sldMk cId="713169605" sldId="536"/>
            <ac:graphicFrameMk id="16" creationId="{421DF3FD-9410-41CC-A73F-3F33FA237016}"/>
          </ac:graphicFrameMkLst>
        </pc:graphicFrameChg>
        <pc:graphicFrameChg chg="mod">
          <ac:chgData name="Munarini, Jessica" userId="4069313f-ad49-42bb-b4f1-148e87e20160" providerId="ADAL" clId="{349AAC0B-016C-41CD-BAAF-ADE1535BD0FF}" dt="2023-09-04T16:39:12.194" v="350" actId="164"/>
          <ac:graphicFrameMkLst>
            <pc:docMk/>
            <pc:sldMk cId="713169605" sldId="536"/>
            <ac:graphicFrameMk id="35" creationId="{D01FD446-30E6-4C9E-8551-EEE1F01A9B87}"/>
          </ac:graphicFrameMkLst>
        </pc:graphicFrameChg>
      </pc:sldChg>
      <pc:sldChg chg="modSp mod addCm delCm">
        <pc:chgData name="Munarini, Jessica" userId="4069313f-ad49-42bb-b4f1-148e87e20160" providerId="ADAL" clId="{349AAC0B-016C-41CD-BAAF-ADE1535BD0FF}" dt="2023-09-06T12:27:26.019" v="527"/>
        <pc:sldMkLst>
          <pc:docMk/>
          <pc:sldMk cId="4025676903" sldId="538"/>
        </pc:sldMkLst>
        <pc:spChg chg="mod">
          <ac:chgData name="Munarini, Jessica" userId="4069313f-ad49-42bb-b4f1-148e87e20160" providerId="ADAL" clId="{349AAC0B-016C-41CD-BAAF-ADE1535BD0FF}" dt="2023-09-06T12:27:16.157" v="526"/>
          <ac:spMkLst>
            <pc:docMk/>
            <pc:sldMk cId="4025676903" sldId="538"/>
            <ac:spMk id="9" creationId="{33C66E80-4058-40CA-9D64-757A4EA7CFD0}"/>
          </ac:spMkLst>
        </pc:spChg>
        <pc:spChg chg="mod">
          <ac:chgData name="Munarini, Jessica" userId="4069313f-ad49-42bb-b4f1-148e87e20160" providerId="ADAL" clId="{349AAC0B-016C-41CD-BAAF-ADE1535BD0FF}" dt="2023-09-04T16:23:55.685" v="280"/>
          <ac:spMkLst>
            <pc:docMk/>
            <pc:sldMk cId="4025676903" sldId="538"/>
            <ac:spMk id="11" creationId="{07B8465C-B8FE-45BD-8F9B-7B950D002B06}"/>
          </ac:spMkLst>
        </pc:spChg>
        <pc:spChg chg="mod">
          <ac:chgData name="Munarini, Jessica" userId="4069313f-ad49-42bb-b4f1-148e87e20160" providerId="ADAL" clId="{349AAC0B-016C-41CD-BAAF-ADE1535BD0FF}" dt="2023-09-04T15:55:51.978" v="35" actId="313"/>
          <ac:spMkLst>
            <pc:docMk/>
            <pc:sldMk cId="4025676903" sldId="538"/>
            <ac:spMk id="19" creationId="{9CBA4AA6-5E8D-1849-AC86-CEA08B9AE6E9}"/>
          </ac:spMkLst>
        </pc:spChg>
        <pc:spChg chg="mod">
          <ac:chgData name="Munarini, Jessica" userId="4069313f-ad49-42bb-b4f1-148e87e20160" providerId="ADAL" clId="{349AAC0B-016C-41CD-BAAF-ADE1535BD0FF}" dt="2023-09-04T16:23:15.561" v="270"/>
          <ac:spMkLst>
            <pc:docMk/>
            <pc:sldMk cId="4025676903" sldId="538"/>
            <ac:spMk id="37" creationId="{C2CD9385-C6F2-4A1E-9B29-152D7ED2134A}"/>
          </ac:spMkLst>
        </pc:spChg>
        <pc:spChg chg="mod">
          <ac:chgData name="Munarini, Jessica" userId="4069313f-ad49-42bb-b4f1-148e87e20160" providerId="ADAL" clId="{349AAC0B-016C-41CD-BAAF-ADE1535BD0FF}" dt="2023-09-04T16:24:09.387" v="283"/>
          <ac:spMkLst>
            <pc:docMk/>
            <pc:sldMk cId="4025676903" sldId="538"/>
            <ac:spMk id="55" creationId="{8386BF0D-B86F-463A-8C00-7EB7C01972C0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 del">
              <pc226:chgData name="Munarini, Jessica" userId="4069313f-ad49-42bb-b4f1-148e87e20160" providerId="ADAL" clId="{349AAC0B-016C-41CD-BAAF-ADE1535BD0FF}" dt="2023-09-06T12:27:26.019" v="527"/>
              <pc2:cmMkLst xmlns:pc2="http://schemas.microsoft.com/office/powerpoint/2019/9/main/command">
                <pc:docMk/>
                <pc:sldMk cId="4025676903" sldId="538"/>
                <pc2:cmMk id="{BF5BE280-F01E-4C00-8E44-C56064AA93AC}"/>
              </pc2:cmMkLst>
            </pc226:cmChg>
          </p:ext>
        </pc:extLst>
      </pc:sldChg>
      <pc:sldChg chg="modSp mod">
        <pc:chgData name="Munarini, Jessica" userId="4069313f-ad49-42bb-b4f1-148e87e20160" providerId="ADAL" clId="{349AAC0B-016C-41CD-BAAF-ADE1535BD0FF}" dt="2023-09-04T16:24:29.754" v="289"/>
        <pc:sldMkLst>
          <pc:docMk/>
          <pc:sldMk cId="1466831459" sldId="539"/>
        </pc:sldMkLst>
        <pc:spChg chg="mod">
          <ac:chgData name="Munarini, Jessica" userId="4069313f-ad49-42bb-b4f1-148e87e20160" providerId="ADAL" clId="{349AAC0B-016C-41CD-BAAF-ADE1535BD0FF}" dt="2023-09-04T15:55:52.463" v="36" actId="313"/>
          <ac:spMkLst>
            <pc:docMk/>
            <pc:sldMk cId="1466831459" sldId="539"/>
            <ac:spMk id="19" creationId="{9CBA4AA6-5E8D-1849-AC86-CEA08B9AE6E9}"/>
          </ac:spMkLst>
        </pc:spChg>
        <pc:spChg chg="mod">
          <ac:chgData name="Munarini, Jessica" userId="4069313f-ad49-42bb-b4f1-148e87e20160" providerId="ADAL" clId="{349AAC0B-016C-41CD-BAAF-ADE1535BD0FF}" dt="2023-09-04T16:24:17.580" v="286"/>
          <ac:spMkLst>
            <pc:docMk/>
            <pc:sldMk cId="1466831459" sldId="539"/>
            <ac:spMk id="21" creationId="{703D39C9-9B85-4F87-8271-E3F961C6AA6D}"/>
          </ac:spMkLst>
        </pc:spChg>
        <pc:spChg chg="mod">
          <ac:chgData name="Munarini, Jessica" userId="4069313f-ad49-42bb-b4f1-148e87e20160" providerId="ADAL" clId="{349AAC0B-016C-41CD-BAAF-ADE1535BD0FF}" dt="2023-09-04T16:24:29.754" v="289"/>
          <ac:spMkLst>
            <pc:docMk/>
            <pc:sldMk cId="1466831459" sldId="539"/>
            <ac:spMk id="24" creationId="{B9562E1A-A471-F248-8576-3139306FFE38}"/>
          </ac:spMkLst>
        </pc:spChg>
      </pc:sldChg>
      <pc:sldChg chg="modSp mod">
        <pc:chgData name="Munarini, Jessica" userId="4069313f-ad49-42bb-b4f1-148e87e20160" providerId="ADAL" clId="{349AAC0B-016C-41CD-BAAF-ADE1535BD0FF}" dt="2023-09-04T16:25:50.030" v="305" actId="313"/>
        <pc:sldMkLst>
          <pc:docMk/>
          <pc:sldMk cId="3616497732" sldId="540"/>
        </pc:sldMkLst>
        <pc:spChg chg="mod">
          <ac:chgData name="Munarini, Jessica" userId="4069313f-ad49-42bb-b4f1-148e87e20160" providerId="ADAL" clId="{349AAC0B-016C-41CD-BAAF-ADE1535BD0FF}" dt="2023-09-04T15:55:52.974" v="37" actId="313"/>
          <ac:spMkLst>
            <pc:docMk/>
            <pc:sldMk cId="3616497732" sldId="540"/>
            <ac:spMk id="19" creationId="{9CBA4AA6-5E8D-1849-AC86-CEA08B9AE6E9}"/>
          </ac:spMkLst>
        </pc:spChg>
        <pc:spChg chg="mod">
          <ac:chgData name="Munarini, Jessica" userId="4069313f-ad49-42bb-b4f1-148e87e20160" providerId="ADAL" clId="{349AAC0B-016C-41CD-BAAF-ADE1535BD0FF}" dt="2023-09-04T16:24:37.140" v="292"/>
          <ac:spMkLst>
            <pc:docMk/>
            <pc:sldMk cId="3616497732" sldId="540"/>
            <ac:spMk id="21" creationId="{703D39C9-9B85-4F87-8271-E3F961C6AA6D}"/>
          </ac:spMkLst>
        </pc:spChg>
        <pc:graphicFrameChg chg="modGraphic">
          <ac:chgData name="Munarini, Jessica" userId="4069313f-ad49-42bb-b4f1-148e87e20160" providerId="ADAL" clId="{349AAC0B-016C-41CD-BAAF-ADE1535BD0FF}" dt="2023-09-04T16:25:50.030" v="305" actId="313"/>
          <ac:graphicFrameMkLst>
            <pc:docMk/>
            <pc:sldMk cId="3616497732" sldId="540"/>
            <ac:graphicFrameMk id="15" creationId="{67AED5E7-B821-446F-B56C-A43A3B500738}"/>
          </ac:graphicFrameMkLst>
        </pc:graphicFrameChg>
      </pc:sldChg>
      <pc:sldChg chg="addSp modSp mod">
        <pc:chgData name="Munarini, Jessica" userId="4069313f-ad49-42bb-b4f1-148e87e20160" providerId="ADAL" clId="{349AAC0B-016C-41CD-BAAF-ADE1535BD0FF}" dt="2023-09-04T16:40:49.859" v="399" actId="164"/>
        <pc:sldMkLst>
          <pc:docMk/>
          <pc:sldMk cId="1264717541" sldId="541"/>
        </pc:sldMkLst>
        <pc:spChg chg="add mod">
          <ac:chgData name="Munarini, Jessica" userId="4069313f-ad49-42bb-b4f1-148e87e20160" providerId="ADAL" clId="{349AAC0B-016C-41CD-BAAF-ADE1535BD0FF}" dt="2023-09-04T16:40:49.859" v="399" actId="164"/>
          <ac:spMkLst>
            <pc:docMk/>
            <pc:sldMk cId="1264717541" sldId="541"/>
            <ac:spMk id="3" creationId="{262FD0B7-599B-276D-898E-F0A2724B3FD6}"/>
          </ac:spMkLst>
        </pc:spChg>
        <pc:spChg chg="mod">
          <ac:chgData name="Munarini, Jessica" userId="4069313f-ad49-42bb-b4f1-148e87e20160" providerId="ADAL" clId="{349AAC0B-016C-41CD-BAAF-ADE1535BD0FF}" dt="2023-09-04T15:55:53.470" v="38" actId="313"/>
          <ac:spMkLst>
            <pc:docMk/>
            <pc:sldMk cId="1264717541" sldId="541"/>
            <ac:spMk id="19" creationId="{9CBA4AA6-5E8D-1849-AC86-CEA08B9AE6E9}"/>
          </ac:spMkLst>
        </pc:spChg>
        <pc:spChg chg="mod">
          <ac:chgData name="Munarini, Jessica" userId="4069313f-ad49-42bb-b4f1-148e87e20160" providerId="ADAL" clId="{349AAC0B-016C-41CD-BAAF-ADE1535BD0FF}" dt="2023-09-04T16:24:49.978" v="295"/>
          <ac:spMkLst>
            <pc:docMk/>
            <pc:sldMk cId="1264717541" sldId="541"/>
            <ac:spMk id="21" creationId="{703D39C9-9B85-4F87-8271-E3F961C6AA6D}"/>
          </ac:spMkLst>
        </pc:spChg>
        <pc:grpChg chg="add mod">
          <ac:chgData name="Munarini, Jessica" userId="4069313f-ad49-42bb-b4f1-148e87e20160" providerId="ADAL" clId="{349AAC0B-016C-41CD-BAAF-ADE1535BD0FF}" dt="2023-09-04T16:40:49.859" v="399" actId="164"/>
          <ac:grpSpMkLst>
            <pc:docMk/>
            <pc:sldMk cId="1264717541" sldId="541"/>
            <ac:grpSpMk id="4" creationId="{CF6A4BFA-2D45-629C-B207-743870A79CC6}"/>
          </ac:grpSpMkLst>
        </pc:grpChg>
        <pc:graphicFrameChg chg="mod modGraphic">
          <ac:chgData name="Munarini, Jessica" userId="4069313f-ad49-42bb-b4f1-148e87e20160" providerId="ADAL" clId="{349AAC0B-016C-41CD-BAAF-ADE1535BD0FF}" dt="2023-09-04T16:25:50.801" v="306" actId="313"/>
          <ac:graphicFrameMkLst>
            <pc:docMk/>
            <pc:sldMk cId="1264717541" sldId="541"/>
            <ac:graphicFrameMk id="16" creationId="{421DF3FD-9410-41CC-A73F-3F33FA237016}"/>
          </ac:graphicFrameMkLst>
        </pc:graphicFrameChg>
        <pc:graphicFrameChg chg="mod">
          <ac:chgData name="Munarini, Jessica" userId="4069313f-ad49-42bb-b4f1-148e87e20160" providerId="ADAL" clId="{349AAC0B-016C-41CD-BAAF-ADE1535BD0FF}" dt="2023-09-04T16:40:49.859" v="399" actId="164"/>
          <ac:graphicFrameMkLst>
            <pc:docMk/>
            <pc:sldMk cId="1264717541" sldId="541"/>
            <ac:graphicFrameMk id="25" creationId="{FA4D4DA7-D6F3-48B1-9F9F-F3100FBA7FE3}"/>
          </ac:graphicFrameMkLst>
        </pc:graphicFrame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Birte.Hoock\AppData\Local\Microsoft\Windows\INetCache\Content.Outlook\7AET4VNY\20220118_Ofenkurven%20W885_Nachstellung%20(002).xlsx" TargetMode="Externa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chartUserShapes" Target="../drawings/drawing1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Birte.Hoock\AppData\Local\Microsoft\Windows\INetCache\Content.Outlook\7AET4VNY\20220118_Ofenkurven%20W885_Nachstellung%20(002).xlsx" TargetMode="Externa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chartUserShapes" Target="../drawings/drawing2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Birte.Hoock\AppData\Local\Microsoft\Windows\INetCache\Content.Outlook\7AET4VNY\20220118_Ofenkurven%20W885_Nachstellung%20(002)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Birte.Hoock\AppData\Local\Microsoft\Windows\INetCache\Content.Outlook\7AET4VNY\20220118_Ofenkurven%20W885_Nachstellung%20(002)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3993732968894648E-2"/>
          <c:y val="5.7375923656397987E-2"/>
          <c:w val="0.56893930171948481"/>
          <c:h val="0.82059532559920634"/>
        </c:manualLayout>
      </c:layout>
      <c:lineChart>
        <c:grouping val="standard"/>
        <c:varyColors val="0"/>
        <c:ser>
          <c:idx val="0"/>
          <c:order val="0"/>
          <c:tx>
            <c:strRef>
              <c:f>Tabelle1!$A$2</c:f>
              <c:strCache>
                <c:ptCount val="1"/>
                <c:pt idx="0">
                  <c:v>ENVIROCRON 
ENERGX ULTRA</c:v>
                </c:pt>
              </c:strCache>
            </c:strRef>
          </c:tx>
          <c:spPr>
            <a:ln w="57150" cap="rnd">
              <a:solidFill>
                <a:srgbClr val="2089BE"/>
              </a:solidFill>
              <a:round/>
            </a:ln>
            <a:effectLst/>
          </c:spPr>
          <c:marker>
            <c:symbol val="none"/>
          </c:marker>
          <c:cat>
            <c:strRef>
              <c:f>Tabelle1!$B$1:$F$1</c:f>
              <c:strCache>
                <c:ptCount val="5"/>
                <c:pt idx="0">
                  <c:v>0</c:v>
                </c:pt>
                <c:pt idx="1">
                  <c:v>500h</c:v>
                </c:pt>
                <c:pt idx="2">
                  <c:v>1000h</c:v>
                </c:pt>
                <c:pt idx="3">
                  <c:v>1500h</c:v>
                </c:pt>
                <c:pt idx="4">
                  <c:v>2000h</c:v>
                </c:pt>
              </c:strCache>
            </c:strRef>
          </c:cat>
          <c:val>
            <c:numRef>
              <c:f>Tabelle1!$B$2:$F$2</c:f>
              <c:numCache>
                <c:formatCode>General</c:formatCode>
                <c:ptCount val="5"/>
                <c:pt idx="0">
                  <c:v>100</c:v>
                </c:pt>
                <c:pt idx="1">
                  <c:v>99</c:v>
                </c:pt>
                <c:pt idx="2">
                  <c:v>95</c:v>
                </c:pt>
                <c:pt idx="3">
                  <c:v>82</c:v>
                </c:pt>
                <c:pt idx="4">
                  <c:v>65</c:v>
                </c:pt>
              </c:numCache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2-8F33-4EA9-B876-BE3D0D00CFDE}"/>
            </c:ext>
          </c:extLst>
        </c:ser>
        <c:ser>
          <c:idx val="1"/>
          <c:order val="1"/>
          <c:tx>
            <c:strRef>
              <c:f>Tabelle1!$A$3</c:f>
              <c:strCache>
                <c:ptCount val="1"/>
                <c:pt idx="0">
                  <c:v>Conventional ultradurable
powder coating</c:v>
                </c:pt>
              </c:strCache>
            </c:strRef>
          </c:tx>
          <c:spPr>
            <a:ln w="38100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Tabelle1!$B$1:$F$1</c:f>
              <c:strCache>
                <c:ptCount val="5"/>
                <c:pt idx="0">
                  <c:v>0</c:v>
                </c:pt>
                <c:pt idx="1">
                  <c:v>500h</c:v>
                </c:pt>
                <c:pt idx="2">
                  <c:v>1000h</c:v>
                </c:pt>
                <c:pt idx="3">
                  <c:v>1500h</c:v>
                </c:pt>
                <c:pt idx="4">
                  <c:v>2000h</c:v>
                </c:pt>
              </c:strCache>
            </c:strRef>
          </c:cat>
          <c:val>
            <c:numRef>
              <c:f>Tabelle1!$B$3:$F$3</c:f>
              <c:numCache>
                <c:formatCode>General</c:formatCode>
                <c:ptCount val="5"/>
                <c:pt idx="0">
                  <c:v>100</c:v>
                </c:pt>
                <c:pt idx="1">
                  <c:v>97</c:v>
                </c:pt>
                <c:pt idx="2">
                  <c:v>86</c:v>
                </c:pt>
                <c:pt idx="3">
                  <c:v>80</c:v>
                </c:pt>
                <c:pt idx="4">
                  <c:v>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0D2-4D47-8512-9FB53AACB970}"/>
            </c:ext>
          </c:extLst>
        </c:ser>
        <c:ser>
          <c:idx val="2"/>
          <c:order val="2"/>
          <c:tx>
            <c:strRef>
              <c:f>Tabelle1!$A$4</c:f>
              <c:strCache>
                <c:ptCount val="1"/>
                <c:pt idx="0">
                  <c:v>Conventional standard durable
powder coating</c:v>
                </c:pt>
              </c:strCache>
            </c:strRef>
          </c:tx>
          <c:spPr>
            <a:ln w="38100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strRef>
              <c:f>Tabelle1!$B$1:$F$1</c:f>
              <c:strCache>
                <c:ptCount val="5"/>
                <c:pt idx="0">
                  <c:v>0</c:v>
                </c:pt>
                <c:pt idx="1">
                  <c:v>500h</c:v>
                </c:pt>
                <c:pt idx="2">
                  <c:v>1000h</c:v>
                </c:pt>
                <c:pt idx="3">
                  <c:v>1500h</c:v>
                </c:pt>
                <c:pt idx="4">
                  <c:v>2000h</c:v>
                </c:pt>
              </c:strCache>
            </c:strRef>
          </c:cat>
          <c:val>
            <c:numRef>
              <c:f>Tabelle1!$B$4:$F$4</c:f>
              <c:numCache>
                <c:formatCode>General</c:formatCode>
                <c:ptCount val="5"/>
                <c:pt idx="0">
                  <c:v>100</c:v>
                </c:pt>
                <c:pt idx="1">
                  <c:v>95</c:v>
                </c:pt>
                <c:pt idx="2">
                  <c:v>5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0D2-4D47-8512-9FB53AACB97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25727392"/>
        <c:axId val="725731328"/>
        <c:extLst/>
      </c:lineChart>
      <c:catAx>
        <c:axId val="7257273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725731328"/>
        <c:crosses val="autoZero"/>
        <c:auto val="1"/>
        <c:lblAlgn val="ctr"/>
        <c:lblOffset val="100"/>
        <c:noMultiLvlLbl val="0"/>
      </c:catAx>
      <c:valAx>
        <c:axId val="725731328"/>
        <c:scaling>
          <c:orientation val="minMax"/>
          <c:max val="105"/>
          <c:min val="5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7257273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6295237124440265"/>
          <c:y val="0.10115937947795808"/>
          <c:w val="0.2768127958186285"/>
          <c:h val="0.4724227678563556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rgbClr val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600">
          <a:solidFill>
            <a:srgbClr val="000000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733611111111105E-2"/>
          <c:y val="2.9175289607123716E-2"/>
          <c:w val="0.87106861111111111"/>
          <c:h val="0.68789277322010145"/>
        </c:manualLayout>
      </c:layout>
      <c:scatterChart>
        <c:scatterStyle val="smoothMarker"/>
        <c:varyColors val="0"/>
        <c:ser>
          <c:idx val="2"/>
          <c:order val="0"/>
          <c:tx>
            <c:v>oven curve circulating air 230°C</c:v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noFill/>
              <a:ln w="28575">
                <a:noFill/>
              </a:ln>
              <a:effectLst/>
            </c:spPr>
          </c:marker>
          <c:xVal>
            <c:numRef>
              <c:f>'W885-SpeedCure'!$B$7:$B$67</c:f>
              <c:numCache>
                <c:formatCode>General</c:formatCode>
                <c:ptCount val="6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  <c:pt idx="51">
                  <c:v>51</c:v>
                </c:pt>
                <c:pt idx="52">
                  <c:v>52</c:v>
                </c:pt>
                <c:pt idx="53">
                  <c:v>53</c:v>
                </c:pt>
                <c:pt idx="54">
                  <c:v>54</c:v>
                </c:pt>
                <c:pt idx="55">
                  <c:v>55</c:v>
                </c:pt>
                <c:pt idx="56">
                  <c:v>56</c:v>
                </c:pt>
                <c:pt idx="57">
                  <c:v>57</c:v>
                </c:pt>
                <c:pt idx="58">
                  <c:v>58</c:v>
                </c:pt>
                <c:pt idx="59">
                  <c:v>59</c:v>
                </c:pt>
                <c:pt idx="60">
                  <c:v>60</c:v>
                </c:pt>
              </c:numCache>
            </c:numRef>
          </c:xVal>
          <c:yVal>
            <c:numRef>
              <c:f>'W885-SpeedCure'!$F$7:$F$67</c:f>
              <c:numCache>
                <c:formatCode>0</c:formatCode>
                <c:ptCount val="61"/>
                <c:pt idx="0">
                  <c:v>30</c:v>
                </c:pt>
                <c:pt idx="1">
                  <c:v>30</c:v>
                </c:pt>
                <c:pt idx="2">
                  <c:v>137.32612615376493</c:v>
                </c:pt>
                <c:pt idx="3">
                  <c:v>187.05776553166055</c:v>
                </c:pt>
                <c:pt idx="4">
                  <c:v>210.10188390102832</c:v>
                </c:pt>
                <c:pt idx="5">
                  <c:v>220.7798224943308</c:v>
                </c:pt>
                <c:pt idx="6">
                  <c:v>225.72765216499857</c:v>
                </c:pt>
                <c:pt idx="7">
                  <c:v>228.02032487855922</c:v>
                </c:pt>
                <c:pt idx="8">
                  <c:v>229.08267918769533</c:v>
                </c:pt>
                <c:pt idx="9">
                  <c:v>229.57494163381975</c:v>
                </c:pt>
                <c:pt idx="10">
                  <c:v>229.80304097297662</c:v>
                </c:pt>
                <c:pt idx="11">
                  <c:v>229.90873521988379</c:v>
                </c:pt>
                <c:pt idx="12">
                  <c:v>229.95771069640452</c:v>
                </c:pt>
                <c:pt idx="13">
                  <c:v>229.98040443206773</c:v>
                </c:pt>
                <c:pt idx="14">
                  <c:v>229.9909200140475</c:v>
                </c:pt>
                <c:pt idx="15">
                  <c:v>229.99579261263656</c:v>
                </c:pt>
                <c:pt idx="16">
                  <c:v>229.99805042557131</c:v>
                </c:pt>
                <c:pt idx="17">
                  <c:v>229.9990966269267</c:v>
                </c:pt>
                <c:pt idx="18">
                  <c:v>229.99958140458884</c:v>
                </c:pt>
                <c:pt idx="19">
                  <c:v>229.99980603570836</c:v>
                </c:pt>
                <c:pt idx="20">
                  <c:v>229.99991012288854</c:v>
                </c:pt>
                <c:pt idx="21">
                  <c:v>229.99995835369955</c:v>
                </c:pt>
                <c:pt idx="22">
                  <c:v>229.99998070238004</c:v>
                </c:pt>
                <c:pt idx="23">
                  <c:v>229.99999105807402</c:v>
                </c:pt>
                <c:pt idx="24">
                  <c:v>229.9999958565854</c:v>
                </c:pt>
                <c:pt idx="25">
                  <c:v>229.99999808006859</c:v>
                </c:pt>
                <c:pt idx="26">
                  <c:v>229.99999911036258</c:v>
                </c:pt>
                <c:pt idx="27">
                  <c:v>229.99999958776928</c:v>
                </c:pt>
                <c:pt idx="28">
                  <c:v>229.99999980898491</c:v>
                </c:pt>
                <c:pt idx="29">
                  <c:v>229.99999991148945</c:v>
                </c:pt>
                <c:pt idx="30">
                  <c:v>229.99999995898693</c:v>
                </c:pt>
                <c:pt idx="31">
                  <c:v>229.9999999809958</c:v>
                </c:pt>
                <c:pt idx="32">
                  <c:v>229.99999999119404</c:v>
                </c:pt>
                <c:pt idx="33">
                  <c:v>229.99999999591958</c:v>
                </c:pt>
                <c:pt idx="34">
                  <c:v>229.99999999810927</c:v>
                </c:pt>
                <c:pt idx="35">
                  <c:v>229.9999999991239</c:v>
                </c:pt>
                <c:pt idx="36">
                  <c:v>229.99999999959402</c:v>
                </c:pt>
                <c:pt idx="37">
                  <c:v>226</c:v>
                </c:pt>
                <c:pt idx="38">
                  <c:v>119.99072069239094</c:v>
                </c:pt>
                <c:pt idx="39">
                  <c:v>69.015790330047935</c:v>
                </c:pt>
                <c:pt idx="40">
                  <c:v>45.395569001445985</c:v>
                </c:pt>
                <c:pt idx="41">
                  <c:v>34.45068194331094</c:v>
                </c:pt>
                <c:pt idx="42">
                  <c:v>29.379156530876447</c:v>
                </c:pt>
                <c:pt idx="43">
                  <c:v>27.0291669994768</c:v>
                </c:pt>
                <c:pt idx="44">
                  <c:v>25.940253832612282</c:v>
                </c:pt>
                <c:pt idx="45">
                  <c:v>25.435684825334747</c:v>
                </c:pt>
                <c:pt idx="46">
                  <c:v>25.201883002698956</c:v>
                </c:pt>
                <c:pt idx="47">
                  <c:v>25.093546399619111</c:v>
                </c:pt>
                <c:pt idx="48">
                  <c:v>25.043346536185354</c:v>
                </c:pt>
                <c:pt idx="49">
                  <c:v>25.020085457130563</c:v>
                </c:pt>
                <c:pt idx="50">
                  <c:v>25.009306985601309</c:v>
                </c:pt>
                <c:pt idx="51">
                  <c:v>25.004312572047521</c:v>
                </c:pt>
                <c:pt idx="52">
                  <c:v>25.001998313789425</c:v>
                </c:pt>
                <c:pt idx="53">
                  <c:v>25.000925957400131</c:v>
                </c:pt>
                <c:pt idx="54">
                  <c:v>25.000429060296433</c:v>
                </c:pt>
                <c:pt idx="55">
                  <c:v>25.000198813398921</c:v>
                </c:pt>
                <c:pt idx="56">
                  <c:v>25.000092124039252</c:v>
                </c:pt>
                <c:pt idx="57">
                  <c:v>25.00004268745796</c:v>
                </c:pt>
                <c:pt idx="58">
                  <c:v>25.00001978006047</c:v>
                </c:pt>
                <c:pt idx="59">
                  <c:v>25.000009165474143</c:v>
                </c:pt>
                <c:pt idx="60">
                  <c:v>25.000004246999971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148D-4530-ABAE-F74515222FD9}"/>
            </c:ext>
          </c:extLst>
        </c:ser>
        <c:ser>
          <c:idx val="0"/>
          <c:order val="1"/>
          <c:tx>
            <c:v>part coated with ultradurable standard bake</c:v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circle"/>
            <c:size val="5"/>
            <c:spPr>
              <a:noFill/>
              <a:ln w="3175">
                <a:noFill/>
              </a:ln>
              <a:effectLst/>
            </c:spPr>
          </c:marker>
          <c:xVal>
            <c:numRef>
              <c:f>'W885-SpeedCure'!$B$7:$B$68</c:f>
              <c:numCache>
                <c:formatCode>General</c:formatCode>
                <c:ptCount val="62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  <c:pt idx="51">
                  <c:v>51</c:v>
                </c:pt>
                <c:pt idx="52">
                  <c:v>52</c:v>
                </c:pt>
                <c:pt idx="53">
                  <c:v>53</c:v>
                </c:pt>
                <c:pt idx="54">
                  <c:v>54</c:v>
                </c:pt>
                <c:pt idx="55">
                  <c:v>55</c:v>
                </c:pt>
                <c:pt idx="56">
                  <c:v>56</c:v>
                </c:pt>
                <c:pt idx="57">
                  <c:v>57</c:v>
                </c:pt>
                <c:pt idx="58">
                  <c:v>58</c:v>
                </c:pt>
                <c:pt idx="59">
                  <c:v>59</c:v>
                </c:pt>
                <c:pt idx="60">
                  <c:v>60</c:v>
                </c:pt>
                <c:pt idx="61">
                  <c:v>61</c:v>
                </c:pt>
              </c:numCache>
            </c:numRef>
          </c:xVal>
          <c:yVal>
            <c:numRef>
              <c:f>'W885-SpeedCure'!$C$7:$C$68</c:f>
              <c:numCache>
                <c:formatCode>0</c:formatCode>
                <c:ptCount val="62"/>
                <c:pt idx="0">
                  <c:v>30</c:v>
                </c:pt>
                <c:pt idx="1">
                  <c:v>30</c:v>
                </c:pt>
                <c:pt idx="2">
                  <c:v>40.926166678952711</c:v>
                </c:pt>
                <c:pt idx="3">
                  <c:v>51.255427766424134</c:v>
                </c:pt>
                <c:pt idx="4">
                  <c:v>61.02039271233491</c:v>
                </c:pt>
                <c:pt idx="5">
                  <c:v>70.251889485179902</c:v>
                </c:pt>
                <c:pt idx="6">
                  <c:v>78.979061895843301</c:v>
                </c:pt>
                <c:pt idx="7">
                  <c:v>87.229461604532389</c:v>
                </c:pt>
                <c:pt idx="8">
                  <c:v>95.029135101295878</c:v>
                </c:pt>
                <c:pt idx="9">
                  <c:v>102.40270593472411</c:v>
                </c:pt>
                <c:pt idx="10">
                  <c:v>109.37345244842686</c:v>
                </c:pt>
                <c:pt idx="11">
                  <c:v>115.96338127070237</c:v>
                </c:pt>
                <c:pt idx="12">
                  <c:v>122.1932967894048</c:v>
                </c:pt>
                <c:pt idx="13">
                  <c:v>128.08286683134156</c:v>
                </c:pt>
                <c:pt idx="14">
                  <c:v>133.65068475355048</c:v>
                </c:pt>
                <c:pt idx="15">
                  <c:v>138.91432814247878</c:v>
                </c:pt>
                <c:pt idx="16">
                  <c:v>143.89041430637712</c:v>
                </c:pt>
                <c:pt idx="17">
                  <c:v>148.59465273609754</c:v>
                </c:pt>
                <c:pt idx="18">
                  <c:v>153.04189469991468</c:v>
                </c:pt>
                <c:pt idx="19">
                  <c:v>157.24618012894032</c:v>
                </c:pt>
                <c:pt idx="20">
                  <c:v>161.2207819411488</c:v>
                </c:pt>
                <c:pt idx="21">
                  <c:v>164.97824794394401</c:v>
                </c:pt>
                <c:pt idx="22">
                  <c:v>168.53044044755404</c:v>
                </c:pt>
                <c:pt idx="23">
                  <c:v>171.88857371431322</c:v>
                </c:pt>
                <c:pt idx="24">
                  <c:v>175.06324936205866</c:v>
                </c:pt>
                <c:pt idx="25">
                  <c:v>178.06448983340971</c:v>
                </c:pt>
                <c:pt idx="26">
                  <c:v>180.90177003659272</c:v>
                </c:pt>
                <c:pt idx="27">
                  <c:v>183.58404725770143</c:v>
                </c:pt>
                <c:pt idx="28">
                  <c:v>186.11978943882517</c:v>
                </c:pt>
                <c:pt idx="29">
                  <c:v>188.51700191131985</c:v>
                </c:pt>
                <c:pt idx="30">
                  <c:v>190.78325266861782</c:v>
                </c:pt>
                <c:pt idx="31">
                  <c:v>192.9256962583631</c:v>
                </c:pt>
                <c:pt idx="32">
                  <c:v>194.95109636929934</c:v>
                </c:pt>
                <c:pt idx="33">
                  <c:v>196.86584718421727</c:v>
                </c:pt>
                <c:pt idx="34">
                  <c:v>198.67599356637294</c:v>
                </c:pt>
                <c:pt idx="35">
                  <c:v>200.38725014310489</c:v>
                </c:pt>
                <c:pt idx="36">
                  <c:v>202.00501934689774</c:v>
                </c:pt>
                <c:pt idx="37">
                  <c:v>201</c:v>
                </c:pt>
                <c:pt idx="38">
                  <c:v>181.6560241086876</c:v>
                </c:pt>
                <c:pt idx="39">
                  <c:v>162.1011725672721</c:v>
                </c:pt>
                <c:pt idx="40">
                  <c:v>144.98728824037943</c:v>
                </c:pt>
                <c:pt idx="41">
                  <c:v>130.0096732922957</c:v>
                </c:pt>
                <c:pt idx="42">
                  <c:v>116.90166430683396</c:v>
                </c:pt>
                <c:pt idx="43">
                  <c:v>105.42988457698266</c:v>
                </c:pt>
                <c:pt idx="44">
                  <c:v>95.390089035479079</c:v>
                </c:pt>
                <c:pt idx="45">
                  <c:v>86.603527848908811</c:v>
                </c:pt>
                <c:pt idx="46">
                  <c:v>78.913763932284184</c:v>
                </c:pt>
                <c:pt idx="47">
                  <c:v>72.183887722715099</c:v>
                </c:pt>
                <c:pt idx="48">
                  <c:v>66.294079623638353</c:v>
                </c:pt>
                <c:pt idx="49">
                  <c:v>61.139476721043316</c:v>
                </c:pt>
                <c:pt idx="50">
                  <c:v>56.628305790430815</c:v>
                </c:pt>
                <c:pt idx="51">
                  <c:v>52.680249354316615</c:v>
                </c:pt>
                <c:pt idx="52">
                  <c:v>49.225015699353676</c:v>
                </c:pt>
                <c:pt idx="53">
                  <c:v>46.201087393470864</c:v>
                </c:pt>
                <c:pt idx="54">
                  <c:v>43.554626021463491</c:v>
                </c:pt>
                <c:pt idx="55">
                  <c:v>41.238513638804839</c:v>
                </c:pt>
                <c:pt idx="56">
                  <c:v>39.211513877597</c:v>
                </c:pt>
                <c:pt idx="57">
                  <c:v>37.437537768881477</c:v>
                </c:pt>
                <c:pt idx="58">
                  <c:v>35.885001209914016</c:v>
                </c:pt>
                <c:pt idx="59">
                  <c:v>34.526262636666949</c:v>
                </c:pt>
                <c:pt idx="60">
                  <c:v>33.33713088980663</c:v>
                </c:pt>
                <c:pt idx="61">
                  <c:v>32.296434512127554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1-148D-4530-ABAE-F74515222FD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32047216"/>
        <c:axId val="532042624"/>
      </c:scatterChart>
      <c:valAx>
        <c:axId val="532047216"/>
        <c:scaling>
          <c:orientation val="minMax"/>
          <c:max val="6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/>
                  <a:t>Time [min]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32042624"/>
        <c:crosses val="autoZero"/>
        <c:crossBetween val="midCat"/>
      </c:valAx>
      <c:valAx>
        <c:axId val="532042624"/>
        <c:scaling>
          <c:orientation val="minMax"/>
          <c:max val="25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sz="1100"/>
                  <a:t>Temperature [°C]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32047216"/>
        <c:crosses val="autoZero"/>
        <c:crossBetween val="midCat"/>
        <c:majorUnit val="25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6.0486156970406657E-2"/>
          <c:y val="0.83683843838891869"/>
          <c:w val="0.44684101704526563"/>
          <c:h val="9.5098734385950429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>
          <a:solidFill>
            <a:schemeClr val="tx1"/>
          </a:solidFill>
        </a:defRPr>
      </a:pPr>
      <a:endParaRPr lang="en-US"/>
    </a:p>
  </c:txPr>
  <c:externalData r:id="rId3">
    <c:autoUpdate val="0"/>
  </c:externalData>
  <c:userShapes r:id="rId4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733611111111105E-2"/>
          <c:y val="2.9175289607123716E-2"/>
          <c:w val="0.87106861111111111"/>
          <c:h val="0.68789277322010145"/>
        </c:manualLayout>
      </c:layout>
      <c:scatterChart>
        <c:scatterStyle val="smoothMarker"/>
        <c:varyColors val="0"/>
        <c:ser>
          <c:idx val="2"/>
          <c:order val="0"/>
          <c:tx>
            <c:v>oven curve circulating air 230°C</c:v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noFill/>
              <a:ln w="28575">
                <a:noFill/>
              </a:ln>
              <a:effectLst/>
            </c:spPr>
          </c:marker>
          <c:xVal>
            <c:numRef>
              <c:f>'W885-SpeedCure'!$B$7:$B$67</c:f>
              <c:numCache>
                <c:formatCode>General</c:formatCode>
                <c:ptCount val="6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  <c:pt idx="51">
                  <c:v>51</c:v>
                </c:pt>
                <c:pt idx="52">
                  <c:v>52</c:v>
                </c:pt>
                <c:pt idx="53">
                  <c:v>53</c:v>
                </c:pt>
                <c:pt idx="54">
                  <c:v>54</c:v>
                </c:pt>
                <c:pt idx="55">
                  <c:v>55</c:v>
                </c:pt>
                <c:pt idx="56">
                  <c:v>56</c:v>
                </c:pt>
                <c:pt idx="57">
                  <c:v>57</c:v>
                </c:pt>
                <c:pt idx="58">
                  <c:v>58</c:v>
                </c:pt>
                <c:pt idx="59">
                  <c:v>59</c:v>
                </c:pt>
                <c:pt idx="60">
                  <c:v>60</c:v>
                </c:pt>
              </c:numCache>
            </c:numRef>
          </c:xVal>
          <c:yVal>
            <c:numRef>
              <c:f>'W885-SpeedCure'!$F$7:$F$67</c:f>
              <c:numCache>
                <c:formatCode>0</c:formatCode>
                <c:ptCount val="61"/>
                <c:pt idx="0">
                  <c:v>30</c:v>
                </c:pt>
                <c:pt idx="1">
                  <c:v>30</c:v>
                </c:pt>
                <c:pt idx="2">
                  <c:v>137.32612615376493</c:v>
                </c:pt>
                <c:pt idx="3">
                  <c:v>187.05776553166055</c:v>
                </c:pt>
                <c:pt idx="4">
                  <c:v>210.10188390102832</c:v>
                </c:pt>
                <c:pt idx="5">
                  <c:v>220.7798224943308</c:v>
                </c:pt>
                <c:pt idx="6">
                  <c:v>225.72765216499857</c:v>
                </c:pt>
                <c:pt idx="7">
                  <c:v>228.02032487855922</c:v>
                </c:pt>
                <c:pt idx="8">
                  <c:v>229.08267918769533</c:v>
                </c:pt>
                <c:pt idx="9">
                  <c:v>229.57494163381975</c:v>
                </c:pt>
                <c:pt idx="10">
                  <c:v>229.80304097297662</c:v>
                </c:pt>
                <c:pt idx="11">
                  <c:v>229.90873521988379</c:v>
                </c:pt>
                <c:pt idx="12">
                  <c:v>229.95771069640452</c:v>
                </c:pt>
                <c:pt idx="13">
                  <c:v>229.98040443206773</c:v>
                </c:pt>
                <c:pt idx="14">
                  <c:v>229.9909200140475</c:v>
                </c:pt>
                <c:pt idx="15">
                  <c:v>229.99579261263656</c:v>
                </c:pt>
                <c:pt idx="16">
                  <c:v>229.99805042557131</c:v>
                </c:pt>
                <c:pt idx="17">
                  <c:v>229.9990966269267</c:v>
                </c:pt>
                <c:pt idx="18">
                  <c:v>229.99958140458884</c:v>
                </c:pt>
                <c:pt idx="19">
                  <c:v>229.99980603570836</c:v>
                </c:pt>
                <c:pt idx="20">
                  <c:v>229.99991012288854</c:v>
                </c:pt>
                <c:pt idx="21">
                  <c:v>229.99995835369955</c:v>
                </c:pt>
                <c:pt idx="22">
                  <c:v>229.99998070238004</c:v>
                </c:pt>
                <c:pt idx="23">
                  <c:v>229.99999105807402</c:v>
                </c:pt>
                <c:pt idx="24">
                  <c:v>229.9999958565854</c:v>
                </c:pt>
                <c:pt idx="25">
                  <c:v>229.99999808006859</c:v>
                </c:pt>
                <c:pt idx="26">
                  <c:v>229.99999911036258</c:v>
                </c:pt>
                <c:pt idx="27">
                  <c:v>229.99999958776928</c:v>
                </c:pt>
                <c:pt idx="28">
                  <c:v>229.99999980898491</c:v>
                </c:pt>
                <c:pt idx="29">
                  <c:v>229.99999991148945</c:v>
                </c:pt>
                <c:pt idx="30">
                  <c:v>229.99999995898693</c:v>
                </c:pt>
                <c:pt idx="31">
                  <c:v>229.9999999809958</c:v>
                </c:pt>
                <c:pt idx="32">
                  <c:v>229.99999999119404</c:v>
                </c:pt>
                <c:pt idx="33">
                  <c:v>229.99999999591958</c:v>
                </c:pt>
                <c:pt idx="34">
                  <c:v>229.99999999810927</c:v>
                </c:pt>
                <c:pt idx="35">
                  <c:v>229.9999999991239</c:v>
                </c:pt>
                <c:pt idx="36">
                  <c:v>229.99999999959402</c:v>
                </c:pt>
                <c:pt idx="37">
                  <c:v>226</c:v>
                </c:pt>
                <c:pt idx="38">
                  <c:v>119.99072069239094</c:v>
                </c:pt>
                <c:pt idx="39">
                  <c:v>69.015790330047935</c:v>
                </c:pt>
                <c:pt idx="40">
                  <c:v>45.395569001445985</c:v>
                </c:pt>
                <c:pt idx="41">
                  <c:v>34.45068194331094</c:v>
                </c:pt>
                <c:pt idx="42">
                  <c:v>29.379156530876447</c:v>
                </c:pt>
                <c:pt idx="43">
                  <c:v>27.0291669994768</c:v>
                </c:pt>
                <c:pt idx="44">
                  <c:v>25.940253832612282</c:v>
                </c:pt>
                <c:pt idx="45">
                  <c:v>25.435684825334747</c:v>
                </c:pt>
                <c:pt idx="46">
                  <c:v>25.201883002698956</c:v>
                </c:pt>
                <c:pt idx="47">
                  <c:v>25.093546399619111</c:v>
                </c:pt>
                <c:pt idx="48">
                  <c:v>25.043346536185354</c:v>
                </c:pt>
                <c:pt idx="49">
                  <c:v>25.020085457130563</c:v>
                </c:pt>
                <c:pt idx="50">
                  <c:v>25.009306985601309</c:v>
                </c:pt>
                <c:pt idx="51">
                  <c:v>25.004312572047521</c:v>
                </c:pt>
                <c:pt idx="52">
                  <c:v>25.001998313789425</c:v>
                </c:pt>
                <c:pt idx="53">
                  <c:v>25.000925957400131</c:v>
                </c:pt>
                <c:pt idx="54">
                  <c:v>25.000429060296433</c:v>
                </c:pt>
                <c:pt idx="55">
                  <c:v>25.000198813398921</c:v>
                </c:pt>
                <c:pt idx="56">
                  <c:v>25.000092124039252</c:v>
                </c:pt>
                <c:pt idx="57">
                  <c:v>25.00004268745796</c:v>
                </c:pt>
                <c:pt idx="58">
                  <c:v>25.00001978006047</c:v>
                </c:pt>
                <c:pt idx="59">
                  <c:v>25.000009165474143</c:v>
                </c:pt>
                <c:pt idx="60">
                  <c:v>25.000004246999971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683F-41DD-94AC-D1939D2FAC71}"/>
            </c:ext>
          </c:extLst>
        </c:ser>
        <c:ser>
          <c:idx val="0"/>
          <c:order val="1"/>
          <c:tx>
            <c:v>part coated with ultradurable standard bake</c:v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circle"/>
            <c:size val="5"/>
            <c:spPr>
              <a:noFill/>
              <a:ln w="3175">
                <a:noFill/>
              </a:ln>
              <a:effectLst/>
            </c:spPr>
          </c:marker>
          <c:xVal>
            <c:numRef>
              <c:f>'W885-SpeedCure'!$B$7:$B$68</c:f>
              <c:numCache>
                <c:formatCode>General</c:formatCode>
                <c:ptCount val="62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  <c:pt idx="51">
                  <c:v>51</c:v>
                </c:pt>
                <c:pt idx="52">
                  <c:v>52</c:v>
                </c:pt>
                <c:pt idx="53">
                  <c:v>53</c:v>
                </c:pt>
                <c:pt idx="54">
                  <c:v>54</c:v>
                </c:pt>
                <c:pt idx="55">
                  <c:v>55</c:v>
                </c:pt>
                <c:pt idx="56">
                  <c:v>56</c:v>
                </c:pt>
                <c:pt idx="57">
                  <c:v>57</c:v>
                </c:pt>
                <c:pt idx="58">
                  <c:v>58</c:v>
                </c:pt>
                <c:pt idx="59">
                  <c:v>59</c:v>
                </c:pt>
                <c:pt idx="60">
                  <c:v>60</c:v>
                </c:pt>
                <c:pt idx="61">
                  <c:v>61</c:v>
                </c:pt>
              </c:numCache>
            </c:numRef>
          </c:xVal>
          <c:yVal>
            <c:numRef>
              <c:f>'W885-SpeedCure'!$C$7:$C$68</c:f>
              <c:numCache>
                <c:formatCode>0</c:formatCode>
                <c:ptCount val="62"/>
                <c:pt idx="0">
                  <c:v>30</c:v>
                </c:pt>
                <c:pt idx="1">
                  <c:v>30</c:v>
                </c:pt>
                <c:pt idx="2">
                  <c:v>40.926166678952711</c:v>
                </c:pt>
                <c:pt idx="3">
                  <c:v>51.255427766424134</c:v>
                </c:pt>
                <c:pt idx="4">
                  <c:v>61.02039271233491</c:v>
                </c:pt>
                <c:pt idx="5">
                  <c:v>70.251889485179902</c:v>
                </c:pt>
                <c:pt idx="6">
                  <c:v>78.979061895843301</c:v>
                </c:pt>
                <c:pt idx="7">
                  <c:v>87.229461604532389</c:v>
                </c:pt>
                <c:pt idx="8">
                  <c:v>95.029135101295878</c:v>
                </c:pt>
                <c:pt idx="9">
                  <c:v>102.40270593472411</c:v>
                </c:pt>
                <c:pt idx="10">
                  <c:v>109.37345244842686</c:v>
                </c:pt>
                <c:pt idx="11">
                  <c:v>115.96338127070237</c:v>
                </c:pt>
                <c:pt idx="12">
                  <c:v>122.1932967894048</c:v>
                </c:pt>
                <c:pt idx="13">
                  <c:v>128.08286683134156</c:v>
                </c:pt>
                <c:pt idx="14">
                  <c:v>133.65068475355048</c:v>
                </c:pt>
                <c:pt idx="15">
                  <c:v>138.91432814247878</c:v>
                </c:pt>
                <c:pt idx="16">
                  <c:v>143.89041430637712</c:v>
                </c:pt>
                <c:pt idx="17">
                  <c:v>148.59465273609754</c:v>
                </c:pt>
                <c:pt idx="18">
                  <c:v>153.04189469991468</c:v>
                </c:pt>
                <c:pt idx="19">
                  <c:v>157.24618012894032</c:v>
                </c:pt>
                <c:pt idx="20">
                  <c:v>161.2207819411488</c:v>
                </c:pt>
                <c:pt idx="21">
                  <c:v>164.97824794394401</c:v>
                </c:pt>
                <c:pt idx="22">
                  <c:v>168.53044044755404</c:v>
                </c:pt>
                <c:pt idx="23">
                  <c:v>171.88857371431322</c:v>
                </c:pt>
                <c:pt idx="24">
                  <c:v>175.06324936205866</c:v>
                </c:pt>
                <c:pt idx="25">
                  <c:v>178.06448983340971</c:v>
                </c:pt>
                <c:pt idx="26">
                  <c:v>180.90177003659272</c:v>
                </c:pt>
                <c:pt idx="27">
                  <c:v>183.58404725770143</c:v>
                </c:pt>
                <c:pt idx="28">
                  <c:v>186.11978943882517</c:v>
                </c:pt>
                <c:pt idx="29">
                  <c:v>188.51700191131985</c:v>
                </c:pt>
                <c:pt idx="30">
                  <c:v>190.78325266861782</c:v>
                </c:pt>
                <c:pt idx="31">
                  <c:v>192.9256962583631</c:v>
                </c:pt>
                <c:pt idx="32">
                  <c:v>194.95109636929934</c:v>
                </c:pt>
                <c:pt idx="33">
                  <c:v>196.86584718421727</c:v>
                </c:pt>
                <c:pt idx="34">
                  <c:v>198.67599356637294</c:v>
                </c:pt>
                <c:pt idx="35">
                  <c:v>200.38725014310489</c:v>
                </c:pt>
                <c:pt idx="36">
                  <c:v>202.00501934689774</c:v>
                </c:pt>
                <c:pt idx="37">
                  <c:v>201</c:v>
                </c:pt>
                <c:pt idx="38">
                  <c:v>181.6560241086876</c:v>
                </c:pt>
                <c:pt idx="39">
                  <c:v>162.1011725672721</c:v>
                </c:pt>
                <c:pt idx="40">
                  <c:v>144.98728824037943</c:v>
                </c:pt>
                <c:pt idx="41">
                  <c:v>130.0096732922957</c:v>
                </c:pt>
                <c:pt idx="42">
                  <c:v>116.90166430683396</c:v>
                </c:pt>
                <c:pt idx="43">
                  <c:v>105.42988457698266</c:v>
                </c:pt>
                <c:pt idx="44">
                  <c:v>95.390089035479079</c:v>
                </c:pt>
                <c:pt idx="45">
                  <c:v>86.603527848908811</c:v>
                </c:pt>
                <c:pt idx="46">
                  <c:v>78.913763932284184</c:v>
                </c:pt>
                <c:pt idx="47">
                  <c:v>72.183887722715099</c:v>
                </c:pt>
                <c:pt idx="48">
                  <c:v>66.294079623638353</c:v>
                </c:pt>
                <c:pt idx="49">
                  <c:v>61.139476721043316</c:v>
                </c:pt>
                <c:pt idx="50">
                  <c:v>56.628305790430815</c:v>
                </c:pt>
                <c:pt idx="51">
                  <c:v>52.680249354316615</c:v>
                </c:pt>
                <c:pt idx="52">
                  <c:v>49.225015699353676</c:v>
                </c:pt>
                <c:pt idx="53">
                  <c:v>46.201087393470864</c:v>
                </c:pt>
                <c:pt idx="54">
                  <c:v>43.554626021463491</c:v>
                </c:pt>
                <c:pt idx="55">
                  <c:v>41.238513638804839</c:v>
                </c:pt>
                <c:pt idx="56">
                  <c:v>39.211513877597</c:v>
                </c:pt>
                <c:pt idx="57">
                  <c:v>37.437537768881477</c:v>
                </c:pt>
                <c:pt idx="58">
                  <c:v>35.885001209914016</c:v>
                </c:pt>
                <c:pt idx="59">
                  <c:v>34.526262636666949</c:v>
                </c:pt>
                <c:pt idx="60">
                  <c:v>33.33713088980663</c:v>
                </c:pt>
                <c:pt idx="61">
                  <c:v>32.296434512127554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1-683F-41DD-94AC-D1939D2FAC71}"/>
            </c:ext>
          </c:extLst>
        </c:ser>
        <c:ser>
          <c:idx val="1"/>
          <c:order val="2"/>
          <c:tx>
            <c:v>part coated with UltraX</c:v>
          </c:tx>
          <c:spPr>
            <a:ln w="31750" cap="rnd">
              <a:solidFill>
                <a:schemeClr val="accent4"/>
              </a:solidFill>
              <a:prstDash val="sysDash"/>
              <a:round/>
            </a:ln>
            <a:effectLst/>
          </c:spPr>
          <c:marker>
            <c:symbol val="circle"/>
            <c:size val="5"/>
            <c:spPr>
              <a:noFill/>
              <a:ln w="9525">
                <a:noFill/>
              </a:ln>
              <a:effectLst/>
            </c:spPr>
          </c:marker>
          <c:xVal>
            <c:numRef>
              <c:f>'W885-SpeedCure'!$B$36:$B$67</c:f>
              <c:numCache>
                <c:formatCode>General</c:formatCode>
                <c:ptCount val="32"/>
                <c:pt idx="0">
                  <c:v>29</c:v>
                </c:pt>
                <c:pt idx="1">
                  <c:v>30</c:v>
                </c:pt>
                <c:pt idx="2">
                  <c:v>31</c:v>
                </c:pt>
                <c:pt idx="3">
                  <c:v>32</c:v>
                </c:pt>
                <c:pt idx="4">
                  <c:v>33</c:v>
                </c:pt>
                <c:pt idx="5">
                  <c:v>34</c:v>
                </c:pt>
                <c:pt idx="6">
                  <c:v>35</c:v>
                </c:pt>
                <c:pt idx="7">
                  <c:v>36</c:v>
                </c:pt>
                <c:pt idx="8">
                  <c:v>37</c:v>
                </c:pt>
                <c:pt idx="9">
                  <c:v>38</c:v>
                </c:pt>
                <c:pt idx="10">
                  <c:v>39</c:v>
                </c:pt>
                <c:pt idx="11">
                  <c:v>40</c:v>
                </c:pt>
                <c:pt idx="12">
                  <c:v>41</c:v>
                </c:pt>
                <c:pt idx="13">
                  <c:v>42</c:v>
                </c:pt>
                <c:pt idx="14">
                  <c:v>43</c:v>
                </c:pt>
                <c:pt idx="15">
                  <c:v>44</c:v>
                </c:pt>
                <c:pt idx="16">
                  <c:v>45</c:v>
                </c:pt>
                <c:pt idx="17">
                  <c:v>46</c:v>
                </c:pt>
                <c:pt idx="18">
                  <c:v>47</c:v>
                </c:pt>
                <c:pt idx="19">
                  <c:v>48</c:v>
                </c:pt>
                <c:pt idx="20">
                  <c:v>49</c:v>
                </c:pt>
                <c:pt idx="21">
                  <c:v>50</c:v>
                </c:pt>
                <c:pt idx="22">
                  <c:v>51</c:v>
                </c:pt>
                <c:pt idx="23">
                  <c:v>52</c:v>
                </c:pt>
                <c:pt idx="24">
                  <c:v>53</c:v>
                </c:pt>
                <c:pt idx="25">
                  <c:v>54</c:v>
                </c:pt>
                <c:pt idx="26">
                  <c:v>55</c:v>
                </c:pt>
                <c:pt idx="27">
                  <c:v>56</c:v>
                </c:pt>
                <c:pt idx="28">
                  <c:v>57</c:v>
                </c:pt>
                <c:pt idx="29">
                  <c:v>58</c:v>
                </c:pt>
                <c:pt idx="30">
                  <c:v>59</c:v>
                </c:pt>
                <c:pt idx="31">
                  <c:v>60</c:v>
                </c:pt>
              </c:numCache>
            </c:numRef>
          </c:xVal>
          <c:yVal>
            <c:numRef>
              <c:f>'W885-SpeedCure'!$E$36:$E$67</c:f>
              <c:numCache>
                <c:formatCode>0</c:formatCode>
                <c:ptCount val="32"/>
                <c:pt idx="0">
                  <c:v>189</c:v>
                </c:pt>
                <c:pt idx="1">
                  <c:v>165.61424274231237</c:v>
                </c:pt>
                <c:pt idx="2">
                  <c:v>145.56320281703626</c:v>
                </c:pt>
                <c:pt idx="3">
                  <c:v>128.37136260186205</c:v>
                </c:pt>
                <c:pt idx="4">
                  <c:v>113.63101142379159</c:v>
                </c:pt>
                <c:pt idx="5">
                  <c:v>100.99257655391274</c:v>
                </c:pt>
                <c:pt idx="6">
                  <c:v>90.156332964424649</c:v>
                </c:pt>
                <c:pt idx="7">
                  <c:v>80.865295241820348</c:v>
                </c:pt>
                <c:pt idx="8">
                  <c:v>72.899123085391921</c:v>
                </c:pt>
                <c:pt idx="9">
                  <c:v>66.068895857763408</c:v>
                </c:pt>
                <c:pt idx="10">
                  <c:v>60.212632264038348</c:v>
                </c:pt>
                <c:pt idx="11">
                  <c:v>55.191448907141883</c:v>
                </c:pt>
                <c:pt idx="12">
                  <c:v>50.88626661811567</c:v>
                </c:pt>
                <c:pt idx="13">
                  <c:v>47.194986450804478</c:v>
                </c:pt>
                <c:pt idx="14">
                  <c:v>44.030068368632655</c:v>
                </c:pt>
                <c:pt idx="15">
                  <c:v>41.316455201156785</c:v>
                </c:pt>
                <c:pt idx="16">
                  <c:v>38.989792636277592</c:v>
                </c:pt>
                <c:pt idx="17">
                  <c:v>36.994903034586287</c:v>
                </c:pt>
                <c:pt idx="18">
                  <c:v>35.284476871803754</c:v>
                </c:pt>
                <c:pt idx="19">
                  <c:v>33.817950776399456</c:v>
                </c:pt>
                <c:pt idx="20">
                  <c:v>32.560545554648748</c:v>
                </c:pt>
                <c:pt idx="21">
                  <c:v>31.482441389546889</c:v>
                </c:pt>
                <c:pt idx="22">
                  <c:v>30.558070653125359</c:v>
                </c:pt>
                <c:pt idx="23">
                  <c:v>29.765511560960316</c:v>
                </c:pt>
                <c:pt idx="24">
                  <c:v>29.085968289171767</c:v>
                </c:pt>
                <c:pt idx="25">
                  <c:v>28.503325224701157</c:v>
                </c:pt>
                <c:pt idx="26">
                  <c:v>28.003764777752405</c:v>
                </c:pt>
                <c:pt idx="27">
                  <c:v>27.575439692681002</c:v>
                </c:pt>
                <c:pt idx="28">
                  <c:v>27.208192086066056</c:v>
                </c:pt>
                <c:pt idx="29">
                  <c:v>26.893312548852105</c:v>
                </c:pt>
                <c:pt idx="30">
                  <c:v>26.623333599581443</c:v>
                </c:pt>
                <c:pt idx="31">
                  <c:v>26.391852590385952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2-683F-41DD-94AC-D1939D2FAC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32047216"/>
        <c:axId val="532042624"/>
      </c:scatterChart>
      <c:valAx>
        <c:axId val="532047216"/>
        <c:scaling>
          <c:orientation val="minMax"/>
          <c:max val="6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/>
                  <a:t>Time [min]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32042624"/>
        <c:crosses val="autoZero"/>
        <c:crossBetween val="midCat"/>
      </c:valAx>
      <c:valAx>
        <c:axId val="532042624"/>
        <c:scaling>
          <c:orientation val="minMax"/>
          <c:max val="25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sz="1100"/>
                  <a:t>Temperature [°C]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32047216"/>
        <c:crosses val="autoZero"/>
        <c:crossBetween val="midCat"/>
        <c:majorUnit val="25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6.0486156970406657E-2"/>
          <c:y val="0.83683843838891869"/>
          <c:w val="0.44684101704526563"/>
          <c:h val="0.14745475532835883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>
          <a:solidFill>
            <a:schemeClr val="tx1"/>
          </a:solidFill>
        </a:defRPr>
      </a:pPr>
      <a:endParaRPr lang="en-US"/>
    </a:p>
  </c:txPr>
  <c:externalData r:id="rId3">
    <c:autoUpdate val="0"/>
  </c:externalData>
  <c:userShapes r:id="rId4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85195887298405E-2"/>
          <c:y val="2.9175289607123716E-2"/>
          <c:w val="0.87091406656302406"/>
          <c:h val="0.73566001566558092"/>
        </c:manualLayout>
      </c:layout>
      <c:scatterChart>
        <c:scatterStyle val="smoothMarker"/>
        <c:varyColors val="0"/>
        <c:ser>
          <c:idx val="2"/>
          <c:order val="0"/>
          <c:tx>
            <c:v>oven curve circulating air 230°C</c:v>
          </c:tx>
          <c:spPr>
            <a:ln w="28575" cap="rnd">
              <a:solidFill>
                <a:srgbClr val="D0006F"/>
              </a:solidFill>
              <a:round/>
            </a:ln>
            <a:effectLst/>
          </c:spPr>
          <c:marker>
            <c:symbol val="circle"/>
            <c:size val="5"/>
            <c:spPr>
              <a:noFill/>
              <a:ln w="9525">
                <a:noFill/>
              </a:ln>
              <a:effectLst/>
            </c:spPr>
          </c:marker>
          <c:xVal>
            <c:numRef>
              <c:f>'W885-LowCure'!$B$7:$B$67</c:f>
              <c:numCache>
                <c:formatCode>General</c:formatCode>
                <c:ptCount val="6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  <c:pt idx="51">
                  <c:v>51</c:v>
                </c:pt>
                <c:pt idx="52">
                  <c:v>52</c:v>
                </c:pt>
                <c:pt idx="53">
                  <c:v>53</c:v>
                </c:pt>
                <c:pt idx="54">
                  <c:v>54</c:v>
                </c:pt>
                <c:pt idx="55">
                  <c:v>55</c:v>
                </c:pt>
                <c:pt idx="56">
                  <c:v>56</c:v>
                </c:pt>
                <c:pt idx="57">
                  <c:v>57</c:v>
                </c:pt>
                <c:pt idx="58">
                  <c:v>58</c:v>
                </c:pt>
                <c:pt idx="59">
                  <c:v>59</c:v>
                </c:pt>
                <c:pt idx="60">
                  <c:v>60</c:v>
                </c:pt>
              </c:numCache>
            </c:numRef>
          </c:xVal>
          <c:yVal>
            <c:numRef>
              <c:f>'W885-LowCure'!$F$7:$F$67</c:f>
              <c:numCache>
                <c:formatCode>0</c:formatCode>
                <c:ptCount val="61"/>
                <c:pt idx="0">
                  <c:v>30</c:v>
                </c:pt>
                <c:pt idx="1">
                  <c:v>30</c:v>
                </c:pt>
                <c:pt idx="2">
                  <c:v>137.32612615376493</c:v>
                </c:pt>
                <c:pt idx="3">
                  <c:v>187.05776553166055</c:v>
                </c:pt>
                <c:pt idx="4">
                  <c:v>210.10188390102832</c:v>
                </c:pt>
                <c:pt idx="5">
                  <c:v>220.7798224943308</c:v>
                </c:pt>
                <c:pt idx="6">
                  <c:v>225.72765216499857</c:v>
                </c:pt>
                <c:pt idx="7">
                  <c:v>228.02032487855922</c:v>
                </c:pt>
                <c:pt idx="8">
                  <c:v>229.08267918769533</c:v>
                </c:pt>
                <c:pt idx="9">
                  <c:v>229.57494163381975</c:v>
                </c:pt>
                <c:pt idx="10">
                  <c:v>229.80304097297662</c:v>
                </c:pt>
                <c:pt idx="11">
                  <c:v>229.90873521988379</c:v>
                </c:pt>
                <c:pt idx="12">
                  <c:v>229.95771069640452</c:v>
                </c:pt>
                <c:pt idx="13">
                  <c:v>229.98040443206773</c:v>
                </c:pt>
                <c:pt idx="14">
                  <c:v>229.9909200140475</c:v>
                </c:pt>
                <c:pt idx="15">
                  <c:v>229.99579261263656</c:v>
                </c:pt>
                <c:pt idx="16">
                  <c:v>229.99805042557131</c:v>
                </c:pt>
                <c:pt idx="17">
                  <c:v>229.9990966269267</c:v>
                </c:pt>
                <c:pt idx="18">
                  <c:v>229.99958140458884</c:v>
                </c:pt>
                <c:pt idx="19">
                  <c:v>229.99980603570836</c:v>
                </c:pt>
                <c:pt idx="20">
                  <c:v>229.99991012288854</c:v>
                </c:pt>
                <c:pt idx="21">
                  <c:v>229.99995835369955</c:v>
                </c:pt>
                <c:pt idx="22">
                  <c:v>229.99998070238004</c:v>
                </c:pt>
                <c:pt idx="23">
                  <c:v>229.99999105807402</c:v>
                </c:pt>
                <c:pt idx="24">
                  <c:v>229.9999958565854</c:v>
                </c:pt>
                <c:pt idx="25">
                  <c:v>229.99999808006859</c:v>
                </c:pt>
                <c:pt idx="26">
                  <c:v>229.99999911036258</c:v>
                </c:pt>
                <c:pt idx="27">
                  <c:v>229.99999958776928</c:v>
                </c:pt>
                <c:pt idx="28">
                  <c:v>229.99999980898491</c:v>
                </c:pt>
                <c:pt idx="29">
                  <c:v>229.99999991148945</c:v>
                </c:pt>
                <c:pt idx="30">
                  <c:v>229.99999995898693</c:v>
                </c:pt>
                <c:pt idx="31">
                  <c:v>229.9999999809958</c:v>
                </c:pt>
                <c:pt idx="32">
                  <c:v>229.99999999119404</c:v>
                </c:pt>
                <c:pt idx="33">
                  <c:v>229.99999999591958</c:v>
                </c:pt>
                <c:pt idx="34">
                  <c:v>229.99999999810927</c:v>
                </c:pt>
                <c:pt idx="35">
                  <c:v>229.9999999991239</c:v>
                </c:pt>
                <c:pt idx="36">
                  <c:v>229.99999999959402</c:v>
                </c:pt>
                <c:pt idx="37">
                  <c:v>226</c:v>
                </c:pt>
                <c:pt idx="38">
                  <c:v>119.99072069239094</c:v>
                </c:pt>
                <c:pt idx="39">
                  <c:v>69.015790330047935</c:v>
                </c:pt>
                <c:pt idx="40">
                  <c:v>45.395569001445985</c:v>
                </c:pt>
                <c:pt idx="41">
                  <c:v>34.45068194331094</c:v>
                </c:pt>
                <c:pt idx="42">
                  <c:v>29.379156530876447</c:v>
                </c:pt>
                <c:pt idx="43">
                  <c:v>27.0291669994768</c:v>
                </c:pt>
                <c:pt idx="44">
                  <c:v>25.940253832612282</c:v>
                </c:pt>
                <c:pt idx="45">
                  <c:v>25.435684825334747</c:v>
                </c:pt>
                <c:pt idx="46">
                  <c:v>25.201883002698956</c:v>
                </c:pt>
                <c:pt idx="47">
                  <c:v>25.093546399619111</c:v>
                </c:pt>
                <c:pt idx="48">
                  <c:v>25.043346536185354</c:v>
                </c:pt>
                <c:pt idx="49">
                  <c:v>25.020085457130563</c:v>
                </c:pt>
                <c:pt idx="50">
                  <c:v>25.009306985601309</c:v>
                </c:pt>
                <c:pt idx="51">
                  <c:v>25.004312572047521</c:v>
                </c:pt>
                <c:pt idx="52">
                  <c:v>25.001998313789425</c:v>
                </c:pt>
                <c:pt idx="53">
                  <c:v>25.000925957400131</c:v>
                </c:pt>
                <c:pt idx="54">
                  <c:v>25.000429060296433</c:v>
                </c:pt>
                <c:pt idx="55">
                  <c:v>25.000198813398921</c:v>
                </c:pt>
                <c:pt idx="56">
                  <c:v>25.000092124039252</c:v>
                </c:pt>
                <c:pt idx="57">
                  <c:v>25.00004268745796</c:v>
                </c:pt>
                <c:pt idx="58">
                  <c:v>25.00001978006047</c:v>
                </c:pt>
                <c:pt idx="59">
                  <c:v>25.000009165474143</c:v>
                </c:pt>
                <c:pt idx="60">
                  <c:v>25.000004246999971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5050-4566-AEB9-F4DBC6651D6F}"/>
            </c:ext>
          </c:extLst>
        </c:ser>
        <c:ser>
          <c:idx val="0"/>
          <c:order val="1"/>
          <c:tx>
            <c:v>part coated with ultradurable standard bake (oven 230°C)</c:v>
          </c:tx>
          <c:spPr>
            <a:ln w="19050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noFill/>
              <a:ln w="3175">
                <a:noFill/>
              </a:ln>
              <a:effectLst/>
            </c:spPr>
          </c:marker>
          <c:xVal>
            <c:numRef>
              <c:f>'W885-LowCure'!$B$7:$B$68</c:f>
              <c:numCache>
                <c:formatCode>General</c:formatCode>
                <c:ptCount val="62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  <c:pt idx="51">
                  <c:v>51</c:v>
                </c:pt>
                <c:pt idx="52">
                  <c:v>52</c:v>
                </c:pt>
                <c:pt idx="53">
                  <c:v>53</c:v>
                </c:pt>
                <c:pt idx="54">
                  <c:v>54</c:v>
                </c:pt>
                <c:pt idx="55">
                  <c:v>55</c:v>
                </c:pt>
                <c:pt idx="56">
                  <c:v>56</c:v>
                </c:pt>
                <c:pt idx="57">
                  <c:v>57</c:v>
                </c:pt>
                <c:pt idx="58">
                  <c:v>58</c:v>
                </c:pt>
                <c:pt idx="59">
                  <c:v>59</c:v>
                </c:pt>
                <c:pt idx="60">
                  <c:v>60</c:v>
                </c:pt>
                <c:pt idx="61">
                  <c:v>61</c:v>
                </c:pt>
              </c:numCache>
            </c:numRef>
          </c:xVal>
          <c:yVal>
            <c:numRef>
              <c:f>'W885-LowCure'!$C$7:$C$68</c:f>
              <c:numCache>
                <c:formatCode>0</c:formatCode>
                <c:ptCount val="62"/>
                <c:pt idx="0">
                  <c:v>30</c:v>
                </c:pt>
                <c:pt idx="1">
                  <c:v>30</c:v>
                </c:pt>
                <c:pt idx="2">
                  <c:v>40.926166678952711</c:v>
                </c:pt>
                <c:pt idx="3">
                  <c:v>51.255427766424134</c:v>
                </c:pt>
                <c:pt idx="4">
                  <c:v>61.02039271233491</c:v>
                </c:pt>
                <c:pt idx="5">
                  <c:v>70.251889485179902</c:v>
                </c:pt>
                <c:pt idx="6">
                  <c:v>78.979061895843301</c:v>
                </c:pt>
                <c:pt idx="7">
                  <c:v>87.229461604532389</c:v>
                </c:pt>
                <c:pt idx="8">
                  <c:v>95.029135101295878</c:v>
                </c:pt>
                <c:pt idx="9">
                  <c:v>102.40270593472411</c:v>
                </c:pt>
                <c:pt idx="10">
                  <c:v>109.37345244842686</c:v>
                </c:pt>
                <c:pt idx="11">
                  <c:v>115.96338127070237</c:v>
                </c:pt>
                <c:pt idx="12">
                  <c:v>122.1932967894048</c:v>
                </c:pt>
                <c:pt idx="13">
                  <c:v>128.08286683134156</c:v>
                </c:pt>
                <c:pt idx="14">
                  <c:v>133.65068475355048</c:v>
                </c:pt>
                <c:pt idx="15">
                  <c:v>138.91432814247878</c:v>
                </c:pt>
                <c:pt idx="16">
                  <c:v>143.89041430637712</c:v>
                </c:pt>
                <c:pt idx="17">
                  <c:v>148.59465273609754</c:v>
                </c:pt>
                <c:pt idx="18">
                  <c:v>153.04189469991468</c:v>
                </c:pt>
                <c:pt idx="19">
                  <c:v>157.24618012894032</c:v>
                </c:pt>
                <c:pt idx="20">
                  <c:v>161.2207819411488</c:v>
                </c:pt>
                <c:pt idx="21">
                  <c:v>164.97824794394401</c:v>
                </c:pt>
                <c:pt idx="22">
                  <c:v>168.53044044755404</c:v>
                </c:pt>
                <c:pt idx="23">
                  <c:v>171.88857371431322</c:v>
                </c:pt>
                <c:pt idx="24">
                  <c:v>175.06324936205866</c:v>
                </c:pt>
                <c:pt idx="25">
                  <c:v>178.06448983340971</c:v>
                </c:pt>
                <c:pt idx="26">
                  <c:v>180.90177003659272</c:v>
                </c:pt>
                <c:pt idx="27">
                  <c:v>183.58404725770143</c:v>
                </c:pt>
                <c:pt idx="28">
                  <c:v>186.11978943882517</c:v>
                </c:pt>
                <c:pt idx="29">
                  <c:v>188.51700191131985</c:v>
                </c:pt>
                <c:pt idx="30">
                  <c:v>190.78325266861782</c:v>
                </c:pt>
                <c:pt idx="31">
                  <c:v>192.9256962583631</c:v>
                </c:pt>
                <c:pt idx="32">
                  <c:v>194.95109636929934</c:v>
                </c:pt>
                <c:pt idx="33">
                  <c:v>196.86584718421727</c:v>
                </c:pt>
                <c:pt idx="34">
                  <c:v>198.67599356637294</c:v>
                </c:pt>
                <c:pt idx="35">
                  <c:v>200.38725014310489</c:v>
                </c:pt>
                <c:pt idx="36">
                  <c:v>202.00501934689774</c:v>
                </c:pt>
                <c:pt idx="37">
                  <c:v>201</c:v>
                </c:pt>
                <c:pt idx="38">
                  <c:v>181.6560241086876</c:v>
                </c:pt>
                <c:pt idx="39">
                  <c:v>162.1011725672721</c:v>
                </c:pt>
                <c:pt idx="40">
                  <c:v>144.98728824037943</c:v>
                </c:pt>
                <c:pt idx="41">
                  <c:v>130.0096732922957</c:v>
                </c:pt>
                <c:pt idx="42">
                  <c:v>116.90166430683396</c:v>
                </c:pt>
                <c:pt idx="43">
                  <c:v>105.42988457698266</c:v>
                </c:pt>
                <c:pt idx="44">
                  <c:v>95.390089035479079</c:v>
                </c:pt>
                <c:pt idx="45">
                  <c:v>86.603527848908811</c:v>
                </c:pt>
                <c:pt idx="46">
                  <c:v>78.913763932284184</c:v>
                </c:pt>
                <c:pt idx="47">
                  <c:v>72.183887722715099</c:v>
                </c:pt>
                <c:pt idx="48">
                  <c:v>66.294079623638353</c:v>
                </c:pt>
                <c:pt idx="49">
                  <c:v>61.139476721043316</c:v>
                </c:pt>
                <c:pt idx="50">
                  <c:v>56.628305790430815</c:v>
                </c:pt>
                <c:pt idx="51">
                  <c:v>52.680249354316615</c:v>
                </c:pt>
                <c:pt idx="52">
                  <c:v>49.225015699353676</c:v>
                </c:pt>
                <c:pt idx="53">
                  <c:v>46.201087393470864</c:v>
                </c:pt>
                <c:pt idx="54">
                  <c:v>43.554626021463491</c:v>
                </c:pt>
                <c:pt idx="55">
                  <c:v>41.238513638804839</c:v>
                </c:pt>
                <c:pt idx="56">
                  <c:v>39.211513877597</c:v>
                </c:pt>
                <c:pt idx="57">
                  <c:v>37.437537768881477</c:v>
                </c:pt>
                <c:pt idx="58">
                  <c:v>35.885001209914016</c:v>
                </c:pt>
                <c:pt idx="59">
                  <c:v>34.526262636666949</c:v>
                </c:pt>
                <c:pt idx="60">
                  <c:v>33.33713088980663</c:v>
                </c:pt>
                <c:pt idx="61">
                  <c:v>32.296434512127554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2-5050-4566-AEB9-F4DBC6651D6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32047216"/>
        <c:axId val="532042624"/>
      </c:scatterChart>
      <c:valAx>
        <c:axId val="532047216"/>
        <c:scaling>
          <c:orientation val="minMax"/>
          <c:max val="6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dirty="0"/>
                  <a:t>Time [min]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32042624"/>
        <c:crosses val="autoZero"/>
        <c:crossBetween val="midCat"/>
      </c:valAx>
      <c:valAx>
        <c:axId val="532042624"/>
        <c:scaling>
          <c:orientation val="minMax"/>
          <c:max val="25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dirty="0"/>
                  <a:t>Temperature [°C]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32047216"/>
        <c:crosses val="autoZero"/>
        <c:crossBetween val="midCat"/>
        <c:majorUnit val="25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88437688090035849"/>
          <c:w val="0.99891481189980236"/>
          <c:h val="0.1156231190996413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85195887298405E-2"/>
          <c:y val="2.9175289607123716E-2"/>
          <c:w val="0.87091406656302406"/>
          <c:h val="0.73566001566558092"/>
        </c:manualLayout>
      </c:layout>
      <c:scatterChart>
        <c:scatterStyle val="smoothMarker"/>
        <c:varyColors val="0"/>
        <c:ser>
          <c:idx val="2"/>
          <c:order val="0"/>
          <c:tx>
            <c:v>oven curve circulating air 230°C</c:v>
          </c:tx>
          <c:spPr>
            <a:ln w="28575" cap="rnd">
              <a:solidFill>
                <a:srgbClr val="D0006F"/>
              </a:solidFill>
              <a:round/>
            </a:ln>
            <a:effectLst/>
          </c:spPr>
          <c:marker>
            <c:symbol val="circle"/>
            <c:size val="5"/>
            <c:spPr>
              <a:noFill/>
              <a:ln w="9525">
                <a:noFill/>
              </a:ln>
              <a:effectLst/>
            </c:spPr>
          </c:marker>
          <c:xVal>
            <c:numRef>
              <c:f>'W885-LowCure'!$B$7:$B$67</c:f>
              <c:numCache>
                <c:formatCode>General</c:formatCode>
                <c:ptCount val="6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  <c:pt idx="51">
                  <c:v>51</c:v>
                </c:pt>
                <c:pt idx="52">
                  <c:v>52</c:v>
                </c:pt>
                <c:pt idx="53">
                  <c:v>53</c:v>
                </c:pt>
                <c:pt idx="54">
                  <c:v>54</c:v>
                </c:pt>
                <c:pt idx="55">
                  <c:v>55</c:v>
                </c:pt>
                <c:pt idx="56">
                  <c:v>56</c:v>
                </c:pt>
                <c:pt idx="57">
                  <c:v>57</c:v>
                </c:pt>
                <c:pt idx="58">
                  <c:v>58</c:v>
                </c:pt>
                <c:pt idx="59">
                  <c:v>59</c:v>
                </c:pt>
                <c:pt idx="60">
                  <c:v>60</c:v>
                </c:pt>
              </c:numCache>
            </c:numRef>
          </c:xVal>
          <c:yVal>
            <c:numRef>
              <c:f>'W885-LowCure'!$F$7:$F$67</c:f>
              <c:numCache>
                <c:formatCode>0</c:formatCode>
                <c:ptCount val="61"/>
                <c:pt idx="0">
                  <c:v>30</c:v>
                </c:pt>
                <c:pt idx="1">
                  <c:v>30</c:v>
                </c:pt>
                <c:pt idx="2">
                  <c:v>137.32612615376493</c:v>
                </c:pt>
                <c:pt idx="3">
                  <c:v>187.05776553166055</c:v>
                </c:pt>
                <c:pt idx="4">
                  <c:v>210.10188390102832</c:v>
                </c:pt>
                <c:pt idx="5">
                  <c:v>220.7798224943308</c:v>
                </c:pt>
                <c:pt idx="6">
                  <c:v>225.72765216499857</c:v>
                </c:pt>
                <c:pt idx="7">
                  <c:v>228.02032487855922</c:v>
                </c:pt>
                <c:pt idx="8">
                  <c:v>229.08267918769533</c:v>
                </c:pt>
                <c:pt idx="9">
                  <c:v>229.57494163381975</c:v>
                </c:pt>
                <c:pt idx="10">
                  <c:v>229.80304097297662</c:v>
                </c:pt>
                <c:pt idx="11">
                  <c:v>229.90873521988379</c:v>
                </c:pt>
                <c:pt idx="12">
                  <c:v>229.95771069640452</c:v>
                </c:pt>
                <c:pt idx="13">
                  <c:v>229.98040443206773</c:v>
                </c:pt>
                <c:pt idx="14">
                  <c:v>229.9909200140475</c:v>
                </c:pt>
                <c:pt idx="15">
                  <c:v>229.99579261263656</c:v>
                </c:pt>
                <c:pt idx="16">
                  <c:v>229.99805042557131</c:v>
                </c:pt>
                <c:pt idx="17">
                  <c:v>229.9990966269267</c:v>
                </c:pt>
                <c:pt idx="18">
                  <c:v>229.99958140458884</c:v>
                </c:pt>
                <c:pt idx="19">
                  <c:v>229.99980603570836</c:v>
                </c:pt>
                <c:pt idx="20">
                  <c:v>229.99991012288854</c:v>
                </c:pt>
                <c:pt idx="21">
                  <c:v>229.99995835369955</c:v>
                </c:pt>
                <c:pt idx="22">
                  <c:v>229.99998070238004</c:v>
                </c:pt>
                <c:pt idx="23">
                  <c:v>229.99999105807402</c:v>
                </c:pt>
                <c:pt idx="24">
                  <c:v>229.9999958565854</c:v>
                </c:pt>
                <c:pt idx="25">
                  <c:v>229.99999808006859</c:v>
                </c:pt>
                <c:pt idx="26">
                  <c:v>229.99999911036258</c:v>
                </c:pt>
                <c:pt idx="27">
                  <c:v>229.99999958776928</c:v>
                </c:pt>
                <c:pt idx="28">
                  <c:v>229.99999980898491</c:v>
                </c:pt>
                <c:pt idx="29">
                  <c:v>229.99999991148945</c:v>
                </c:pt>
                <c:pt idx="30">
                  <c:v>229.99999995898693</c:v>
                </c:pt>
                <c:pt idx="31">
                  <c:v>229.9999999809958</c:v>
                </c:pt>
                <c:pt idx="32">
                  <c:v>229.99999999119404</c:v>
                </c:pt>
                <c:pt idx="33">
                  <c:v>229.99999999591958</c:v>
                </c:pt>
                <c:pt idx="34">
                  <c:v>229.99999999810927</c:v>
                </c:pt>
                <c:pt idx="35">
                  <c:v>229.9999999991239</c:v>
                </c:pt>
                <c:pt idx="36">
                  <c:v>229.99999999959402</c:v>
                </c:pt>
                <c:pt idx="37">
                  <c:v>226</c:v>
                </c:pt>
                <c:pt idx="38">
                  <c:v>119.99072069239094</c:v>
                </c:pt>
                <c:pt idx="39">
                  <c:v>69.015790330047935</c:v>
                </c:pt>
                <c:pt idx="40">
                  <c:v>45.395569001445985</c:v>
                </c:pt>
                <c:pt idx="41">
                  <c:v>34.45068194331094</c:v>
                </c:pt>
                <c:pt idx="42">
                  <c:v>29.379156530876447</c:v>
                </c:pt>
                <c:pt idx="43">
                  <c:v>27.0291669994768</c:v>
                </c:pt>
                <c:pt idx="44">
                  <c:v>25.940253832612282</c:v>
                </c:pt>
                <c:pt idx="45">
                  <c:v>25.435684825334747</c:v>
                </c:pt>
                <c:pt idx="46">
                  <c:v>25.201883002698956</c:v>
                </c:pt>
                <c:pt idx="47">
                  <c:v>25.093546399619111</c:v>
                </c:pt>
                <c:pt idx="48">
                  <c:v>25.043346536185354</c:v>
                </c:pt>
                <c:pt idx="49">
                  <c:v>25.020085457130563</c:v>
                </c:pt>
                <c:pt idx="50">
                  <c:v>25.009306985601309</c:v>
                </c:pt>
                <c:pt idx="51">
                  <c:v>25.004312572047521</c:v>
                </c:pt>
                <c:pt idx="52">
                  <c:v>25.001998313789425</c:v>
                </c:pt>
                <c:pt idx="53">
                  <c:v>25.000925957400131</c:v>
                </c:pt>
                <c:pt idx="54">
                  <c:v>25.000429060296433</c:v>
                </c:pt>
                <c:pt idx="55">
                  <c:v>25.000198813398921</c:v>
                </c:pt>
                <c:pt idx="56">
                  <c:v>25.000092124039252</c:v>
                </c:pt>
                <c:pt idx="57">
                  <c:v>25.00004268745796</c:v>
                </c:pt>
                <c:pt idx="58">
                  <c:v>25.00001978006047</c:v>
                </c:pt>
                <c:pt idx="59">
                  <c:v>25.000009165474143</c:v>
                </c:pt>
                <c:pt idx="60">
                  <c:v>25.000004246999971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8BFC-46DC-A9A0-20D9F39BE035}"/>
            </c:ext>
          </c:extLst>
        </c:ser>
        <c:ser>
          <c:idx val="3"/>
          <c:order val="1"/>
          <c:tx>
            <c:v>oven curve circulating air 202°C</c:v>
          </c:tx>
          <c:spPr>
            <a:ln w="28575" cap="rnd">
              <a:solidFill>
                <a:srgbClr val="00B149"/>
              </a:solidFill>
              <a:round/>
            </a:ln>
            <a:effectLst/>
          </c:spPr>
          <c:marker>
            <c:symbol val="circle"/>
            <c:size val="5"/>
            <c:spPr>
              <a:noFill/>
              <a:ln w="9525">
                <a:noFill/>
              </a:ln>
              <a:effectLst/>
            </c:spPr>
          </c:marker>
          <c:xVal>
            <c:numRef>
              <c:f>'W885-LowCure'!$B$7:$B$67</c:f>
              <c:numCache>
                <c:formatCode>General</c:formatCode>
                <c:ptCount val="6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  <c:pt idx="51">
                  <c:v>51</c:v>
                </c:pt>
                <c:pt idx="52">
                  <c:v>52</c:v>
                </c:pt>
                <c:pt idx="53">
                  <c:v>53</c:v>
                </c:pt>
                <c:pt idx="54">
                  <c:v>54</c:v>
                </c:pt>
                <c:pt idx="55">
                  <c:v>55</c:v>
                </c:pt>
                <c:pt idx="56">
                  <c:v>56</c:v>
                </c:pt>
                <c:pt idx="57">
                  <c:v>57</c:v>
                </c:pt>
                <c:pt idx="58">
                  <c:v>58</c:v>
                </c:pt>
                <c:pt idx="59">
                  <c:v>59</c:v>
                </c:pt>
                <c:pt idx="60">
                  <c:v>60</c:v>
                </c:pt>
              </c:numCache>
            </c:numRef>
          </c:xVal>
          <c:yVal>
            <c:numRef>
              <c:f>'W885-LowCure'!$G$7:$G$67</c:f>
              <c:numCache>
                <c:formatCode>0</c:formatCode>
                <c:ptCount val="61"/>
                <c:pt idx="0">
                  <c:v>30</c:v>
                </c:pt>
                <c:pt idx="1">
                  <c:v>30</c:v>
                </c:pt>
                <c:pt idx="2">
                  <c:v>122.30046849223784</c:v>
                </c:pt>
                <c:pt idx="3">
                  <c:v>165.06967835722807</c:v>
                </c:pt>
                <c:pt idx="4">
                  <c:v>184.88762015488436</c:v>
                </c:pt>
                <c:pt idx="5">
                  <c:v>194.07064734512448</c:v>
                </c:pt>
                <c:pt idx="6">
                  <c:v>198.32578086189878</c:v>
                </c:pt>
                <c:pt idx="7">
                  <c:v>200.29747939556094</c:v>
                </c:pt>
                <c:pt idx="8">
                  <c:v>201.21110410141799</c:v>
                </c:pt>
                <c:pt idx="9">
                  <c:v>201.63444980508498</c:v>
                </c:pt>
                <c:pt idx="10">
                  <c:v>201.83061523675991</c:v>
                </c:pt>
                <c:pt idx="11">
                  <c:v>201.92151228910006</c:v>
                </c:pt>
                <c:pt idx="12">
                  <c:v>201.9636311989079</c:v>
                </c:pt>
                <c:pt idx="13">
                  <c:v>201.98314781157825</c:v>
                </c:pt>
                <c:pt idx="14">
                  <c:v>201.99219121208085</c:v>
                </c:pt>
                <c:pt idx="15">
                  <c:v>201.99638164686743</c:v>
                </c:pt>
                <c:pt idx="16">
                  <c:v>201.99832336599133</c:v>
                </c:pt>
                <c:pt idx="17">
                  <c:v>201.99922309915695</c:v>
                </c:pt>
                <c:pt idx="18">
                  <c:v>201.9996400079464</c:v>
                </c:pt>
                <c:pt idx="19">
                  <c:v>201.99983319070921</c:v>
                </c:pt>
                <c:pt idx="20">
                  <c:v>201.99992270568413</c:v>
                </c:pt>
                <c:pt idx="21">
                  <c:v>201.99996418418161</c:v>
                </c:pt>
                <c:pt idx="22">
                  <c:v>201.99998340404682</c:v>
                </c:pt>
                <c:pt idx="23">
                  <c:v>201.99999230994365</c:v>
                </c:pt>
                <c:pt idx="24">
                  <c:v>201.99999643666345</c:v>
                </c:pt>
                <c:pt idx="25">
                  <c:v>201.99999834885898</c:v>
                </c:pt>
                <c:pt idx="26">
                  <c:v>201.99999923491183</c:v>
                </c:pt>
                <c:pt idx="27">
                  <c:v>201.99999964548158</c:v>
                </c:pt>
                <c:pt idx="28">
                  <c:v>201.99999983572701</c:v>
                </c:pt>
                <c:pt idx="29">
                  <c:v>201.99999992388092</c:v>
                </c:pt>
                <c:pt idx="30">
                  <c:v>201.99999996472874</c:v>
                </c:pt>
                <c:pt idx="31">
                  <c:v>201.99999998365638</c:v>
                </c:pt>
                <c:pt idx="32">
                  <c:v>201.99999999242686</c:v>
                </c:pt>
                <c:pt idx="33">
                  <c:v>201.99999999649086</c:v>
                </c:pt>
                <c:pt idx="34">
                  <c:v>201.99999999837397</c:v>
                </c:pt>
                <c:pt idx="35">
                  <c:v>201.99999999924654</c:v>
                </c:pt>
                <c:pt idx="36">
                  <c:v>201.99999999965087</c:v>
                </c:pt>
                <c:pt idx="37">
                  <c:v>198</c:v>
                </c:pt>
                <c:pt idx="38">
                  <c:v>107.01637835391803</c:v>
                </c:pt>
                <c:pt idx="39">
                  <c:v>63.003877504480421</c:v>
                </c:pt>
                <c:pt idx="40">
                  <c:v>42.609832747589948</c:v>
                </c:pt>
                <c:pt idx="41">
                  <c:v>33.15985709251725</c:v>
                </c:pt>
                <c:pt idx="42">
                  <c:v>28.78102783397625</c:v>
                </c:pt>
                <c:pt idx="43">
                  <c:v>26.752012482475092</c:v>
                </c:pt>
                <c:pt idx="44">
                  <c:v>25.811828918889628</c:v>
                </c:pt>
                <c:pt idx="45">
                  <c:v>25.376176654069514</c:v>
                </c:pt>
                <c:pt idx="46">
                  <c:v>25.174308738915684</c:v>
                </c:pt>
                <c:pt idx="47">
                  <c:v>25.080769330402841</c:v>
                </c:pt>
                <c:pt idx="48">
                  <c:v>25.037426033681989</c:v>
                </c:pt>
                <c:pt idx="49">
                  <c:v>25.017342077620047</c:v>
                </c:pt>
                <c:pt idx="50">
                  <c:v>25.008035787567959</c:v>
                </c:pt>
                <c:pt idx="51">
                  <c:v>25.00372353781664</c:v>
                </c:pt>
                <c:pt idx="52">
                  <c:v>25.001725373369407</c:v>
                </c:pt>
                <c:pt idx="53">
                  <c:v>25.000799485169871</c:v>
                </c:pt>
                <c:pt idx="54">
                  <c:v>25.000370456938871</c:v>
                </c:pt>
                <c:pt idx="55">
                  <c:v>25.000171658398092</c:v>
                </c:pt>
                <c:pt idx="56">
                  <c:v>25.000079541243647</c:v>
                </c:pt>
                <c:pt idx="57">
                  <c:v>25.000036856975896</c:v>
                </c:pt>
                <c:pt idx="58">
                  <c:v>25.000017078393672</c:v>
                </c:pt>
                <c:pt idx="59">
                  <c:v>25.000007913604502</c:v>
                </c:pt>
                <c:pt idx="60">
                  <c:v>25.000003666921927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1-8BFC-46DC-A9A0-20D9F39BE035}"/>
            </c:ext>
          </c:extLst>
        </c:ser>
        <c:ser>
          <c:idx val="0"/>
          <c:order val="2"/>
          <c:tx>
            <c:v>part coated with ultradurable standard bake (oven 230°C)</c:v>
          </c:tx>
          <c:spPr>
            <a:ln w="19050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noFill/>
              <a:ln w="3175">
                <a:noFill/>
              </a:ln>
              <a:effectLst/>
            </c:spPr>
          </c:marker>
          <c:xVal>
            <c:numRef>
              <c:f>'W885-LowCure'!$B$7:$B$68</c:f>
              <c:numCache>
                <c:formatCode>General</c:formatCode>
                <c:ptCount val="62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  <c:pt idx="51">
                  <c:v>51</c:v>
                </c:pt>
                <c:pt idx="52">
                  <c:v>52</c:v>
                </c:pt>
                <c:pt idx="53">
                  <c:v>53</c:v>
                </c:pt>
                <c:pt idx="54">
                  <c:v>54</c:v>
                </c:pt>
                <c:pt idx="55">
                  <c:v>55</c:v>
                </c:pt>
                <c:pt idx="56">
                  <c:v>56</c:v>
                </c:pt>
                <c:pt idx="57">
                  <c:v>57</c:v>
                </c:pt>
                <c:pt idx="58">
                  <c:v>58</c:v>
                </c:pt>
                <c:pt idx="59">
                  <c:v>59</c:v>
                </c:pt>
                <c:pt idx="60">
                  <c:v>60</c:v>
                </c:pt>
                <c:pt idx="61">
                  <c:v>61</c:v>
                </c:pt>
              </c:numCache>
            </c:numRef>
          </c:xVal>
          <c:yVal>
            <c:numRef>
              <c:f>'W885-LowCure'!$C$7:$C$68</c:f>
              <c:numCache>
                <c:formatCode>0</c:formatCode>
                <c:ptCount val="62"/>
                <c:pt idx="0">
                  <c:v>30</c:v>
                </c:pt>
                <c:pt idx="1">
                  <c:v>30</c:v>
                </c:pt>
                <c:pt idx="2">
                  <c:v>40.926166678952711</c:v>
                </c:pt>
                <c:pt idx="3">
                  <c:v>51.255427766424134</c:v>
                </c:pt>
                <c:pt idx="4">
                  <c:v>61.02039271233491</c:v>
                </c:pt>
                <c:pt idx="5">
                  <c:v>70.251889485179902</c:v>
                </c:pt>
                <c:pt idx="6">
                  <c:v>78.979061895843301</c:v>
                </c:pt>
                <c:pt idx="7">
                  <c:v>87.229461604532389</c:v>
                </c:pt>
                <c:pt idx="8">
                  <c:v>95.029135101295878</c:v>
                </c:pt>
                <c:pt idx="9">
                  <c:v>102.40270593472411</c:v>
                </c:pt>
                <c:pt idx="10">
                  <c:v>109.37345244842686</c:v>
                </c:pt>
                <c:pt idx="11">
                  <c:v>115.96338127070237</c:v>
                </c:pt>
                <c:pt idx="12">
                  <c:v>122.1932967894048</c:v>
                </c:pt>
                <c:pt idx="13">
                  <c:v>128.08286683134156</c:v>
                </c:pt>
                <c:pt idx="14">
                  <c:v>133.65068475355048</c:v>
                </c:pt>
                <c:pt idx="15">
                  <c:v>138.91432814247878</c:v>
                </c:pt>
                <c:pt idx="16">
                  <c:v>143.89041430637712</c:v>
                </c:pt>
                <c:pt idx="17">
                  <c:v>148.59465273609754</c:v>
                </c:pt>
                <c:pt idx="18">
                  <c:v>153.04189469991468</c:v>
                </c:pt>
                <c:pt idx="19">
                  <c:v>157.24618012894032</c:v>
                </c:pt>
                <c:pt idx="20">
                  <c:v>161.2207819411488</c:v>
                </c:pt>
                <c:pt idx="21">
                  <c:v>164.97824794394401</c:v>
                </c:pt>
                <c:pt idx="22">
                  <c:v>168.53044044755404</c:v>
                </c:pt>
                <c:pt idx="23">
                  <c:v>171.88857371431322</c:v>
                </c:pt>
                <c:pt idx="24">
                  <c:v>175.06324936205866</c:v>
                </c:pt>
                <c:pt idx="25">
                  <c:v>178.06448983340971</c:v>
                </c:pt>
                <c:pt idx="26">
                  <c:v>180.90177003659272</c:v>
                </c:pt>
                <c:pt idx="27">
                  <c:v>183.58404725770143</c:v>
                </c:pt>
                <c:pt idx="28">
                  <c:v>186.11978943882517</c:v>
                </c:pt>
                <c:pt idx="29">
                  <c:v>188.51700191131985</c:v>
                </c:pt>
                <c:pt idx="30">
                  <c:v>190.78325266861782</c:v>
                </c:pt>
                <c:pt idx="31">
                  <c:v>192.9256962583631</c:v>
                </c:pt>
                <c:pt idx="32">
                  <c:v>194.95109636929934</c:v>
                </c:pt>
                <c:pt idx="33">
                  <c:v>196.86584718421727</c:v>
                </c:pt>
                <c:pt idx="34">
                  <c:v>198.67599356637294</c:v>
                </c:pt>
                <c:pt idx="35">
                  <c:v>200.38725014310489</c:v>
                </c:pt>
                <c:pt idx="36">
                  <c:v>202.00501934689774</c:v>
                </c:pt>
                <c:pt idx="37">
                  <c:v>201</c:v>
                </c:pt>
                <c:pt idx="38">
                  <c:v>181.6560241086876</c:v>
                </c:pt>
                <c:pt idx="39">
                  <c:v>162.1011725672721</c:v>
                </c:pt>
                <c:pt idx="40">
                  <c:v>144.98728824037943</c:v>
                </c:pt>
                <c:pt idx="41">
                  <c:v>130.0096732922957</c:v>
                </c:pt>
                <c:pt idx="42">
                  <c:v>116.90166430683396</c:v>
                </c:pt>
                <c:pt idx="43">
                  <c:v>105.42988457698266</c:v>
                </c:pt>
                <c:pt idx="44">
                  <c:v>95.390089035479079</c:v>
                </c:pt>
                <c:pt idx="45">
                  <c:v>86.603527848908811</c:v>
                </c:pt>
                <c:pt idx="46">
                  <c:v>78.913763932284184</c:v>
                </c:pt>
                <c:pt idx="47">
                  <c:v>72.183887722715099</c:v>
                </c:pt>
                <c:pt idx="48">
                  <c:v>66.294079623638353</c:v>
                </c:pt>
                <c:pt idx="49">
                  <c:v>61.139476721043316</c:v>
                </c:pt>
                <c:pt idx="50">
                  <c:v>56.628305790430815</c:v>
                </c:pt>
                <c:pt idx="51">
                  <c:v>52.680249354316615</c:v>
                </c:pt>
                <c:pt idx="52">
                  <c:v>49.225015699353676</c:v>
                </c:pt>
                <c:pt idx="53">
                  <c:v>46.201087393470864</c:v>
                </c:pt>
                <c:pt idx="54">
                  <c:v>43.554626021463491</c:v>
                </c:pt>
                <c:pt idx="55">
                  <c:v>41.238513638804839</c:v>
                </c:pt>
                <c:pt idx="56">
                  <c:v>39.211513877597</c:v>
                </c:pt>
                <c:pt idx="57">
                  <c:v>37.437537768881477</c:v>
                </c:pt>
                <c:pt idx="58">
                  <c:v>35.885001209914016</c:v>
                </c:pt>
                <c:pt idx="59">
                  <c:v>34.526262636666949</c:v>
                </c:pt>
                <c:pt idx="60">
                  <c:v>33.33713088980663</c:v>
                </c:pt>
                <c:pt idx="61">
                  <c:v>32.296434512127554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2-8BFC-46DC-A9A0-20D9F39BE035}"/>
            </c:ext>
          </c:extLst>
        </c:ser>
        <c:ser>
          <c:idx val="1"/>
          <c:order val="3"/>
          <c:tx>
            <c:v>part coated with UltraX (oven 202°C)</c:v>
          </c:tx>
          <c:spPr>
            <a:ln w="19050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noFill/>
              <a:ln w="9525">
                <a:noFill/>
              </a:ln>
              <a:effectLst/>
            </c:spPr>
          </c:marker>
          <c:xVal>
            <c:numRef>
              <c:f>'W885-LowCure'!$B$7:$B$68</c:f>
              <c:numCache>
                <c:formatCode>General</c:formatCode>
                <c:ptCount val="62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  <c:pt idx="51">
                  <c:v>51</c:v>
                </c:pt>
                <c:pt idx="52">
                  <c:v>52</c:v>
                </c:pt>
                <c:pt idx="53">
                  <c:v>53</c:v>
                </c:pt>
                <c:pt idx="54">
                  <c:v>54</c:v>
                </c:pt>
                <c:pt idx="55">
                  <c:v>55</c:v>
                </c:pt>
                <c:pt idx="56">
                  <c:v>56</c:v>
                </c:pt>
                <c:pt idx="57">
                  <c:v>57</c:v>
                </c:pt>
                <c:pt idx="58">
                  <c:v>58</c:v>
                </c:pt>
                <c:pt idx="59">
                  <c:v>59</c:v>
                </c:pt>
                <c:pt idx="60">
                  <c:v>60</c:v>
                </c:pt>
                <c:pt idx="61">
                  <c:v>61</c:v>
                </c:pt>
              </c:numCache>
            </c:numRef>
          </c:xVal>
          <c:yVal>
            <c:numRef>
              <c:f>'W885-LowCure'!$D$7:$D$68</c:f>
              <c:numCache>
                <c:formatCode>0</c:formatCode>
                <c:ptCount val="62"/>
                <c:pt idx="0">
                  <c:v>30</c:v>
                </c:pt>
                <c:pt idx="1">
                  <c:v>30</c:v>
                </c:pt>
                <c:pt idx="2">
                  <c:v>39.396503343899326</c:v>
                </c:pt>
                <c:pt idx="3">
                  <c:v>48.279667879124759</c:v>
                </c:pt>
                <c:pt idx="4">
                  <c:v>56.677537732608016</c:v>
                </c:pt>
                <c:pt idx="5">
                  <c:v>64.616624957254714</c:v>
                </c:pt>
                <c:pt idx="6">
                  <c:v>72.121993230425261</c:v>
                </c:pt>
                <c:pt idx="7">
                  <c:v>79.217336979897865</c:v>
                </c:pt>
                <c:pt idx="8">
                  <c:v>85.92505618711445</c:v>
                </c:pt>
                <c:pt idx="9">
                  <c:v>92.266327103862736</c:v>
                </c:pt>
                <c:pt idx="10">
                  <c:v>98.261169105647099</c:v>
                </c:pt>
                <c:pt idx="11">
                  <c:v>103.92850789280405</c:v>
                </c:pt>
                <c:pt idx="12">
                  <c:v>109.28623523888812</c:v>
                </c:pt>
                <c:pt idx="13">
                  <c:v>114.35126547495373</c:v>
                </c:pt>
                <c:pt idx="14">
                  <c:v>119.1395888880534</c:v>
                </c:pt>
                <c:pt idx="15">
                  <c:v>123.66632220253176</c:v>
                </c:pt>
                <c:pt idx="16">
                  <c:v>127.94575630348434</c:v>
                </c:pt>
                <c:pt idx="17">
                  <c:v>131.9914013530439</c:v>
                </c:pt>
                <c:pt idx="18">
                  <c:v>135.81602944192662</c:v>
                </c:pt>
                <c:pt idx="19">
                  <c:v>139.43171491088867</c:v>
                </c:pt>
                <c:pt idx="20">
                  <c:v>142.84987246938798</c:v>
                </c:pt>
                <c:pt idx="21">
                  <c:v>146.08129323179185</c:v>
                </c:pt>
                <c:pt idx="22">
                  <c:v>149.13617878489649</c:v>
                </c:pt>
                <c:pt idx="23">
                  <c:v>152.02417339430937</c:v>
                </c:pt>
                <c:pt idx="24">
                  <c:v>154.75439445137044</c:v>
                </c:pt>
                <c:pt idx="25">
                  <c:v>157.33546125673234</c:v>
                </c:pt>
                <c:pt idx="26">
                  <c:v>159.77552223146975</c:v>
                </c:pt>
                <c:pt idx="27">
                  <c:v>162.08228064162324</c:v>
                </c:pt>
                <c:pt idx="28">
                  <c:v>164.26301891738964</c:v>
                </c:pt>
                <c:pt idx="29">
                  <c:v>166.32462164373507</c:v>
                </c:pt>
                <c:pt idx="30">
                  <c:v>168.27359729501131</c:v>
                </c:pt>
                <c:pt idx="31">
                  <c:v>170.11609878219227</c:v>
                </c:pt>
                <c:pt idx="32">
                  <c:v>171.85794287759742</c:v>
                </c:pt>
                <c:pt idx="33">
                  <c:v>173.50462857842683</c:v>
                </c:pt>
                <c:pt idx="34">
                  <c:v>175.06135446708072</c:v>
                </c:pt>
                <c:pt idx="35">
                  <c:v>176.53303512307022</c:v>
                </c:pt>
                <c:pt idx="36">
                  <c:v>177.92431663833207</c:v>
                </c:pt>
                <c:pt idx="37">
                  <c:v>177</c:v>
                </c:pt>
                <c:pt idx="38">
                  <c:v>159.77669113261391</c:v>
                </c:pt>
                <c:pt idx="39">
                  <c:v>142.9529641081559</c:v>
                </c:pt>
                <c:pt idx="40">
                  <c:v>128.22928708948845</c:v>
                </c:pt>
                <c:pt idx="41">
                  <c:v>115.3435178045449</c:v>
                </c:pt>
                <c:pt idx="42">
                  <c:v>104.06623633101917</c:v>
                </c:pt>
                <c:pt idx="43">
                  <c:v>94.196660474052123</c:v>
                </c:pt>
                <c:pt idx="44">
                  <c:v>85.559071013764125</c:v>
                </c:pt>
                <c:pt idx="45">
                  <c:v>77.999683177273511</c:v>
                </c:pt>
                <c:pt idx="46">
                  <c:v>71.383908634479127</c:v>
                </c:pt>
                <c:pt idx="47">
                  <c:v>65.593959269821923</c:v>
                </c:pt>
                <c:pt idx="48">
                  <c:v>60.526750067264281</c:v>
                </c:pt>
                <c:pt idx="49">
                  <c:v>56.092063771176925</c:v>
                </c:pt>
                <c:pt idx="50">
                  <c:v>52.210944646515898</c:v>
                </c:pt>
                <c:pt idx="51">
                  <c:v>48.814292740585245</c:v>
                </c:pt>
                <c:pt idx="52">
                  <c:v>45.841633618438351</c:v>
                </c:pt>
                <c:pt idx="53">
                  <c:v>43.24004166812577</c:v>
                </c:pt>
                <c:pt idx="54">
                  <c:v>40.963197806175287</c:v>
                </c:pt>
                <c:pt idx="55">
                  <c:v>38.970564806569527</c:v>
                </c:pt>
                <c:pt idx="56">
                  <c:v>37.22666557067005</c:v>
                </c:pt>
                <c:pt idx="57">
                  <c:v>35.700451488311437</c:v>
                </c:pt>
                <c:pt idx="58">
                  <c:v>34.36474964428357</c:v>
                </c:pt>
                <c:pt idx="59">
                  <c:v>33.195779028193911</c:v>
                </c:pt>
                <c:pt idx="60">
                  <c:v>32.172727134247047</c:v>
                </c:pt>
                <c:pt idx="61">
                  <c:v>31.277379412668395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3-8BFC-46DC-A9A0-20D9F39BE03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32047216"/>
        <c:axId val="532042624"/>
      </c:scatterChart>
      <c:valAx>
        <c:axId val="532047216"/>
        <c:scaling>
          <c:orientation val="minMax"/>
          <c:max val="6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dirty="0"/>
                  <a:t>Time [min]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32042624"/>
        <c:crosses val="autoZero"/>
        <c:crossBetween val="midCat"/>
      </c:valAx>
      <c:valAx>
        <c:axId val="532042624"/>
        <c:scaling>
          <c:orientation val="minMax"/>
          <c:max val="25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dirty="0"/>
                  <a:t>Temperature [°C]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32047216"/>
        <c:crosses val="autoZero"/>
        <c:crossBetween val="midCat"/>
        <c:majorUnit val="25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88437688090035849"/>
          <c:w val="0.99891481189980236"/>
          <c:h val="0.1156231190996413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omments/modernComment_1D7_DF015B7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D0777B87-84A5-41B0-B6F2-5E565426CA6D}" authorId="{E94E5882-CBDA-A240-C437-F112C8C93470}" created="2023-09-06T15:29:00.097">
    <pc:sldMkLst xmlns:pc="http://schemas.microsoft.com/office/powerpoint/2013/main/command">
      <pc:docMk/>
      <pc:sldMk cId="233838007" sldId="471"/>
    </pc:sldMkLst>
    <p188:txBody>
      <a:bodyPr/>
      <a:lstStyle/>
      <a:p>
        <a:r>
          <a:rPr lang="en-US"/>
          <a:t>This needs to be updated accordingly to slide 8 too.</a:t>
        </a:r>
      </a:p>
    </p188:txBody>
  </p188:cm>
</p188:cmLst>
</file>

<file path=ppt/comments/modernComment_1D8_25052CCA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DA691F56-AE2F-4AFD-ABD9-22D7CD60DAFC}" authorId="{E94E5882-CBDA-A240-C437-F112C8C93470}" created="2023-09-04T16:29:07.340">
    <pc:sldMkLst xmlns:pc="http://schemas.microsoft.com/office/powerpoint/2013/main/command">
      <pc:docMk/>
      <pc:sldMk cId="621096138" sldId="472"/>
    </pc:sldMkLst>
    <p188:txBody>
      <a:bodyPr/>
      <a:lstStyle/>
      <a:p>
        <a:r>
          <a:rPr lang="en-US"/>
          <a:t>This needs to be updated accordingly to the previous slide</a:t>
        </a:r>
      </a:p>
    </p188:txBody>
  </p188:cm>
</p188:cmLst>
</file>

<file path=ppt/comments/modernComment_1DA_74406E95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8B16168D-8E12-4AEC-BC38-14208F3BD5E8}" authorId="{E94E5882-CBDA-A240-C437-F112C8C93470}" status="resolved" created="2023-09-04T16:32:39.834" complete="100000">
    <pc:sldMkLst xmlns:pc="http://schemas.microsoft.com/office/powerpoint/2013/main/command">
      <pc:docMk/>
      <pc:sldMk cId="1950379669" sldId="474"/>
    </pc:sldMkLst>
    <p188:txBody>
      <a:bodyPr/>
      <a:lstStyle/>
      <a:p>
        <a:r>
          <a:rPr lang="en-US"/>
          <a:t>Are the P4 - P2 - P0 - P3 still be produced?</a:t>
        </a:r>
      </a:p>
    </p188:txBody>
  </p188:cm>
</p188:cmLst>
</file>

<file path=ppt/comments/modernComment_1EC_7E6CADD2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CD1FB91D-8D76-4B63-9E83-138C133C7915}" authorId="{E94E5882-CBDA-A240-C437-F112C8C93470}" created="2023-09-04T16:27:47.479">
    <pc:sldMkLst xmlns:pc="http://schemas.microsoft.com/office/powerpoint/2013/main/command">
      <pc:docMk/>
      <pc:sldMk cId="2121051602" sldId="492"/>
    </pc:sldMkLst>
    <p188:txBody>
      <a:bodyPr/>
      <a:lstStyle/>
      <a:p>
        <a:r>
          <a:rPr lang="en-US"/>
          <a:t>This slide needs to be updated with Verbania and the 6 new Chinese manufacturing sites - [@Hoock, Birte] has the latest one.</a:t>
        </a:r>
      </a:p>
    </p188:txBody>
  </p188:cm>
</p188:cmLst>
</file>

<file path=ppt/comments/modernComment_20D_7725D55D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8396ADAD-58F3-4083-AAB4-55BFF3A777D7}" authorId="{E94E5882-CBDA-A240-C437-F112C8C93470}" created="2023-09-04T16:28:15.954">
    <pc:sldMkLst xmlns:pc="http://schemas.microsoft.com/office/powerpoint/2013/main/command">
      <pc:docMk/>
      <pc:sldMk cId="1998968157" sldId="525"/>
    </pc:sldMkLst>
    <p188:txBody>
      <a:bodyPr/>
      <a:lstStyle/>
      <a:p>
        <a:r>
          <a:rPr lang="en-US"/>
          <a:t>This needs to be updated too</a:t>
        </a:r>
      </a:p>
    </p188:txBody>
  </p188:cm>
</p188:cmLst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47585</cdr:x>
      <cdr:y>0.22141</cdr:y>
    </cdr:from>
    <cdr:to>
      <cdr:x>0.47585</cdr:x>
      <cdr:y>0.71859</cdr:y>
    </cdr:to>
    <cdr:cxnSp macro="">
      <cdr:nvCxnSpPr>
        <cdr:cNvPr id="10" name="Gerader Verbinder 9">
          <a:extLst xmlns:a="http://schemas.openxmlformats.org/drawingml/2006/main">
            <a:ext uri="{FF2B5EF4-FFF2-40B4-BE49-F238E27FC236}">
              <a16:creationId xmlns:a16="http://schemas.microsoft.com/office/drawing/2014/main" id="{C34A4159-5AF6-487D-B5BE-43042076750F}"/>
            </a:ext>
          </a:extLst>
        </cdr:cNvPr>
        <cdr:cNvCxnSpPr/>
      </cdr:nvCxnSpPr>
      <cdr:spPr>
        <a:xfrm xmlns:a="http://schemas.openxmlformats.org/drawingml/2006/main" flipH="1">
          <a:off x="3422052" y="1074144"/>
          <a:ext cx="0" cy="2412000"/>
        </a:xfrm>
        <a:prstGeom xmlns:a="http://schemas.openxmlformats.org/drawingml/2006/main" prst="line">
          <a:avLst/>
        </a:prstGeom>
        <a:ln xmlns:a="http://schemas.openxmlformats.org/drawingml/2006/main" w="25400">
          <a:solidFill>
            <a:schemeClr val="accent5"/>
          </a:solidFill>
          <a:prstDash val="dash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09836</cdr:x>
      <cdr:y>0.21822</cdr:y>
    </cdr:from>
    <cdr:to>
      <cdr:x>0.47882</cdr:x>
      <cdr:y>0.21822</cdr:y>
    </cdr:to>
    <cdr:cxnSp macro="">
      <cdr:nvCxnSpPr>
        <cdr:cNvPr id="11" name="Gerader Verbinder 10">
          <a:extLst xmlns:a="http://schemas.openxmlformats.org/drawingml/2006/main">
            <a:ext uri="{FF2B5EF4-FFF2-40B4-BE49-F238E27FC236}">
              <a16:creationId xmlns:a16="http://schemas.microsoft.com/office/drawing/2014/main" id="{BFBB826A-C270-405B-A77F-7760F65DF21C}"/>
            </a:ext>
          </a:extLst>
        </cdr:cNvPr>
        <cdr:cNvCxnSpPr/>
      </cdr:nvCxnSpPr>
      <cdr:spPr>
        <a:xfrm xmlns:a="http://schemas.openxmlformats.org/drawingml/2006/main" flipH="1">
          <a:off x="707380" y="1058660"/>
          <a:ext cx="2736000" cy="0"/>
        </a:xfrm>
        <a:prstGeom xmlns:a="http://schemas.openxmlformats.org/drawingml/2006/main" prst="line">
          <a:avLst/>
        </a:prstGeom>
        <a:ln xmlns:a="http://schemas.openxmlformats.org/drawingml/2006/main" w="25400">
          <a:solidFill>
            <a:schemeClr val="accent5"/>
          </a:solidFill>
          <a:prstDash val="dash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20904</cdr:x>
      <cdr:y>0.18984</cdr:y>
    </cdr:from>
    <cdr:to>
      <cdr:x>0.28174</cdr:x>
      <cdr:y>0.24462</cdr:y>
    </cdr:to>
    <cdr:sp macro="" textlink="">
      <cdr:nvSpPr>
        <cdr:cNvPr id="12" name="Textfeld 3">
          <a:extLst xmlns:a="http://schemas.openxmlformats.org/drawingml/2006/main">
            <a:ext uri="{FF2B5EF4-FFF2-40B4-BE49-F238E27FC236}">
              <a16:creationId xmlns:a16="http://schemas.microsoft.com/office/drawing/2014/main" id="{EE6EFC2B-B5C7-4D55-98BC-121C8177DB06}"/>
            </a:ext>
          </a:extLst>
        </cdr:cNvPr>
        <cdr:cNvSpPr txBox="1"/>
      </cdr:nvSpPr>
      <cdr:spPr>
        <a:xfrm xmlns:a="http://schemas.openxmlformats.org/drawingml/2006/main">
          <a:off x="1503301" y="920985"/>
          <a:ext cx="522814" cy="265759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de-DE" sz="1100" b="1" dirty="0">
              <a:solidFill>
                <a:schemeClr val="accent5"/>
              </a:solidFill>
            </a:rPr>
            <a:t>180°C</a:t>
          </a:r>
        </a:p>
      </cdr:txBody>
    </cdr:sp>
  </cdr:relSizeAnchor>
  <cdr:relSizeAnchor xmlns:cdr="http://schemas.openxmlformats.org/drawingml/2006/chartDrawing">
    <cdr:from>
      <cdr:x>0.45445</cdr:x>
      <cdr:y>0.72488</cdr:y>
    </cdr:from>
    <cdr:to>
      <cdr:x>0.49951</cdr:x>
      <cdr:y>0.76986</cdr:y>
    </cdr:to>
    <cdr:sp macro="" textlink="">
      <cdr:nvSpPr>
        <cdr:cNvPr id="13" name="Textfeld 3">
          <a:extLst xmlns:a="http://schemas.openxmlformats.org/drawingml/2006/main">
            <a:ext uri="{FF2B5EF4-FFF2-40B4-BE49-F238E27FC236}">
              <a16:creationId xmlns:a16="http://schemas.microsoft.com/office/drawing/2014/main" id="{E820F3CF-2C08-4F60-BCBD-784E5B1E996F}"/>
            </a:ext>
          </a:extLst>
        </cdr:cNvPr>
        <cdr:cNvSpPr txBox="1"/>
      </cdr:nvSpPr>
      <cdr:spPr>
        <a:xfrm xmlns:a="http://schemas.openxmlformats.org/drawingml/2006/main">
          <a:off x="3268145" y="3516704"/>
          <a:ext cx="324000" cy="218191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  <a:ln xmlns:a="http://schemas.openxmlformats.org/drawingml/2006/main">
          <a:noFill/>
        </a:ln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de-DE" sz="1100" b="1" dirty="0">
              <a:solidFill>
                <a:schemeClr val="accent5"/>
              </a:solidFill>
            </a:rPr>
            <a:t>26</a:t>
          </a:r>
        </a:p>
      </cdr:txBody>
    </cdr:sp>
  </cdr:relSizeAnchor>
  <cdr:relSizeAnchor xmlns:cdr="http://schemas.openxmlformats.org/drawingml/2006/chartDrawing">
    <cdr:from>
      <cdr:x>0.61909</cdr:x>
      <cdr:y>0.16</cdr:y>
    </cdr:from>
    <cdr:to>
      <cdr:x>0.61909</cdr:x>
      <cdr:y>0.71654</cdr:y>
    </cdr:to>
    <cdr:cxnSp macro="">
      <cdr:nvCxnSpPr>
        <cdr:cNvPr id="14" name="Gerader Verbinder 13">
          <a:extLst xmlns:a="http://schemas.openxmlformats.org/drawingml/2006/main">
            <a:ext uri="{FF2B5EF4-FFF2-40B4-BE49-F238E27FC236}">
              <a16:creationId xmlns:a16="http://schemas.microsoft.com/office/drawing/2014/main" id="{EA2D0B62-F449-43FA-817A-611B29DA13DA}"/>
            </a:ext>
          </a:extLst>
        </cdr:cNvPr>
        <cdr:cNvCxnSpPr/>
      </cdr:nvCxnSpPr>
      <cdr:spPr>
        <a:xfrm xmlns:a="http://schemas.openxmlformats.org/drawingml/2006/main">
          <a:off x="4452148" y="776200"/>
          <a:ext cx="0" cy="2700000"/>
        </a:xfrm>
        <a:prstGeom xmlns:a="http://schemas.openxmlformats.org/drawingml/2006/main" prst="line">
          <a:avLst/>
        </a:prstGeom>
        <a:ln xmlns:a="http://schemas.openxmlformats.org/drawingml/2006/main" w="25400">
          <a:solidFill>
            <a:schemeClr val="accent5"/>
          </a:solidFill>
          <a:prstDash val="dash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16515</cdr:x>
      <cdr:y>0.01111</cdr:y>
    </cdr:from>
    <cdr:to>
      <cdr:x>0.62201</cdr:x>
      <cdr:y>0.0949</cdr:y>
    </cdr:to>
    <cdr:sp macro="" textlink="">
      <cdr:nvSpPr>
        <cdr:cNvPr id="21" name="Textfeld 3">
          <a:extLst xmlns:a="http://schemas.openxmlformats.org/drawingml/2006/main">
            <a:ext uri="{FF2B5EF4-FFF2-40B4-BE49-F238E27FC236}">
              <a16:creationId xmlns:a16="http://schemas.microsoft.com/office/drawing/2014/main" id="{B36F0B43-1D95-4B6C-952F-906546DA73F5}"/>
            </a:ext>
          </a:extLst>
        </cdr:cNvPr>
        <cdr:cNvSpPr txBox="1"/>
      </cdr:nvSpPr>
      <cdr:spPr>
        <a:xfrm xmlns:a="http://schemas.openxmlformats.org/drawingml/2006/main">
          <a:off x="1187657" y="53911"/>
          <a:ext cx="3285459" cy="406463"/>
        </a:xfrm>
        <a:prstGeom xmlns:a="http://schemas.openxmlformats.org/drawingml/2006/main" prst="rect">
          <a:avLst/>
        </a:prstGeom>
        <a:ln xmlns:a="http://schemas.openxmlformats.org/drawingml/2006/main">
          <a:noFill/>
        </a:ln>
      </cdr:spPr>
      <cdr:txBody>
        <a:bodyPr xmlns:a="http://schemas.openxmlformats.org/drawingml/2006/main" wrap="none" rtlCol="0" anchor="ctr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de-DE" sz="1000" b="0" dirty="0">
              <a:solidFill>
                <a:schemeClr val="accent1"/>
              </a:solidFill>
            </a:rPr>
            <a:t>oven temperature max. 230°C</a:t>
          </a:r>
        </a:p>
      </cdr:txBody>
    </cdr:sp>
  </cdr:relSizeAnchor>
  <cdr:relSizeAnchor xmlns:cdr="http://schemas.openxmlformats.org/drawingml/2006/chartDrawing">
    <cdr:from>
      <cdr:x>0.58298</cdr:x>
      <cdr:y>0.72488</cdr:y>
    </cdr:from>
    <cdr:to>
      <cdr:x>0.65568</cdr:x>
      <cdr:y>0.76986</cdr:y>
    </cdr:to>
    <cdr:sp macro="" textlink="">
      <cdr:nvSpPr>
        <cdr:cNvPr id="17" name="Textfeld 3">
          <a:extLst xmlns:a="http://schemas.openxmlformats.org/drawingml/2006/main">
            <a:ext uri="{FF2B5EF4-FFF2-40B4-BE49-F238E27FC236}">
              <a16:creationId xmlns:a16="http://schemas.microsoft.com/office/drawing/2014/main" id="{62E3356C-1094-45A5-A7C4-93E5FA6FA48E}"/>
            </a:ext>
          </a:extLst>
        </cdr:cNvPr>
        <cdr:cNvSpPr txBox="1"/>
      </cdr:nvSpPr>
      <cdr:spPr>
        <a:xfrm xmlns:a="http://schemas.openxmlformats.org/drawingml/2006/main">
          <a:off x="4192397" y="3516704"/>
          <a:ext cx="522813" cy="218191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  <a:ln xmlns:a="http://schemas.openxmlformats.org/drawingml/2006/main">
          <a:noFill/>
        </a:ln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de-DE" sz="1100" b="1" dirty="0">
              <a:solidFill>
                <a:schemeClr val="accent5"/>
              </a:solidFill>
            </a:rPr>
            <a:t>36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47585</cdr:x>
      <cdr:y>0.22141</cdr:y>
    </cdr:from>
    <cdr:to>
      <cdr:x>0.47585</cdr:x>
      <cdr:y>0.71859</cdr:y>
    </cdr:to>
    <cdr:cxnSp macro="">
      <cdr:nvCxnSpPr>
        <cdr:cNvPr id="10" name="Gerader Verbinder 9">
          <a:extLst xmlns:a="http://schemas.openxmlformats.org/drawingml/2006/main">
            <a:ext uri="{FF2B5EF4-FFF2-40B4-BE49-F238E27FC236}">
              <a16:creationId xmlns:a16="http://schemas.microsoft.com/office/drawing/2014/main" id="{C34A4159-5AF6-487D-B5BE-43042076750F}"/>
            </a:ext>
          </a:extLst>
        </cdr:cNvPr>
        <cdr:cNvCxnSpPr/>
      </cdr:nvCxnSpPr>
      <cdr:spPr>
        <a:xfrm xmlns:a="http://schemas.openxmlformats.org/drawingml/2006/main" flipH="1">
          <a:off x="3422052" y="1074144"/>
          <a:ext cx="0" cy="2412000"/>
        </a:xfrm>
        <a:prstGeom xmlns:a="http://schemas.openxmlformats.org/drawingml/2006/main" prst="line">
          <a:avLst/>
        </a:prstGeom>
        <a:ln xmlns:a="http://schemas.openxmlformats.org/drawingml/2006/main" w="25400">
          <a:solidFill>
            <a:schemeClr val="accent5"/>
          </a:solidFill>
          <a:prstDash val="dash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09836</cdr:x>
      <cdr:y>0.21822</cdr:y>
    </cdr:from>
    <cdr:to>
      <cdr:x>0.47882</cdr:x>
      <cdr:y>0.21822</cdr:y>
    </cdr:to>
    <cdr:cxnSp macro="">
      <cdr:nvCxnSpPr>
        <cdr:cNvPr id="11" name="Gerader Verbinder 10">
          <a:extLst xmlns:a="http://schemas.openxmlformats.org/drawingml/2006/main">
            <a:ext uri="{FF2B5EF4-FFF2-40B4-BE49-F238E27FC236}">
              <a16:creationId xmlns:a16="http://schemas.microsoft.com/office/drawing/2014/main" id="{BFBB826A-C270-405B-A77F-7760F65DF21C}"/>
            </a:ext>
          </a:extLst>
        </cdr:cNvPr>
        <cdr:cNvCxnSpPr/>
      </cdr:nvCxnSpPr>
      <cdr:spPr>
        <a:xfrm xmlns:a="http://schemas.openxmlformats.org/drawingml/2006/main" flipH="1">
          <a:off x="707380" y="1058660"/>
          <a:ext cx="2736000" cy="0"/>
        </a:xfrm>
        <a:prstGeom xmlns:a="http://schemas.openxmlformats.org/drawingml/2006/main" prst="line">
          <a:avLst/>
        </a:prstGeom>
        <a:ln xmlns:a="http://schemas.openxmlformats.org/drawingml/2006/main" w="25400">
          <a:solidFill>
            <a:schemeClr val="accent5"/>
          </a:solidFill>
          <a:prstDash val="dash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20904</cdr:x>
      <cdr:y>0.18984</cdr:y>
    </cdr:from>
    <cdr:to>
      <cdr:x>0.28174</cdr:x>
      <cdr:y>0.24462</cdr:y>
    </cdr:to>
    <cdr:sp macro="" textlink="">
      <cdr:nvSpPr>
        <cdr:cNvPr id="12" name="Textfeld 3">
          <a:extLst xmlns:a="http://schemas.openxmlformats.org/drawingml/2006/main">
            <a:ext uri="{FF2B5EF4-FFF2-40B4-BE49-F238E27FC236}">
              <a16:creationId xmlns:a16="http://schemas.microsoft.com/office/drawing/2014/main" id="{EE6EFC2B-B5C7-4D55-98BC-121C8177DB06}"/>
            </a:ext>
          </a:extLst>
        </cdr:cNvPr>
        <cdr:cNvSpPr txBox="1"/>
      </cdr:nvSpPr>
      <cdr:spPr>
        <a:xfrm xmlns:a="http://schemas.openxmlformats.org/drawingml/2006/main">
          <a:off x="1503301" y="920985"/>
          <a:ext cx="522814" cy="265759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de-DE" sz="1100" b="1" dirty="0">
              <a:solidFill>
                <a:schemeClr val="accent5"/>
              </a:solidFill>
            </a:rPr>
            <a:t>180°C</a:t>
          </a:r>
        </a:p>
      </cdr:txBody>
    </cdr:sp>
  </cdr:relSizeAnchor>
  <cdr:relSizeAnchor xmlns:cdr="http://schemas.openxmlformats.org/drawingml/2006/chartDrawing">
    <cdr:from>
      <cdr:x>0.45445</cdr:x>
      <cdr:y>0.72488</cdr:y>
    </cdr:from>
    <cdr:to>
      <cdr:x>0.49951</cdr:x>
      <cdr:y>0.76986</cdr:y>
    </cdr:to>
    <cdr:sp macro="" textlink="">
      <cdr:nvSpPr>
        <cdr:cNvPr id="13" name="Textfeld 3">
          <a:extLst xmlns:a="http://schemas.openxmlformats.org/drawingml/2006/main">
            <a:ext uri="{FF2B5EF4-FFF2-40B4-BE49-F238E27FC236}">
              <a16:creationId xmlns:a16="http://schemas.microsoft.com/office/drawing/2014/main" id="{E820F3CF-2C08-4F60-BCBD-784E5B1E996F}"/>
            </a:ext>
          </a:extLst>
        </cdr:cNvPr>
        <cdr:cNvSpPr txBox="1"/>
      </cdr:nvSpPr>
      <cdr:spPr>
        <a:xfrm xmlns:a="http://schemas.openxmlformats.org/drawingml/2006/main">
          <a:off x="3268145" y="3516704"/>
          <a:ext cx="324000" cy="218191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  <a:ln xmlns:a="http://schemas.openxmlformats.org/drawingml/2006/main">
          <a:noFill/>
        </a:ln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de-DE" sz="1100" b="1" dirty="0">
              <a:solidFill>
                <a:schemeClr val="accent5"/>
              </a:solidFill>
            </a:rPr>
            <a:t>26</a:t>
          </a:r>
        </a:p>
      </cdr:txBody>
    </cdr:sp>
  </cdr:relSizeAnchor>
  <cdr:relSizeAnchor xmlns:cdr="http://schemas.openxmlformats.org/drawingml/2006/chartDrawing">
    <cdr:from>
      <cdr:x>0.61909</cdr:x>
      <cdr:y>0.16</cdr:y>
    </cdr:from>
    <cdr:to>
      <cdr:x>0.61909</cdr:x>
      <cdr:y>0.71654</cdr:y>
    </cdr:to>
    <cdr:cxnSp macro="">
      <cdr:nvCxnSpPr>
        <cdr:cNvPr id="14" name="Gerader Verbinder 13">
          <a:extLst xmlns:a="http://schemas.openxmlformats.org/drawingml/2006/main">
            <a:ext uri="{FF2B5EF4-FFF2-40B4-BE49-F238E27FC236}">
              <a16:creationId xmlns:a16="http://schemas.microsoft.com/office/drawing/2014/main" id="{EA2D0B62-F449-43FA-817A-611B29DA13DA}"/>
            </a:ext>
          </a:extLst>
        </cdr:cNvPr>
        <cdr:cNvCxnSpPr/>
      </cdr:nvCxnSpPr>
      <cdr:spPr>
        <a:xfrm xmlns:a="http://schemas.openxmlformats.org/drawingml/2006/main">
          <a:off x="4452148" y="776200"/>
          <a:ext cx="0" cy="2700000"/>
        </a:xfrm>
        <a:prstGeom xmlns:a="http://schemas.openxmlformats.org/drawingml/2006/main" prst="line">
          <a:avLst/>
        </a:prstGeom>
        <a:ln xmlns:a="http://schemas.openxmlformats.org/drawingml/2006/main" w="25400">
          <a:solidFill>
            <a:schemeClr val="accent5"/>
          </a:solidFill>
          <a:prstDash val="dash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16515</cdr:x>
      <cdr:y>0.01111</cdr:y>
    </cdr:from>
    <cdr:to>
      <cdr:x>0.62201</cdr:x>
      <cdr:y>0.0949</cdr:y>
    </cdr:to>
    <cdr:sp macro="" textlink="">
      <cdr:nvSpPr>
        <cdr:cNvPr id="21" name="Textfeld 3">
          <a:extLst xmlns:a="http://schemas.openxmlformats.org/drawingml/2006/main">
            <a:ext uri="{FF2B5EF4-FFF2-40B4-BE49-F238E27FC236}">
              <a16:creationId xmlns:a16="http://schemas.microsoft.com/office/drawing/2014/main" id="{B36F0B43-1D95-4B6C-952F-906546DA73F5}"/>
            </a:ext>
          </a:extLst>
        </cdr:cNvPr>
        <cdr:cNvSpPr txBox="1"/>
      </cdr:nvSpPr>
      <cdr:spPr>
        <a:xfrm xmlns:a="http://schemas.openxmlformats.org/drawingml/2006/main">
          <a:off x="1187657" y="53911"/>
          <a:ext cx="3285459" cy="406463"/>
        </a:xfrm>
        <a:prstGeom xmlns:a="http://schemas.openxmlformats.org/drawingml/2006/main" prst="rect">
          <a:avLst/>
        </a:prstGeom>
        <a:ln xmlns:a="http://schemas.openxmlformats.org/drawingml/2006/main">
          <a:noFill/>
        </a:ln>
      </cdr:spPr>
      <cdr:txBody>
        <a:bodyPr xmlns:a="http://schemas.openxmlformats.org/drawingml/2006/main" wrap="none" rtlCol="0" anchor="ctr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de-DE" sz="1000" b="0" dirty="0">
              <a:solidFill>
                <a:schemeClr val="accent1"/>
              </a:solidFill>
            </a:rPr>
            <a:t>oven temperature max. 230°C</a:t>
          </a:r>
        </a:p>
      </cdr:txBody>
    </cdr:sp>
  </cdr:relSizeAnchor>
  <cdr:relSizeAnchor xmlns:cdr="http://schemas.openxmlformats.org/drawingml/2006/chartDrawing">
    <cdr:from>
      <cdr:x>0.58298</cdr:x>
      <cdr:y>0.72488</cdr:y>
    </cdr:from>
    <cdr:to>
      <cdr:x>0.65568</cdr:x>
      <cdr:y>0.76986</cdr:y>
    </cdr:to>
    <cdr:sp macro="" textlink="">
      <cdr:nvSpPr>
        <cdr:cNvPr id="17" name="Textfeld 3">
          <a:extLst xmlns:a="http://schemas.openxmlformats.org/drawingml/2006/main">
            <a:ext uri="{FF2B5EF4-FFF2-40B4-BE49-F238E27FC236}">
              <a16:creationId xmlns:a16="http://schemas.microsoft.com/office/drawing/2014/main" id="{62E3356C-1094-45A5-A7C4-93E5FA6FA48E}"/>
            </a:ext>
          </a:extLst>
        </cdr:cNvPr>
        <cdr:cNvSpPr txBox="1"/>
      </cdr:nvSpPr>
      <cdr:spPr>
        <a:xfrm xmlns:a="http://schemas.openxmlformats.org/drawingml/2006/main">
          <a:off x="4192397" y="3516704"/>
          <a:ext cx="522813" cy="218191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  <a:ln xmlns:a="http://schemas.openxmlformats.org/drawingml/2006/main">
          <a:noFill/>
        </a:ln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de-DE" sz="1100" b="1" dirty="0">
              <a:solidFill>
                <a:schemeClr val="accent5"/>
              </a:solidFill>
            </a:rPr>
            <a:t>36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B55FB76-A9A8-4F4C-8DD9-DD0F8437F6C0}" type="datetimeFigureOut">
              <a:rPr lang="en-US" smtClean="0"/>
              <a:t>9/6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5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5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C706EC9-53BB-4F0B-B317-3BF84B03DB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572468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59" cy="49633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1"/>
            <a:ext cx="2945659" cy="49633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4B54B25-D155-E648-9691-66475FCFDF05}" type="datetimeFigureOut">
              <a:rPr lang="en-US" smtClean="0"/>
              <a:t>9/6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2075" y="744538"/>
            <a:ext cx="6613525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5"/>
            <a:ext cx="2945659" cy="4963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5"/>
            <a:ext cx="2945659" cy="4963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19D1B37-31ED-C448-AABE-3020199351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839521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C21E7E35-3492-AD40-B749-074F13580497}" type="datetime9">
              <a:rPr lang="en-US" smtClean="0"/>
              <a:pPr/>
              <a:t>9/6/2023 1:58:58 PM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11B7F05-7B39-E647-A9E3-967587119697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35278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19D1B37-31ED-C448-AABE-30201993517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2575665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19D1B37-31ED-C448-AABE-30201993517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3930833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19D1B37-31ED-C448-AABE-30201993517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8778795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19D1B37-31ED-C448-AABE-30201993517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919782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19D1B37-31ED-C448-AABE-30201993517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7690287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19D1B37-31ED-C448-AABE-30201993517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4186296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19D1B37-31ED-C448-AABE-30201993517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0882365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19D1B37-31ED-C448-AABE-30201993517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5631670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19D1B37-31ED-C448-AABE-30201993517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3147941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19D1B37-31ED-C448-AABE-30201993517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746755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19D1B37-31ED-C448-AABE-30201993517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797953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19D1B37-31ED-C448-AABE-30201993517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101087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19D1B37-31ED-C448-AABE-30201993517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7607888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9D1B37-31ED-C448-AABE-30201993517A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679636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BF1F7ED-45B3-462E-837B-7672B88B5F6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152431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19D1B37-31ED-C448-AABE-30201993517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3895324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19D1B37-31ED-C448-AABE-30201993517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2017113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19D1B37-31ED-C448-AABE-30201993517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0192991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19D1B37-31ED-C448-AABE-30201993517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573330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7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Relationship Id="rId4" Type="http://schemas.openxmlformats.org/officeDocument/2006/relationships/image" Target="../media/image3.emf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.xml"/><Relationship Id="rId4" Type="http://schemas.openxmlformats.org/officeDocument/2006/relationships/image" Target="../media/image3.emf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image" Target="../media/image3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.xml"/><Relationship Id="rId4" Type="http://schemas.openxmlformats.org/officeDocument/2006/relationships/image" Target="../media/image3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.xml"/><Relationship Id="rId4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9.emf"/><Relationship Id="rId5" Type="http://schemas.openxmlformats.org/officeDocument/2006/relationships/image" Target="../media/image8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7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2883" y="2947135"/>
            <a:ext cx="8457972" cy="984333"/>
          </a:xfrm>
        </p:spPr>
        <p:txBody>
          <a:bodyPr anchor="b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12883" y="3999203"/>
            <a:ext cx="8457972" cy="640767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12883" y="4779107"/>
            <a:ext cx="3303862" cy="3651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1000">
                <a:solidFill>
                  <a:schemeClr val="tx1"/>
                </a:solidFill>
                <a:latin typeface="+mn-lt"/>
                <a:cs typeface="Arial"/>
              </a:defRPr>
            </a:lvl1pPr>
          </a:lstStyle>
          <a:p>
            <a:endParaRPr lang="en-US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38F46E6-B30F-4BB4-8F82-08AD4C6EA83F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74032" y="5851212"/>
            <a:ext cx="1060725" cy="822309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0737FA42-C06C-4BE0-AE35-B6EF2728CBF5}"/>
              </a:ext>
            </a:extLst>
          </p:cNvPr>
          <p:cNvSpPr/>
          <p:nvPr/>
        </p:nvSpPr>
        <p:spPr>
          <a:xfrm>
            <a:off x="8485838" y="1"/>
            <a:ext cx="3706162" cy="48212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3" name="Rectangle 3">
            <a:extLst>
              <a:ext uri="{FF2B5EF4-FFF2-40B4-BE49-F238E27FC236}">
                <a16:creationId xmlns:a16="http://schemas.microsoft.com/office/drawing/2014/main" id="{9FCFEBA5-E832-4F45-9A7E-E488F4C2670A}"/>
              </a:ext>
            </a:extLst>
          </p:cNvPr>
          <p:cNvSpPr/>
          <p:nvPr/>
        </p:nvSpPr>
        <p:spPr>
          <a:xfrm>
            <a:off x="0" y="316"/>
            <a:ext cx="9077242" cy="482776"/>
          </a:xfrm>
          <a:custGeom>
            <a:avLst/>
            <a:gdLst>
              <a:gd name="connsiteX0" fmla="*/ 0 w 6709251"/>
              <a:gd name="connsiteY0" fmla="*/ 0 h 182880"/>
              <a:gd name="connsiteX1" fmla="*/ 6709251 w 6709251"/>
              <a:gd name="connsiteY1" fmla="*/ 0 h 182880"/>
              <a:gd name="connsiteX2" fmla="*/ 6709251 w 6709251"/>
              <a:gd name="connsiteY2" fmla="*/ 182880 h 182880"/>
              <a:gd name="connsiteX3" fmla="*/ 0 w 6709251"/>
              <a:gd name="connsiteY3" fmla="*/ 182880 h 182880"/>
              <a:gd name="connsiteX4" fmla="*/ 0 w 6709251"/>
              <a:gd name="connsiteY4" fmla="*/ 0 h 182880"/>
              <a:gd name="connsiteX0" fmla="*/ 0 w 7073510"/>
              <a:gd name="connsiteY0" fmla="*/ 0 h 182880"/>
              <a:gd name="connsiteX1" fmla="*/ 7073510 w 7073510"/>
              <a:gd name="connsiteY1" fmla="*/ 0 h 182880"/>
              <a:gd name="connsiteX2" fmla="*/ 6709251 w 7073510"/>
              <a:gd name="connsiteY2" fmla="*/ 182880 h 182880"/>
              <a:gd name="connsiteX3" fmla="*/ 0 w 7073510"/>
              <a:gd name="connsiteY3" fmla="*/ 182880 h 182880"/>
              <a:gd name="connsiteX4" fmla="*/ 0 w 7073510"/>
              <a:gd name="connsiteY4" fmla="*/ 0 h 182880"/>
              <a:gd name="connsiteX0" fmla="*/ 0 w 8678702"/>
              <a:gd name="connsiteY0" fmla="*/ 0 h 182880"/>
              <a:gd name="connsiteX1" fmla="*/ 8678702 w 8678702"/>
              <a:gd name="connsiteY1" fmla="*/ 0 h 182880"/>
              <a:gd name="connsiteX2" fmla="*/ 8314443 w 8678702"/>
              <a:gd name="connsiteY2" fmla="*/ 182880 h 182880"/>
              <a:gd name="connsiteX3" fmla="*/ 1605192 w 8678702"/>
              <a:gd name="connsiteY3" fmla="*/ 182880 h 182880"/>
              <a:gd name="connsiteX4" fmla="*/ 0 w 8678702"/>
              <a:gd name="connsiteY4" fmla="*/ 0 h 182880"/>
              <a:gd name="connsiteX0" fmla="*/ 0 w 8678702"/>
              <a:gd name="connsiteY0" fmla="*/ 0 h 186220"/>
              <a:gd name="connsiteX1" fmla="*/ 8678702 w 8678702"/>
              <a:gd name="connsiteY1" fmla="*/ 0 h 186220"/>
              <a:gd name="connsiteX2" fmla="*/ 8314443 w 8678702"/>
              <a:gd name="connsiteY2" fmla="*/ 182880 h 186220"/>
              <a:gd name="connsiteX3" fmla="*/ 6661 w 8678702"/>
              <a:gd name="connsiteY3" fmla="*/ 186220 h 186220"/>
              <a:gd name="connsiteX4" fmla="*/ 0 w 8678702"/>
              <a:gd name="connsiteY4" fmla="*/ 0 h 186220"/>
              <a:gd name="connsiteX0" fmla="*/ 133211 w 8672041"/>
              <a:gd name="connsiteY0" fmla="*/ 50097 h 186220"/>
              <a:gd name="connsiteX1" fmla="*/ 8672041 w 8672041"/>
              <a:gd name="connsiteY1" fmla="*/ 0 h 186220"/>
              <a:gd name="connsiteX2" fmla="*/ 8307782 w 8672041"/>
              <a:gd name="connsiteY2" fmla="*/ 182880 h 186220"/>
              <a:gd name="connsiteX3" fmla="*/ 0 w 8672041"/>
              <a:gd name="connsiteY3" fmla="*/ 186220 h 186220"/>
              <a:gd name="connsiteX4" fmla="*/ 133211 w 8672041"/>
              <a:gd name="connsiteY4" fmla="*/ 50097 h 186220"/>
              <a:gd name="connsiteX0" fmla="*/ 3330 w 8672041"/>
              <a:gd name="connsiteY0" fmla="*/ 3340 h 186220"/>
              <a:gd name="connsiteX1" fmla="*/ 8672041 w 8672041"/>
              <a:gd name="connsiteY1" fmla="*/ 0 h 186220"/>
              <a:gd name="connsiteX2" fmla="*/ 8307782 w 8672041"/>
              <a:gd name="connsiteY2" fmla="*/ 182880 h 186220"/>
              <a:gd name="connsiteX3" fmla="*/ 0 w 8672041"/>
              <a:gd name="connsiteY3" fmla="*/ 186220 h 186220"/>
              <a:gd name="connsiteX4" fmla="*/ 3330 w 8672041"/>
              <a:gd name="connsiteY4" fmla="*/ 3340 h 186220"/>
              <a:gd name="connsiteX0" fmla="*/ 3330 w 8672041"/>
              <a:gd name="connsiteY0" fmla="*/ 3340 h 186220"/>
              <a:gd name="connsiteX1" fmla="*/ 8672041 w 8672041"/>
              <a:gd name="connsiteY1" fmla="*/ 0 h 186220"/>
              <a:gd name="connsiteX2" fmla="*/ 8307782 w 8672041"/>
              <a:gd name="connsiteY2" fmla="*/ 182880 h 186220"/>
              <a:gd name="connsiteX3" fmla="*/ 0 w 8672041"/>
              <a:gd name="connsiteY3" fmla="*/ 186220 h 186220"/>
              <a:gd name="connsiteX4" fmla="*/ 3330 w 8672041"/>
              <a:gd name="connsiteY4" fmla="*/ 3340 h 186220"/>
              <a:gd name="connsiteX0" fmla="*/ 0 w 8674979"/>
              <a:gd name="connsiteY0" fmla="*/ 3340 h 186220"/>
              <a:gd name="connsiteX1" fmla="*/ 8674979 w 8674979"/>
              <a:gd name="connsiteY1" fmla="*/ 0 h 186220"/>
              <a:gd name="connsiteX2" fmla="*/ 8310720 w 8674979"/>
              <a:gd name="connsiteY2" fmla="*/ 182880 h 186220"/>
              <a:gd name="connsiteX3" fmla="*/ 2938 w 8674979"/>
              <a:gd name="connsiteY3" fmla="*/ 186220 h 186220"/>
              <a:gd name="connsiteX4" fmla="*/ 0 w 8674979"/>
              <a:gd name="connsiteY4" fmla="*/ 3340 h 186220"/>
              <a:gd name="connsiteX0" fmla="*/ 0 w 8674979"/>
              <a:gd name="connsiteY0" fmla="*/ 0 h 189166"/>
              <a:gd name="connsiteX1" fmla="*/ 8674979 w 8674979"/>
              <a:gd name="connsiteY1" fmla="*/ 2946 h 189166"/>
              <a:gd name="connsiteX2" fmla="*/ 8310720 w 8674979"/>
              <a:gd name="connsiteY2" fmla="*/ 185826 h 189166"/>
              <a:gd name="connsiteX3" fmla="*/ 2938 w 8674979"/>
              <a:gd name="connsiteY3" fmla="*/ 189166 h 189166"/>
              <a:gd name="connsiteX4" fmla="*/ 0 w 8674979"/>
              <a:gd name="connsiteY4" fmla="*/ 0 h 189166"/>
              <a:gd name="connsiteX0" fmla="*/ 0 w 8674979"/>
              <a:gd name="connsiteY0" fmla="*/ 444 h 189610"/>
              <a:gd name="connsiteX1" fmla="*/ 8674979 w 8674979"/>
              <a:gd name="connsiteY1" fmla="*/ 0 h 189610"/>
              <a:gd name="connsiteX2" fmla="*/ 8310720 w 8674979"/>
              <a:gd name="connsiteY2" fmla="*/ 186270 h 189610"/>
              <a:gd name="connsiteX3" fmla="*/ 2938 w 8674979"/>
              <a:gd name="connsiteY3" fmla="*/ 189610 h 189610"/>
              <a:gd name="connsiteX4" fmla="*/ 0 w 8674979"/>
              <a:gd name="connsiteY4" fmla="*/ 444 h 189610"/>
              <a:gd name="connsiteX0" fmla="*/ 0 w 8674979"/>
              <a:gd name="connsiteY0" fmla="*/ 444 h 189660"/>
              <a:gd name="connsiteX1" fmla="*/ 8674979 w 8674979"/>
              <a:gd name="connsiteY1" fmla="*/ 0 h 189660"/>
              <a:gd name="connsiteX2" fmla="*/ 8310720 w 8674979"/>
              <a:gd name="connsiteY2" fmla="*/ 189660 h 189660"/>
              <a:gd name="connsiteX3" fmla="*/ 2938 w 8674979"/>
              <a:gd name="connsiteY3" fmla="*/ 189610 h 189660"/>
              <a:gd name="connsiteX4" fmla="*/ 0 w 8674979"/>
              <a:gd name="connsiteY4" fmla="*/ 444 h 189660"/>
              <a:gd name="connsiteX0" fmla="*/ 0 w 10119577"/>
              <a:gd name="connsiteY0" fmla="*/ 0 h 189216"/>
              <a:gd name="connsiteX1" fmla="*/ 10119577 w 10119577"/>
              <a:gd name="connsiteY1" fmla="*/ 686 h 189216"/>
              <a:gd name="connsiteX2" fmla="*/ 8310720 w 10119577"/>
              <a:gd name="connsiteY2" fmla="*/ 189216 h 189216"/>
              <a:gd name="connsiteX3" fmla="*/ 2938 w 10119577"/>
              <a:gd name="connsiteY3" fmla="*/ 189166 h 189216"/>
              <a:gd name="connsiteX4" fmla="*/ 0 w 10119577"/>
              <a:gd name="connsiteY4" fmla="*/ 0 h 189216"/>
              <a:gd name="connsiteX0" fmla="*/ 0 w 10119577"/>
              <a:gd name="connsiteY0" fmla="*/ 173 h 189389"/>
              <a:gd name="connsiteX1" fmla="*/ 10119577 w 10119577"/>
              <a:gd name="connsiteY1" fmla="*/ 0 h 189389"/>
              <a:gd name="connsiteX2" fmla="*/ 8310720 w 10119577"/>
              <a:gd name="connsiteY2" fmla="*/ 189389 h 189389"/>
              <a:gd name="connsiteX3" fmla="*/ 2938 w 10119577"/>
              <a:gd name="connsiteY3" fmla="*/ 189339 h 189389"/>
              <a:gd name="connsiteX4" fmla="*/ 0 w 10119577"/>
              <a:gd name="connsiteY4" fmla="*/ 173 h 189389"/>
              <a:gd name="connsiteX0" fmla="*/ 10004 w 10129581"/>
              <a:gd name="connsiteY0" fmla="*/ 173 h 189389"/>
              <a:gd name="connsiteX1" fmla="*/ 10129581 w 10129581"/>
              <a:gd name="connsiteY1" fmla="*/ 0 h 189389"/>
              <a:gd name="connsiteX2" fmla="*/ 8320724 w 10129581"/>
              <a:gd name="connsiteY2" fmla="*/ 189389 h 189389"/>
              <a:gd name="connsiteX3" fmla="*/ 57 w 10129581"/>
              <a:gd name="connsiteY3" fmla="*/ 189339 h 189389"/>
              <a:gd name="connsiteX4" fmla="*/ 10004 w 10129581"/>
              <a:gd name="connsiteY4" fmla="*/ 173 h 189389"/>
              <a:gd name="connsiteX0" fmla="*/ 9947 w 10129524"/>
              <a:gd name="connsiteY0" fmla="*/ 173 h 189389"/>
              <a:gd name="connsiteX1" fmla="*/ 10129524 w 10129524"/>
              <a:gd name="connsiteY1" fmla="*/ 0 h 189389"/>
              <a:gd name="connsiteX2" fmla="*/ 8320667 w 10129524"/>
              <a:gd name="connsiteY2" fmla="*/ 189389 h 189389"/>
              <a:gd name="connsiteX3" fmla="*/ 0 w 10129524"/>
              <a:gd name="connsiteY3" fmla="*/ 189339 h 189389"/>
              <a:gd name="connsiteX4" fmla="*/ 9947 w 10129524"/>
              <a:gd name="connsiteY4" fmla="*/ 173 h 189389"/>
              <a:gd name="connsiteX0" fmla="*/ 9947 w 10129524"/>
              <a:gd name="connsiteY0" fmla="*/ 173 h 189389"/>
              <a:gd name="connsiteX1" fmla="*/ 10129524 w 10129524"/>
              <a:gd name="connsiteY1" fmla="*/ 0 h 189389"/>
              <a:gd name="connsiteX2" fmla="*/ 8320667 w 10129524"/>
              <a:gd name="connsiteY2" fmla="*/ 189389 h 189389"/>
              <a:gd name="connsiteX3" fmla="*/ 0 w 10129524"/>
              <a:gd name="connsiteY3" fmla="*/ 189339 h 189389"/>
              <a:gd name="connsiteX4" fmla="*/ 9947 w 10129524"/>
              <a:gd name="connsiteY4" fmla="*/ 173 h 189389"/>
              <a:gd name="connsiteX0" fmla="*/ 0 w 10119577"/>
              <a:gd name="connsiteY0" fmla="*/ 173 h 189389"/>
              <a:gd name="connsiteX1" fmla="*/ 10119577 w 10119577"/>
              <a:gd name="connsiteY1" fmla="*/ 0 h 189389"/>
              <a:gd name="connsiteX2" fmla="*/ 8310720 w 10119577"/>
              <a:gd name="connsiteY2" fmla="*/ 189389 h 189389"/>
              <a:gd name="connsiteX3" fmla="*/ 15823 w 10119577"/>
              <a:gd name="connsiteY3" fmla="*/ 189339 h 189389"/>
              <a:gd name="connsiteX4" fmla="*/ 0 w 10119577"/>
              <a:gd name="connsiteY4" fmla="*/ 173 h 189389"/>
              <a:gd name="connsiteX0" fmla="*/ 0 w 10119577"/>
              <a:gd name="connsiteY0" fmla="*/ 173 h 189389"/>
              <a:gd name="connsiteX1" fmla="*/ 10119577 w 10119577"/>
              <a:gd name="connsiteY1" fmla="*/ 0 h 189389"/>
              <a:gd name="connsiteX2" fmla="*/ 8310720 w 10119577"/>
              <a:gd name="connsiteY2" fmla="*/ 189389 h 189389"/>
              <a:gd name="connsiteX3" fmla="*/ 2938 w 10119577"/>
              <a:gd name="connsiteY3" fmla="*/ 189339 h 189389"/>
              <a:gd name="connsiteX4" fmla="*/ 0 w 10119577"/>
              <a:gd name="connsiteY4" fmla="*/ 173 h 189389"/>
              <a:gd name="connsiteX0" fmla="*/ 0 w 21540281"/>
              <a:gd name="connsiteY0" fmla="*/ 9120 h 189389"/>
              <a:gd name="connsiteX1" fmla="*/ 21540281 w 21540281"/>
              <a:gd name="connsiteY1" fmla="*/ 0 h 189389"/>
              <a:gd name="connsiteX2" fmla="*/ 19731424 w 21540281"/>
              <a:gd name="connsiteY2" fmla="*/ 189389 h 189389"/>
              <a:gd name="connsiteX3" fmla="*/ 11423642 w 21540281"/>
              <a:gd name="connsiteY3" fmla="*/ 189339 h 189389"/>
              <a:gd name="connsiteX4" fmla="*/ 0 w 21540281"/>
              <a:gd name="connsiteY4" fmla="*/ 9120 h 189389"/>
              <a:gd name="connsiteX0" fmla="*/ 0 w 21540281"/>
              <a:gd name="connsiteY0" fmla="*/ 9120 h 192321"/>
              <a:gd name="connsiteX1" fmla="*/ 21540281 w 21540281"/>
              <a:gd name="connsiteY1" fmla="*/ 0 h 192321"/>
              <a:gd name="connsiteX2" fmla="*/ 19731424 w 21540281"/>
              <a:gd name="connsiteY2" fmla="*/ 189389 h 192321"/>
              <a:gd name="connsiteX3" fmla="*/ 2942 w 21540281"/>
              <a:gd name="connsiteY3" fmla="*/ 192321 h 192321"/>
              <a:gd name="connsiteX4" fmla="*/ 0 w 21540281"/>
              <a:gd name="connsiteY4" fmla="*/ 9120 h 192321"/>
              <a:gd name="connsiteX0" fmla="*/ 0 w 21540281"/>
              <a:gd name="connsiteY0" fmla="*/ 6138 h 192321"/>
              <a:gd name="connsiteX1" fmla="*/ 21540281 w 21540281"/>
              <a:gd name="connsiteY1" fmla="*/ 0 h 192321"/>
              <a:gd name="connsiteX2" fmla="*/ 19731424 w 21540281"/>
              <a:gd name="connsiteY2" fmla="*/ 189389 h 192321"/>
              <a:gd name="connsiteX3" fmla="*/ 2942 w 21540281"/>
              <a:gd name="connsiteY3" fmla="*/ 192321 h 192321"/>
              <a:gd name="connsiteX4" fmla="*/ 0 w 21540281"/>
              <a:gd name="connsiteY4" fmla="*/ 6138 h 192321"/>
              <a:gd name="connsiteX0" fmla="*/ 2579162 w 24119443"/>
              <a:gd name="connsiteY0" fmla="*/ 6138 h 192321"/>
              <a:gd name="connsiteX1" fmla="*/ 24119443 w 24119443"/>
              <a:gd name="connsiteY1" fmla="*/ 0 h 192321"/>
              <a:gd name="connsiteX2" fmla="*/ 22310586 w 24119443"/>
              <a:gd name="connsiteY2" fmla="*/ 189389 h 192321"/>
              <a:gd name="connsiteX3" fmla="*/ 2582104 w 24119443"/>
              <a:gd name="connsiteY3" fmla="*/ 192321 h 192321"/>
              <a:gd name="connsiteX4" fmla="*/ 2579162 w 24119443"/>
              <a:gd name="connsiteY4" fmla="*/ 6138 h 192321"/>
              <a:gd name="connsiteX0" fmla="*/ 1459081 w 22999362"/>
              <a:gd name="connsiteY0" fmla="*/ 6138 h 192321"/>
              <a:gd name="connsiteX1" fmla="*/ 22999362 w 22999362"/>
              <a:gd name="connsiteY1" fmla="*/ 0 h 192321"/>
              <a:gd name="connsiteX2" fmla="*/ 21190505 w 22999362"/>
              <a:gd name="connsiteY2" fmla="*/ 189389 h 192321"/>
              <a:gd name="connsiteX3" fmla="*/ 1462023 w 22999362"/>
              <a:gd name="connsiteY3" fmla="*/ 192321 h 192321"/>
              <a:gd name="connsiteX4" fmla="*/ 1459081 w 22999362"/>
              <a:gd name="connsiteY4" fmla="*/ 6138 h 192321"/>
              <a:gd name="connsiteX0" fmla="*/ 2579108 w 24119389"/>
              <a:gd name="connsiteY0" fmla="*/ 6138 h 192321"/>
              <a:gd name="connsiteX1" fmla="*/ 24119389 w 24119389"/>
              <a:gd name="connsiteY1" fmla="*/ 0 h 192321"/>
              <a:gd name="connsiteX2" fmla="*/ 22310532 w 24119389"/>
              <a:gd name="connsiteY2" fmla="*/ 189389 h 192321"/>
              <a:gd name="connsiteX3" fmla="*/ 2582050 w 24119389"/>
              <a:gd name="connsiteY3" fmla="*/ 192321 h 192321"/>
              <a:gd name="connsiteX4" fmla="*/ 2579108 w 24119389"/>
              <a:gd name="connsiteY4" fmla="*/ 6138 h 192321"/>
              <a:gd name="connsiteX0" fmla="*/ 1594923 w 23135204"/>
              <a:gd name="connsiteY0" fmla="*/ 6138 h 192321"/>
              <a:gd name="connsiteX1" fmla="*/ 23135204 w 23135204"/>
              <a:gd name="connsiteY1" fmla="*/ 0 h 192321"/>
              <a:gd name="connsiteX2" fmla="*/ 21326347 w 23135204"/>
              <a:gd name="connsiteY2" fmla="*/ 189389 h 192321"/>
              <a:gd name="connsiteX3" fmla="*/ 1597865 w 23135204"/>
              <a:gd name="connsiteY3" fmla="*/ 192321 h 192321"/>
              <a:gd name="connsiteX4" fmla="*/ 1594923 w 23135204"/>
              <a:gd name="connsiteY4" fmla="*/ 6138 h 192321"/>
              <a:gd name="connsiteX0" fmla="*/ 1 w 21540282"/>
              <a:gd name="connsiteY0" fmla="*/ 6138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3 w 21540282"/>
              <a:gd name="connsiteY3" fmla="*/ 192321 h 192321"/>
              <a:gd name="connsiteX4" fmla="*/ 1 w 21540282"/>
              <a:gd name="connsiteY4" fmla="*/ 6138 h 192321"/>
              <a:gd name="connsiteX0" fmla="*/ 0 w 21540282"/>
              <a:gd name="connsiteY0" fmla="*/ 3156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3 w 21540282"/>
              <a:gd name="connsiteY3" fmla="*/ 192321 h 192321"/>
              <a:gd name="connsiteX4" fmla="*/ 0 w 21540282"/>
              <a:gd name="connsiteY4" fmla="*/ 3156 h 192321"/>
              <a:gd name="connsiteX0" fmla="*/ 0 w 21540282"/>
              <a:gd name="connsiteY0" fmla="*/ 347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3 w 21540282"/>
              <a:gd name="connsiteY3" fmla="*/ 192321 h 192321"/>
              <a:gd name="connsiteX4" fmla="*/ 0 w 21540282"/>
              <a:gd name="connsiteY4" fmla="*/ 347 h 192321"/>
              <a:gd name="connsiteX0" fmla="*/ 0 w 21540282"/>
              <a:gd name="connsiteY0" fmla="*/ 347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2 w 21540282"/>
              <a:gd name="connsiteY3" fmla="*/ 192321 h 192321"/>
              <a:gd name="connsiteX4" fmla="*/ 0 w 21540282"/>
              <a:gd name="connsiteY4" fmla="*/ 347 h 192321"/>
              <a:gd name="connsiteX0" fmla="*/ 0 w 21540282"/>
              <a:gd name="connsiteY0" fmla="*/ 347 h 189512"/>
              <a:gd name="connsiteX1" fmla="*/ 21540282 w 21540282"/>
              <a:gd name="connsiteY1" fmla="*/ 0 h 189512"/>
              <a:gd name="connsiteX2" fmla="*/ 19731425 w 21540282"/>
              <a:gd name="connsiteY2" fmla="*/ 189389 h 189512"/>
              <a:gd name="connsiteX3" fmla="*/ 2942 w 21540282"/>
              <a:gd name="connsiteY3" fmla="*/ 189512 h 189512"/>
              <a:gd name="connsiteX4" fmla="*/ 0 w 21540282"/>
              <a:gd name="connsiteY4" fmla="*/ 347 h 189512"/>
              <a:gd name="connsiteX0" fmla="*/ 0 w 20903501"/>
              <a:gd name="connsiteY0" fmla="*/ 347 h 189512"/>
              <a:gd name="connsiteX1" fmla="*/ 20903501 w 20903501"/>
              <a:gd name="connsiteY1" fmla="*/ 0 h 189512"/>
              <a:gd name="connsiteX2" fmla="*/ 19731425 w 20903501"/>
              <a:gd name="connsiteY2" fmla="*/ 189389 h 189512"/>
              <a:gd name="connsiteX3" fmla="*/ 2942 w 20903501"/>
              <a:gd name="connsiteY3" fmla="*/ 189512 h 189512"/>
              <a:gd name="connsiteX4" fmla="*/ 0 w 20903501"/>
              <a:gd name="connsiteY4" fmla="*/ 347 h 189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903501" h="189512">
                <a:moveTo>
                  <a:pt x="0" y="347"/>
                </a:moveTo>
                <a:lnTo>
                  <a:pt x="20903501" y="0"/>
                </a:lnTo>
                <a:lnTo>
                  <a:pt x="19731425" y="189389"/>
                </a:lnTo>
                <a:lnTo>
                  <a:pt x="2942" y="189512"/>
                </a:lnTo>
                <a:cubicBezTo>
                  <a:pt x="1961" y="125521"/>
                  <a:pt x="981" y="64338"/>
                  <a:pt x="0" y="34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3958250669"/>
      </p:ext>
    </p:extLst>
  </p:cSld>
  <p:clrMapOvr>
    <a:masterClrMapping/>
  </p:clrMapOvr>
  <p:hf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9C4343-C115-504A-8D4F-0B17318D4A48}" type="slidenum">
              <a:rPr lang="en-US" smtClean="0"/>
              <a:t>‹#›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12883" y="323849"/>
            <a:ext cx="11670783" cy="8595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9433364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2883" y="2817077"/>
            <a:ext cx="8457972" cy="984333"/>
          </a:xfrm>
        </p:spPr>
        <p:txBody>
          <a:bodyPr anchor="b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12883" y="3869145"/>
            <a:ext cx="8457972" cy="640767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A85F325-7987-4A1E-820A-9A64A1B13356}"/>
              </a:ext>
            </a:extLst>
          </p:cNvPr>
          <p:cNvSpPr/>
          <p:nvPr/>
        </p:nvSpPr>
        <p:spPr>
          <a:xfrm>
            <a:off x="8485838" y="2209311"/>
            <a:ext cx="3706162" cy="48212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/>
          </a:p>
        </p:txBody>
      </p:sp>
      <p:sp>
        <p:nvSpPr>
          <p:cNvPr id="13" name="Rectangle 3">
            <a:extLst>
              <a:ext uri="{FF2B5EF4-FFF2-40B4-BE49-F238E27FC236}">
                <a16:creationId xmlns:a16="http://schemas.microsoft.com/office/drawing/2014/main" id="{352936BF-BEFE-420D-886B-904153FF49AA}"/>
              </a:ext>
            </a:extLst>
          </p:cNvPr>
          <p:cNvSpPr/>
          <p:nvPr/>
        </p:nvSpPr>
        <p:spPr>
          <a:xfrm>
            <a:off x="0" y="2209626"/>
            <a:ext cx="9077242" cy="482776"/>
          </a:xfrm>
          <a:custGeom>
            <a:avLst/>
            <a:gdLst>
              <a:gd name="connsiteX0" fmla="*/ 0 w 6709251"/>
              <a:gd name="connsiteY0" fmla="*/ 0 h 182880"/>
              <a:gd name="connsiteX1" fmla="*/ 6709251 w 6709251"/>
              <a:gd name="connsiteY1" fmla="*/ 0 h 182880"/>
              <a:gd name="connsiteX2" fmla="*/ 6709251 w 6709251"/>
              <a:gd name="connsiteY2" fmla="*/ 182880 h 182880"/>
              <a:gd name="connsiteX3" fmla="*/ 0 w 6709251"/>
              <a:gd name="connsiteY3" fmla="*/ 182880 h 182880"/>
              <a:gd name="connsiteX4" fmla="*/ 0 w 6709251"/>
              <a:gd name="connsiteY4" fmla="*/ 0 h 182880"/>
              <a:gd name="connsiteX0" fmla="*/ 0 w 7073510"/>
              <a:gd name="connsiteY0" fmla="*/ 0 h 182880"/>
              <a:gd name="connsiteX1" fmla="*/ 7073510 w 7073510"/>
              <a:gd name="connsiteY1" fmla="*/ 0 h 182880"/>
              <a:gd name="connsiteX2" fmla="*/ 6709251 w 7073510"/>
              <a:gd name="connsiteY2" fmla="*/ 182880 h 182880"/>
              <a:gd name="connsiteX3" fmla="*/ 0 w 7073510"/>
              <a:gd name="connsiteY3" fmla="*/ 182880 h 182880"/>
              <a:gd name="connsiteX4" fmla="*/ 0 w 7073510"/>
              <a:gd name="connsiteY4" fmla="*/ 0 h 182880"/>
              <a:gd name="connsiteX0" fmla="*/ 0 w 8678702"/>
              <a:gd name="connsiteY0" fmla="*/ 0 h 182880"/>
              <a:gd name="connsiteX1" fmla="*/ 8678702 w 8678702"/>
              <a:gd name="connsiteY1" fmla="*/ 0 h 182880"/>
              <a:gd name="connsiteX2" fmla="*/ 8314443 w 8678702"/>
              <a:gd name="connsiteY2" fmla="*/ 182880 h 182880"/>
              <a:gd name="connsiteX3" fmla="*/ 1605192 w 8678702"/>
              <a:gd name="connsiteY3" fmla="*/ 182880 h 182880"/>
              <a:gd name="connsiteX4" fmla="*/ 0 w 8678702"/>
              <a:gd name="connsiteY4" fmla="*/ 0 h 182880"/>
              <a:gd name="connsiteX0" fmla="*/ 0 w 8678702"/>
              <a:gd name="connsiteY0" fmla="*/ 0 h 186220"/>
              <a:gd name="connsiteX1" fmla="*/ 8678702 w 8678702"/>
              <a:gd name="connsiteY1" fmla="*/ 0 h 186220"/>
              <a:gd name="connsiteX2" fmla="*/ 8314443 w 8678702"/>
              <a:gd name="connsiteY2" fmla="*/ 182880 h 186220"/>
              <a:gd name="connsiteX3" fmla="*/ 6661 w 8678702"/>
              <a:gd name="connsiteY3" fmla="*/ 186220 h 186220"/>
              <a:gd name="connsiteX4" fmla="*/ 0 w 8678702"/>
              <a:gd name="connsiteY4" fmla="*/ 0 h 186220"/>
              <a:gd name="connsiteX0" fmla="*/ 133211 w 8672041"/>
              <a:gd name="connsiteY0" fmla="*/ 50097 h 186220"/>
              <a:gd name="connsiteX1" fmla="*/ 8672041 w 8672041"/>
              <a:gd name="connsiteY1" fmla="*/ 0 h 186220"/>
              <a:gd name="connsiteX2" fmla="*/ 8307782 w 8672041"/>
              <a:gd name="connsiteY2" fmla="*/ 182880 h 186220"/>
              <a:gd name="connsiteX3" fmla="*/ 0 w 8672041"/>
              <a:gd name="connsiteY3" fmla="*/ 186220 h 186220"/>
              <a:gd name="connsiteX4" fmla="*/ 133211 w 8672041"/>
              <a:gd name="connsiteY4" fmla="*/ 50097 h 186220"/>
              <a:gd name="connsiteX0" fmla="*/ 3330 w 8672041"/>
              <a:gd name="connsiteY0" fmla="*/ 3340 h 186220"/>
              <a:gd name="connsiteX1" fmla="*/ 8672041 w 8672041"/>
              <a:gd name="connsiteY1" fmla="*/ 0 h 186220"/>
              <a:gd name="connsiteX2" fmla="*/ 8307782 w 8672041"/>
              <a:gd name="connsiteY2" fmla="*/ 182880 h 186220"/>
              <a:gd name="connsiteX3" fmla="*/ 0 w 8672041"/>
              <a:gd name="connsiteY3" fmla="*/ 186220 h 186220"/>
              <a:gd name="connsiteX4" fmla="*/ 3330 w 8672041"/>
              <a:gd name="connsiteY4" fmla="*/ 3340 h 186220"/>
              <a:gd name="connsiteX0" fmla="*/ 3330 w 8672041"/>
              <a:gd name="connsiteY0" fmla="*/ 3340 h 186220"/>
              <a:gd name="connsiteX1" fmla="*/ 8672041 w 8672041"/>
              <a:gd name="connsiteY1" fmla="*/ 0 h 186220"/>
              <a:gd name="connsiteX2" fmla="*/ 8307782 w 8672041"/>
              <a:gd name="connsiteY2" fmla="*/ 182880 h 186220"/>
              <a:gd name="connsiteX3" fmla="*/ 0 w 8672041"/>
              <a:gd name="connsiteY3" fmla="*/ 186220 h 186220"/>
              <a:gd name="connsiteX4" fmla="*/ 3330 w 8672041"/>
              <a:gd name="connsiteY4" fmla="*/ 3340 h 186220"/>
              <a:gd name="connsiteX0" fmla="*/ 0 w 8674979"/>
              <a:gd name="connsiteY0" fmla="*/ 3340 h 186220"/>
              <a:gd name="connsiteX1" fmla="*/ 8674979 w 8674979"/>
              <a:gd name="connsiteY1" fmla="*/ 0 h 186220"/>
              <a:gd name="connsiteX2" fmla="*/ 8310720 w 8674979"/>
              <a:gd name="connsiteY2" fmla="*/ 182880 h 186220"/>
              <a:gd name="connsiteX3" fmla="*/ 2938 w 8674979"/>
              <a:gd name="connsiteY3" fmla="*/ 186220 h 186220"/>
              <a:gd name="connsiteX4" fmla="*/ 0 w 8674979"/>
              <a:gd name="connsiteY4" fmla="*/ 3340 h 186220"/>
              <a:gd name="connsiteX0" fmla="*/ 0 w 8674979"/>
              <a:gd name="connsiteY0" fmla="*/ 0 h 189166"/>
              <a:gd name="connsiteX1" fmla="*/ 8674979 w 8674979"/>
              <a:gd name="connsiteY1" fmla="*/ 2946 h 189166"/>
              <a:gd name="connsiteX2" fmla="*/ 8310720 w 8674979"/>
              <a:gd name="connsiteY2" fmla="*/ 185826 h 189166"/>
              <a:gd name="connsiteX3" fmla="*/ 2938 w 8674979"/>
              <a:gd name="connsiteY3" fmla="*/ 189166 h 189166"/>
              <a:gd name="connsiteX4" fmla="*/ 0 w 8674979"/>
              <a:gd name="connsiteY4" fmla="*/ 0 h 189166"/>
              <a:gd name="connsiteX0" fmla="*/ 0 w 8674979"/>
              <a:gd name="connsiteY0" fmla="*/ 444 h 189610"/>
              <a:gd name="connsiteX1" fmla="*/ 8674979 w 8674979"/>
              <a:gd name="connsiteY1" fmla="*/ 0 h 189610"/>
              <a:gd name="connsiteX2" fmla="*/ 8310720 w 8674979"/>
              <a:gd name="connsiteY2" fmla="*/ 186270 h 189610"/>
              <a:gd name="connsiteX3" fmla="*/ 2938 w 8674979"/>
              <a:gd name="connsiteY3" fmla="*/ 189610 h 189610"/>
              <a:gd name="connsiteX4" fmla="*/ 0 w 8674979"/>
              <a:gd name="connsiteY4" fmla="*/ 444 h 189610"/>
              <a:gd name="connsiteX0" fmla="*/ 0 w 8674979"/>
              <a:gd name="connsiteY0" fmla="*/ 444 h 189660"/>
              <a:gd name="connsiteX1" fmla="*/ 8674979 w 8674979"/>
              <a:gd name="connsiteY1" fmla="*/ 0 h 189660"/>
              <a:gd name="connsiteX2" fmla="*/ 8310720 w 8674979"/>
              <a:gd name="connsiteY2" fmla="*/ 189660 h 189660"/>
              <a:gd name="connsiteX3" fmla="*/ 2938 w 8674979"/>
              <a:gd name="connsiteY3" fmla="*/ 189610 h 189660"/>
              <a:gd name="connsiteX4" fmla="*/ 0 w 8674979"/>
              <a:gd name="connsiteY4" fmla="*/ 444 h 189660"/>
              <a:gd name="connsiteX0" fmla="*/ 0 w 10119577"/>
              <a:gd name="connsiteY0" fmla="*/ 0 h 189216"/>
              <a:gd name="connsiteX1" fmla="*/ 10119577 w 10119577"/>
              <a:gd name="connsiteY1" fmla="*/ 686 h 189216"/>
              <a:gd name="connsiteX2" fmla="*/ 8310720 w 10119577"/>
              <a:gd name="connsiteY2" fmla="*/ 189216 h 189216"/>
              <a:gd name="connsiteX3" fmla="*/ 2938 w 10119577"/>
              <a:gd name="connsiteY3" fmla="*/ 189166 h 189216"/>
              <a:gd name="connsiteX4" fmla="*/ 0 w 10119577"/>
              <a:gd name="connsiteY4" fmla="*/ 0 h 189216"/>
              <a:gd name="connsiteX0" fmla="*/ 0 w 10119577"/>
              <a:gd name="connsiteY0" fmla="*/ 173 h 189389"/>
              <a:gd name="connsiteX1" fmla="*/ 10119577 w 10119577"/>
              <a:gd name="connsiteY1" fmla="*/ 0 h 189389"/>
              <a:gd name="connsiteX2" fmla="*/ 8310720 w 10119577"/>
              <a:gd name="connsiteY2" fmla="*/ 189389 h 189389"/>
              <a:gd name="connsiteX3" fmla="*/ 2938 w 10119577"/>
              <a:gd name="connsiteY3" fmla="*/ 189339 h 189389"/>
              <a:gd name="connsiteX4" fmla="*/ 0 w 10119577"/>
              <a:gd name="connsiteY4" fmla="*/ 173 h 189389"/>
              <a:gd name="connsiteX0" fmla="*/ 10004 w 10129581"/>
              <a:gd name="connsiteY0" fmla="*/ 173 h 189389"/>
              <a:gd name="connsiteX1" fmla="*/ 10129581 w 10129581"/>
              <a:gd name="connsiteY1" fmla="*/ 0 h 189389"/>
              <a:gd name="connsiteX2" fmla="*/ 8320724 w 10129581"/>
              <a:gd name="connsiteY2" fmla="*/ 189389 h 189389"/>
              <a:gd name="connsiteX3" fmla="*/ 57 w 10129581"/>
              <a:gd name="connsiteY3" fmla="*/ 189339 h 189389"/>
              <a:gd name="connsiteX4" fmla="*/ 10004 w 10129581"/>
              <a:gd name="connsiteY4" fmla="*/ 173 h 189389"/>
              <a:gd name="connsiteX0" fmla="*/ 9947 w 10129524"/>
              <a:gd name="connsiteY0" fmla="*/ 173 h 189389"/>
              <a:gd name="connsiteX1" fmla="*/ 10129524 w 10129524"/>
              <a:gd name="connsiteY1" fmla="*/ 0 h 189389"/>
              <a:gd name="connsiteX2" fmla="*/ 8320667 w 10129524"/>
              <a:gd name="connsiteY2" fmla="*/ 189389 h 189389"/>
              <a:gd name="connsiteX3" fmla="*/ 0 w 10129524"/>
              <a:gd name="connsiteY3" fmla="*/ 189339 h 189389"/>
              <a:gd name="connsiteX4" fmla="*/ 9947 w 10129524"/>
              <a:gd name="connsiteY4" fmla="*/ 173 h 189389"/>
              <a:gd name="connsiteX0" fmla="*/ 9947 w 10129524"/>
              <a:gd name="connsiteY0" fmla="*/ 173 h 189389"/>
              <a:gd name="connsiteX1" fmla="*/ 10129524 w 10129524"/>
              <a:gd name="connsiteY1" fmla="*/ 0 h 189389"/>
              <a:gd name="connsiteX2" fmla="*/ 8320667 w 10129524"/>
              <a:gd name="connsiteY2" fmla="*/ 189389 h 189389"/>
              <a:gd name="connsiteX3" fmla="*/ 0 w 10129524"/>
              <a:gd name="connsiteY3" fmla="*/ 189339 h 189389"/>
              <a:gd name="connsiteX4" fmla="*/ 9947 w 10129524"/>
              <a:gd name="connsiteY4" fmla="*/ 173 h 189389"/>
              <a:gd name="connsiteX0" fmla="*/ 0 w 10119577"/>
              <a:gd name="connsiteY0" fmla="*/ 173 h 189389"/>
              <a:gd name="connsiteX1" fmla="*/ 10119577 w 10119577"/>
              <a:gd name="connsiteY1" fmla="*/ 0 h 189389"/>
              <a:gd name="connsiteX2" fmla="*/ 8310720 w 10119577"/>
              <a:gd name="connsiteY2" fmla="*/ 189389 h 189389"/>
              <a:gd name="connsiteX3" fmla="*/ 15823 w 10119577"/>
              <a:gd name="connsiteY3" fmla="*/ 189339 h 189389"/>
              <a:gd name="connsiteX4" fmla="*/ 0 w 10119577"/>
              <a:gd name="connsiteY4" fmla="*/ 173 h 189389"/>
              <a:gd name="connsiteX0" fmla="*/ 0 w 10119577"/>
              <a:gd name="connsiteY0" fmla="*/ 173 h 189389"/>
              <a:gd name="connsiteX1" fmla="*/ 10119577 w 10119577"/>
              <a:gd name="connsiteY1" fmla="*/ 0 h 189389"/>
              <a:gd name="connsiteX2" fmla="*/ 8310720 w 10119577"/>
              <a:gd name="connsiteY2" fmla="*/ 189389 h 189389"/>
              <a:gd name="connsiteX3" fmla="*/ 2938 w 10119577"/>
              <a:gd name="connsiteY3" fmla="*/ 189339 h 189389"/>
              <a:gd name="connsiteX4" fmla="*/ 0 w 10119577"/>
              <a:gd name="connsiteY4" fmla="*/ 173 h 189389"/>
              <a:gd name="connsiteX0" fmla="*/ 0 w 21540281"/>
              <a:gd name="connsiteY0" fmla="*/ 9120 h 189389"/>
              <a:gd name="connsiteX1" fmla="*/ 21540281 w 21540281"/>
              <a:gd name="connsiteY1" fmla="*/ 0 h 189389"/>
              <a:gd name="connsiteX2" fmla="*/ 19731424 w 21540281"/>
              <a:gd name="connsiteY2" fmla="*/ 189389 h 189389"/>
              <a:gd name="connsiteX3" fmla="*/ 11423642 w 21540281"/>
              <a:gd name="connsiteY3" fmla="*/ 189339 h 189389"/>
              <a:gd name="connsiteX4" fmla="*/ 0 w 21540281"/>
              <a:gd name="connsiteY4" fmla="*/ 9120 h 189389"/>
              <a:gd name="connsiteX0" fmla="*/ 0 w 21540281"/>
              <a:gd name="connsiteY0" fmla="*/ 9120 h 192321"/>
              <a:gd name="connsiteX1" fmla="*/ 21540281 w 21540281"/>
              <a:gd name="connsiteY1" fmla="*/ 0 h 192321"/>
              <a:gd name="connsiteX2" fmla="*/ 19731424 w 21540281"/>
              <a:gd name="connsiteY2" fmla="*/ 189389 h 192321"/>
              <a:gd name="connsiteX3" fmla="*/ 2942 w 21540281"/>
              <a:gd name="connsiteY3" fmla="*/ 192321 h 192321"/>
              <a:gd name="connsiteX4" fmla="*/ 0 w 21540281"/>
              <a:gd name="connsiteY4" fmla="*/ 9120 h 192321"/>
              <a:gd name="connsiteX0" fmla="*/ 0 w 21540281"/>
              <a:gd name="connsiteY0" fmla="*/ 6138 h 192321"/>
              <a:gd name="connsiteX1" fmla="*/ 21540281 w 21540281"/>
              <a:gd name="connsiteY1" fmla="*/ 0 h 192321"/>
              <a:gd name="connsiteX2" fmla="*/ 19731424 w 21540281"/>
              <a:gd name="connsiteY2" fmla="*/ 189389 h 192321"/>
              <a:gd name="connsiteX3" fmla="*/ 2942 w 21540281"/>
              <a:gd name="connsiteY3" fmla="*/ 192321 h 192321"/>
              <a:gd name="connsiteX4" fmla="*/ 0 w 21540281"/>
              <a:gd name="connsiteY4" fmla="*/ 6138 h 192321"/>
              <a:gd name="connsiteX0" fmla="*/ 2579162 w 24119443"/>
              <a:gd name="connsiteY0" fmla="*/ 6138 h 192321"/>
              <a:gd name="connsiteX1" fmla="*/ 24119443 w 24119443"/>
              <a:gd name="connsiteY1" fmla="*/ 0 h 192321"/>
              <a:gd name="connsiteX2" fmla="*/ 22310586 w 24119443"/>
              <a:gd name="connsiteY2" fmla="*/ 189389 h 192321"/>
              <a:gd name="connsiteX3" fmla="*/ 2582104 w 24119443"/>
              <a:gd name="connsiteY3" fmla="*/ 192321 h 192321"/>
              <a:gd name="connsiteX4" fmla="*/ 2579162 w 24119443"/>
              <a:gd name="connsiteY4" fmla="*/ 6138 h 192321"/>
              <a:gd name="connsiteX0" fmla="*/ 1459081 w 22999362"/>
              <a:gd name="connsiteY0" fmla="*/ 6138 h 192321"/>
              <a:gd name="connsiteX1" fmla="*/ 22999362 w 22999362"/>
              <a:gd name="connsiteY1" fmla="*/ 0 h 192321"/>
              <a:gd name="connsiteX2" fmla="*/ 21190505 w 22999362"/>
              <a:gd name="connsiteY2" fmla="*/ 189389 h 192321"/>
              <a:gd name="connsiteX3" fmla="*/ 1462023 w 22999362"/>
              <a:gd name="connsiteY3" fmla="*/ 192321 h 192321"/>
              <a:gd name="connsiteX4" fmla="*/ 1459081 w 22999362"/>
              <a:gd name="connsiteY4" fmla="*/ 6138 h 192321"/>
              <a:gd name="connsiteX0" fmla="*/ 2579108 w 24119389"/>
              <a:gd name="connsiteY0" fmla="*/ 6138 h 192321"/>
              <a:gd name="connsiteX1" fmla="*/ 24119389 w 24119389"/>
              <a:gd name="connsiteY1" fmla="*/ 0 h 192321"/>
              <a:gd name="connsiteX2" fmla="*/ 22310532 w 24119389"/>
              <a:gd name="connsiteY2" fmla="*/ 189389 h 192321"/>
              <a:gd name="connsiteX3" fmla="*/ 2582050 w 24119389"/>
              <a:gd name="connsiteY3" fmla="*/ 192321 h 192321"/>
              <a:gd name="connsiteX4" fmla="*/ 2579108 w 24119389"/>
              <a:gd name="connsiteY4" fmla="*/ 6138 h 192321"/>
              <a:gd name="connsiteX0" fmla="*/ 1594923 w 23135204"/>
              <a:gd name="connsiteY0" fmla="*/ 6138 h 192321"/>
              <a:gd name="connsiteX1" fmla="*/ 23135204 w 23135204"/>
              <a:gd name="connsiteY1" fmla="*/ 0 h 192321"/>
              <a:gd name="connsiteX2" fmla="*/ 21326347 w 23135204"/>
              <a:gd name="connsiteY2" fmla="*/ 189389 h 192321"/>
              <a:gd name="connsiteX3" fmla="*/ 1597865 w 23135204"/>
              <a:gd name="connsiteY3" fmla="*/ 192321 h 192321"/>
              <a:gd name="connsiteX4" fmla="*/ 1594923 w 23135204"/>
              <a:gd name="connsiteY4" fmla="*/ 6138 h 192321"/>
              <a:gd name="connsiteX0" fmla="*/ 1 w 21540282"/>
              <a:gd name="connsiteY0" fmla="*/ 6138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3 w 21540282"/>
              <a:gd name="connsiteY3" fmla="*/ 192321 h 192321"/>
              <a:gd name="connsiteX4" fmla="*/ 1 w 21540282"/>
              <a:gd name="connsiteY4" fmla="*/ 6138 h 192321"/>
              <a:gd name="connsiteX0" fmla="*/ 0 w 21540282"/>
              <a:gd name="connsiteY0" fmla="*/ 3156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3 w 21540282"/>
              <a:gd name="connsiteY3" fmla="*/ 192321 h 192321"/>
              <a:gd name="connsiteX4" fmla="*/ 0 w 21540282"/>
              <a:gd name="connsiteY4" fmla="*/ 3156 h 192321"/>
              <a:gd name="connsiteX0" fmla="*/ 0 w 21540282"/>
              <a:gd name="connsiteY0" fmla="*/ 347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3 w 21540282"/>
              <a:gd name="connsiteY3" fmla="*/ 192321 h 192321"/>
              <a:gd name="connsiteX4" fmla="*/ 0 w 21540282"/>
              <a:gd name="connsiteY4" fmla="*/ 347 h 192321"/>
              <a:gd name="connsiteX0" fmla="*/ 0 w 21540282"/>
              <a:gd name="connsiteY0" fmla="*/ 347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2 w 21540282"/>
              <a:gd name="connsiteY3" fmla="*/ 192321 h 192321"/>
              <a:gd name="connsiteX4" fmla="*/ 0 w 21540282"/>
              <a:gd name="connsiteY4" fmla="*/ 347 h 192321"/>
              <a:gd name="connsiteX0" fmla="*/ 0 w 21540282"/>
              <a:gd name="connsiteY0" fmla="*/ 347 h 189512"/>
              <a:gd name="connsiteX1" fmla="*/ 21540282 w 21540282"/>
              <a:gd name="connsiteY1" fmla="*/ 0 h 189512"/>
              <a:gd name="connsiteX2" fmla="*/ 19731425 w 21540282"/>
              <a:gd name="connsiteY2" fmla="*/ 189389 h 189512"/>
              <a:gd name="connsiteX3" fmla="*/ 2942 w 21540282"/>
              <a:gd name="connsiteY3" fmla="*/ 189512 h 189512"/>
              <a:gd name="connsiteX4" fmla="*/ 0 w 21540282"/>
              <a:gd name="connsiteY4" fmla="*/ 347 h 189512"/>
              <a:gd name="connsiteX0" fmla="*/ 0 w 20903501"/>
              <a:gd name="connsiteY0" fmla="*/ 347 h 189512"/>
              <a:gd name="connsiteX1" fmla="*/ 20903501 w 20903501"/>
              <a:gd name="connsiteY1" fmla="*/ 0 h 189512"/>
              <a:gd name="connsiteX2" fmla="*/ 19731425 w 20903501"/>
              <a:gd name="connsiteY2" fmla="*/ 189389 h 189512"/>
              <a:gd name="connsiteX3" fmla="*/ 2942 w 20903501"/>
              <a:gd name="connsiteY3" fmla="*/ 189512 h 189512"/>
              <a:gd name="connsiteX4" fmla="*/ 0 w 20903501"/>
              <a:gd name="connsiteY4" fmla="*/ 347 h 189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903501" h="189512">
                <a:moveTo>
                  <a:pt x="0" y="347"/>
                </a:moveTo>
                <a:lnTo>
                  <a:pt x="20903501" y="0"/>
                </a:lnTo>
                <a:lnTo>
                  <a:pt x="19731425" y="189389"/>
                </a:lnTo>
                <a:lnTo>
                  <a:pt x="2942" y="189512"/>
                </a:lnTo>
                <a:cubicBezTo>
                  <a:pt x="1961" y="125521"/>
                  <a:pt x="981" y="64338"/>
                  <a:pt x="0" y="34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355EA5B-0213-49CD-B934-926AAD462096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74032" y="5851212"/>
            <a:ext cx="1060725" cy="822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5656119"/>
      </p:ext>
    </p:extLst>
  </p:cSld>
  <p:clrMapOvr>
    <a:masterClrMapping/>
  </p:clrMapOvr>
  <p:hf hdr="0"/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/>
              <a:t>Add a footer</a:t>
            </a:r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699F50C-BE38-4BD0-BA84-9B090E1F2B9B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12883" y="1274826"/>
            <a:ext cx="11670783" cy="47132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itle 3"/>
          <p:cNvSpPr>
            <a:spLocks noGrp="1"/>
          </p:cNvSpPr>
          <p:nvPr>
            <p:ph type="title"/>
          </p:nvPr>
        </p:nvSpPr>
        <p:spPr>
          <a:xfrm>
            <a:off x="312883" y="323848"/>
            <a:ext cx="11670783" cy="8595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9520541"/>
      </p:ext>
    </p:extLst>
  </p:cSld>
  <p:clrMapOvr>
    <a:masterClrMapping/>
  </p:clrMapOvr>
  <p:hf hdr="0"/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2883" y="323850"/>
            <a:ext cx="11670783" cy="8595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Add a footer</a:t>
            </a:r>
            <a:endParaRPr lang="en-US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99F50C-BE38-4BD0-BA84-9B090E1F2B9B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3"/>
          </p:nvPr>
        </p:nvSpPr>
        <p:spPr>
          <a:xfrm>
            <a:off x="312882" y="1274826"/>
            <a:ext cx="5701471" cy="4713224"/>
          </a:xfrm>
        </p:spPr>
        <p:txBody>
          <a:bodyPr/>
          <a:lstStyle>
            <a:lvl8pPr>
              <a:defRPr baseline="0"/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4"/>
          </p:nvPr>
        </p:nvSpPr>
        <p:spPr>
          <a:xfrm>
            <a:off x="6280925" y="1274826"/>
            <a:ext cx="5701471" cy="4713224"/>
          </a:xfrm>
        </p:spPr>
        <p:txBody>
          <a:bodyPr/>
          <a:lstStyle>
            <a:lvl8pPr>
              <a:defRPr baseline="0"/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9568904"/>
      </p:ext>
    </p:extLst>
  </p:cSld>
  <p:clrMapOvr>
    <a:masterClrMapping/>
  </p:clrMapOvr>
  <p:hf hdr="0"/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12882" y="1274826"/>
            <a:ext cx="5698196" cy="800100"/>
          </a:xfrm>
        </p:spPr>
        <p:txBody>
          <a:bodyPr anchor="t" anchorCtr="0">
            <a:normAutofit/>
          </a:bodyPr>
          <a:lstStyle>
            <a:lvl1pPr marL="0" indent="0">
              <a:buNone/>
              <a:defRPr sz="22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>
            <a:normAutofit/>
          </a:bodyPr>
          <a:lstStyle/>
          <a:p>
            <a:r>
              <a:rPr lang="en-US" noProof="0"/>
              <a:t>Add a footer</a:t>
            </a:r>
            <a:endParaRPr lang="en-US" noProof="0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/>
          </a:bodyPr>
          <a:lstStyle/>
          <a:p>
            <a:fld id="{8699F50C-BE38-4BD0-BA84-9B090E1F2B9B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312883" y="323850"/>
            <a:ext cx="11670783" cy="859536"/>
          </a:xfrm>
        </p:spPr>
        <p:txBody>
          <a:bodyPr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3"/>
          </p:nvPr>
        </p:nvSpPr>
        <p:spPr>
          <a:xfrm>
            <a:off x="312882" y="2217798"/>
            <a:ext cx="5698196" cy="3770252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idx="14"/>
          </p:nvPr>
        </p:nvSpPr>
        <p:spPr>
          <a:xfrm>
            <a:off x="6285470" y="1274826"/>
            <a:ext cx="5698196" cy="800100"/>
          </a:xfrm>
        </p:spPr>
        <p:txBody>
          <a:bodyPr anchor="t" anchorCtr="0">
            <a:normAutofit/>
          </a:bodyPr>
          <a:lstStyle>
            <a:lvl1pPr marL="0" indent="0">
              <a:buNone/>
              <a:defRPr sz="22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5"/>
          </p:nvPr>
        </p:nvSpPr>
        <p:spPr>
          <a:xfrm>
            <a:off x="6285470" y="2217798"/>
            <a:ext cx="5698196" cy="3770252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6866851"/>
      </p:ext>
    </p:extLst>
  </p:cSld>
  <p:clrMapOvr>
    <a:masterClrMapping/>
  </p:clrMapOvr>
  <p:hf hdr="0"/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ft Column_Right Two Quadra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2883" y="323850"/>
            <a:ext cx="11670783" cy="859536"/>
          </a:xfrm>
        </p:spPr>
        <p:txBody>
          <a:bodyPr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Add a footer</a:t>
            </a:r>
            <a:endParaRPr lang="en-US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99F50C-BE38-4BD0-BA84-9B090E1F2B9B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>
          <a:xfrm>
            <a:off x="312882" y="1272033"/>
            <a:ext cx="5698196" cy="471602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6285470" y="1272029"/>
            <a:ext cx="5698196" cy="225222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>
          <a:xfrm>
            <a:off x="6285470" y="3740212"/>
            <a:ext cx="5698196" cy="225222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6827170"/>
      </p:ext>
    </p:extLst>
  </p:cSld>
  <p:clrMapOvr>
    <a:masterClrMapping/>
  </p:clrMapOvr>
  <p:hf hdr="0"/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ight Column_Left Two Quadra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2883" y="323851"/>
            <a:ext cx="11670783" cy="859536"/>
          </a:xfrm>
        </p:spPr>
        <p:txBody>
          <a:bodyPr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>
            <a:normAutofit/>
          </a:bodyPr>
          <a:lstStyle/>
          <a:p>
            <a:r>
              <a:rPr lang="en-US" noProof="0"/>
              <a:t>Add a footer</a:t>
            </a:r>
            <a:endParaRPr lang="en-US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/>
          </a:bodyPr>
          <a:lstStyle/>
          <a:p>
            <a:fld id="{8699F50C-BE38-4BD0-BA84-9B090E1F2B9B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6285470" y="1272033"/>
            <a:ext cx="5698196" cy="4716021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5"/>
          </p:nvPr>
        </p:nvSpPr>
        <p:spPr>
          <a:xfrm>
            <a:off x="312882" y="1272033"/>
            <a:ext cx="5697434" cy="2252222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idx="16"/>
          </p:nvPr>
        </p:nvSpPr>
        <p:spPr>
          <a:xfrm>
            <a:off x="312882" y="3740212"/>
            <a:ext cx="5698196" cy="2252222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8920748"/>
      </p:ext>
    </p:extLst>
  </p:cSld>
  <p:clrMapOvr>
    <a:masterClrMapping/>
  </p:clrMapOvr>
  <p:hf hdr="0"/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dra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2883" y="323851"/>
            <a:ext cx="11670783" cy="859536"/>
          </a:xfrm>
        </p:spPr>
        <p:txBody>
          <a:bodyPr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>
            <a:normAutofit/>
          </a:bodyPr>
          <a:lstStyle/>
          <a:p>
            <a:r>
              <a:rPr lang="en-US" noProof="0"/>
              <a:t>Add a footer</a:t>
            </a:r>
            <a:endParaRPr lang="en-US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/>
          </a:bodyPr>
          <a:lstStyle/>
          <a:p>
            <a:fld id="{8699F50C-BE38-4BD0-BA84-9B090E1F2B9B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idx="15"/>
          </p:nvPr>
        </p:nvSpPr>
        <p:spPr>
          <a:xfrm>
            <a:off x="312882" y="1272029"/>
            <a:ext cx="5698196" cy="2252222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Content Placeholder 2"/>
          <p:cNvSpPr>
            <a:spLocks noGrp="1"/>
          </p:cNvSpPr>
          <p:nvPr>
            <p:ph idx="16"/>
          </p:nvPr>
        </p:nvSpPr>
        <p:spPr>
          <a:xfrm>
            <a:off x="312882" y="3740212"/>
            <a:ext cx="5698196" cy="2252222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2"/>
          <p:cNvSpPr>
            <a:spLocks noGrp="1"/>
          </p:cNvSpPr>
          <p:nvPr>
            <p:ph idx="17"/>
          </p:nvPr>
        </p:nvSpPr>
        <p:spPr>
          <a:xfrm>
            <a:off x="6285470" y="1272029"/>
            <a:ext cx="5698196" cy="2252222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idx="18"/>
          </p:nvPr>
        </p:nvSpPr>
        <p:spPr>
          <a:xfrm>
            <a:off x="6285470" y="3740212"/>
            <a:ext cx="5698196" cy="2252222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6491369"/>
      </p:ext>
    </p:extLst>
  </p:cSld>
  <p:clrMapOvr>
    <a:masterClrMapping/>
  </p:clrMapOvr>
  <p:hf hdr="0"/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Add a footer</a:t>
            </a:r>
            <a:endParaRPr lang="en-US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99F50C-BE38-4BD0-BA84-9B090E1F2B9B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12883" y="323849"/>
            <a:ext cx="11670783" cy="8595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07829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Add a footer</a:t>
            </a:r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99F50C-BE38-4BD0-BA84-9B090E1F2B9B}" type="slidenum">
              <a:rPr lang="en-US" noProof="0" smtClean="0"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174527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2883" y="323850"/>
            <a:ext cx="4011084" cy="1162050"/>
          </a:xfrm>
        </p:spPr>
        <p:txBody>
          <a:bodyPr anchor="t" anchorCtr="0">
            <a:normAutofit/>
          </a:bodyPr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12883" y="1530351"/>
            <a:ext cx="4011084" cy="4467226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>
            <a:normAutofit/>
          </a:bodyPr>
          <a:lstStyle/>
          <a:p>
            <a:r>
              <a:rPr lang="en-US" noProof="0"/>
              <a:t>Add a footer</a:t>
            </a:r>
            <a:endParaRPr lang="en-US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/>
          </a:bodyPr>
          <a:lstStyle/>
          <a:p>
            <a:fld id="{8699F50C-BE38-4BD0-BA84-9B090E1F2B9B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>
          <a:xfrm>
            <a:off x="4497716" y="323850"/>
            <a:ext cx="7484679" cy="5673726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5652959"/>
      </p:ext>
    </p:extLst>
  </p:cSld>
  <p:clrMapOvr>
    <a:masterClrMapping/>
  </p:clrMapOvr>
  <p:hf hd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9C4343-C115-504A-8D4F-0B17318D4A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2196456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12883" y="5274398"/>
            <a:ext cx="11670783" cy="72318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Add a footer</a:t>
            </a:r>
            <a:endParaRPr lang="en-US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99F50C-BE38-4BD0-BA84-9B090E1F2B9B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312882" y="1274832"/>
            <a:ext cx="11670783" cy="390024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3"/>
          <p:cNvSpPr>
            <a:spLocks noGrp="1"/>
          </p:cNvSpPr>
          <p:nvPr>
            <p:ph type="title"/>
          </p:nvPr>
        </p:nvSpPr>
        <p:spPr>
          <a:xfrm>
            <a:off x="312882" y="323848"/>
            <a:ext cx="11670783" cy="8595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2968321"/>
      </p:ext>
    </p:extLst>
  </p:cSld>
  <p:clrMapOvr>
    <a:masterClrMapping/>
  </p:clrMapOvr>
  <p:hf hdr="0"/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End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10839985" y="6073142"/>
            <a:ext cx="1097116" cy="71554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856940009"/>
      </p:ext>
    </p:extLst>
  </p:cSld>
  <p:clrMapOvr>
    <a:masterClrMapping/>
  </p:clrMapOvr>
  <p:hf hd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2883" y="323850"/>
            <a:ext cx="4011084" cy="1162050"/>
          </a:xfrm>
        </p:spPr>
        <p:txBody>
          <a:bodyPr anchor="t" anchorCtr="0">
            <a:normAutofit/>
          </a:bodyPr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12883" y="1530351"/>
            <a:ext cx="4011084" cy="4467226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/>
          </a:bodyPr>
          <a:lstStyle/>
          <a:p>
            <a:fld id="{FD9C4343-C115-504A-8D4F-0B17318D4A48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>
          <a:xfrm>
            <a:off x="4497716" y="323850"/>
            <a:ext cx="7484679" cy="5673726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852336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12883" y="5274398"/>
            <a:ext cx="11670783" cy="72318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9C4343-C115-504A-8D4F-0B17318D4A48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312882" y="1274832"/>
            <a:ext cx="11670783" cy="390024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3"/>
          <p:cNvSpPr>
            <a:spLocks noGrp="1"/>
          </p:cNvSpPr>
          <p:nvPr>
            <p:ph type="title"/>
          </p:nvPr>
        </p:nvSpPr>
        <p:spPr>
          <a:xfrm>
            <a:off x="312882" y="323848"/>
            <a:ext cx="11670783" cy="8595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025796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64597"/>
            <a:ext cx="12183572" cy="6353561"/>
          </a:xfrm>
          <a:prstGeom prst="rect">
            <a:avLst/>
          </a:prstGeom>
          <a:ln>
            <a:noFill/>
          </a:ln>
        </p:spPr>
      </p:pic>
      <p:sp>
        <p:nvSpPr>
          <p:cNvPr id="7" name="Rectangle 7"/>
          <p:cNvSpPr/>
          <p:nvPr userDrawn="1"/>
        </p:nvSpPr>
        <p:spPr>
          <a:xfrm>
            <a:off x="0" y="-7059"/>
            <a:ext cx="12198397" cy="2802770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0 w 9144000"/>
              <a:gd name="connsiteY3" fmla="*/ 6858000 h 6858000"/>
              <a:gd name="connsiteX4" fmla="*/ 0 w 9144000"/>
              <a:gd name="connsiteY4" fmla="*/ 0 h 6858000"/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3885840 h 6858000"/>
              <a:gd name="connsiteX3" fmla="*/ 0 w 9144000"/>
              <a:gd name="connsiteY3" fmla="*/ 6858000 h 6858000"/>
              <a:gd name="connsiteX4" fmla="*/ 0 w 9144000"/>
              <a:gd name="connsiteY4" fmla="*/ 0 h 6858000"/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0 w 9144000"/>
              <a:gd name="connsiteY2" fmla="*/ 6858000 h 6858000"/>
              <a:gd name="connsiteX3" fmla="*/ 0 w 9144000"/>
              <a:gd name="connsiteY3" fmla="*/ 0 h 6858000"/>
              <a:gd name="connsiteX0" fmla="*/ 0 w 9144000"/>
              <a:gd name="connsiteY0" fmla="*/ 0 h 13876421"/>
              <a:gd name="connsiteX1" fmla="*/ 9144000 w 9144000"/>
              <a:gd name="connsiteY1" fmla="*/ 0 h 13876421"/>
              <a:gd name="connsiteX2" fmla="*/ 8640 w 9144000"/>
              <a:gd name="connsiteY2" fmla="*/ 13876421 h 13876421"/>
              <a:gd name="connsiteX3" fmla="*/ 0 w 9144000"/>
              <a:gd name="connsiteY3" fmla="*/ 0 h 13876421"/>
              <a:gd name="connsiteX0" fmla="*/ 0 w 9144000"/>
              <a:gd name="connsiteY0" fmla="*/ 0 h 13635789"/>
              <a:gd name="connsiteX1" fmla="*/ 9144000 w 9144000"/>
              <a:gd name="connsiteY1" fmla="*/ 0 h 13635789"/>
              <a:gd name="connsiteX2" fmla="*/ 155514 w 9144000"/>
              <a:gd name="connsiteY2" fmla="*/ 13635789 h 13635789"/>
              <a:gd name="connsiteX3" fmla="*/ 0 w 9144000"/>
              <a:gd name="connsiteY3" fmla="*/ 0 h 13635789"/>
              <a:gd name="connsiteX0" fmla="*/ 0 w 9144000"/>
              <a:gd name="connsiteY0" fmla="*/ 0 h 12673263"/>
              <a:gd name="connsiteX1" fmla="*/ 9144000 w 9144000"/>
              <a:gd name="connsiteY1" fmla="*/ 0 h 12673263"/>
              <a:gd name="connsiteX2" fmla="*/ 112315 w 9144000"/>
              <a:gd name="connsiteY2" fmla="*/ 12673263 h 12673263"/>
              <a:gd name="connsiteX3" fmla="*/ 0 w 9144000"/>
              <a:gd name="connsiteY3" fmla="*/ 0 h 12673263"/>
              <a:gd name="connsiteX0" fmla="*/ 0 w 9144000"/>
              <a:gd name="connsiteY0" fmla="*/ 0 h 13796210"/>
              <a:gd name="connsiteX1" fmla="*/ 9144000 w 9144000"/>
              <a:gd name="connsiteY1" fmla="*/ 0 h 13796210"/>
              <a:gd name="connsiteX2" fmla="*/ 8639 w 9144000"/>
              <a:gd name="connsiteY2" fmla="*/ 13796210 h 13796210"/>
              <a:gd name="connsiteX3" fmla="*/ 0 w 9144000"/>
              <a:gd name="connsiteY3" fmla="*/ 0 h 13796210"/>
              <a:gd name="connsiteX0" fmla="*/ 831 w 9144831"/>
              <a:gd name="connsiteY0" fmla="*/ 0 h 13796210"/>
              <a:gd name="connsiteX1" fmla="*/ 9144831 w 9144831"/>
              <a:gd name="connsiteY1" fmla="*/ 0 h 13796210"/>
              <a:gd name="connsiteX2" fmla="*/ 831 w 9144831"/>
              <a:gd name="connsiteY2" fmla="*/ 13796210 h 13796210"/>
              <a:gd name="connsiteX3" fmla="*/ 831 w 9144831"/>
              <a:gd name="connsiteY3" fmla="*/ 0 h 13796210"/>
              <a:gd name="connsiteX0" fmla="*/ 831 w 9144831"/>
              <a:gd name="connsiteY0" fmla="*/ 0 h 13796210"/>
              <a:gd name="connsiteX1" fmla="*/ 9144831 w 9144831"/>
              <a:gd name="connsiteY1" fmla="*/ 0 h 13796210"/>
              <a:gd name="connsiteX2" fmla="*/ 8799806 w 9144831"/>
              <a:gd name="connsiteY2" fmla="*/ 469194 h 13796210"/>
              <a:gd name="connsiteX3" fmla="*/ 831 w 9144831"/>
              <a:gd name="connsiteY3" fmla="*/ 13796210 h 13796210"/>
              <a:gd name="connsiteX4" fmla="*/ 831 w 9144831"/>
              <a:gd name="connsiteY4" fmla="*/ 0 h 13796210"/>
              <a:gd name="connsiteX0" fmla="*/ 831 w 9144831"/>
              <a:gd name="connsiteY0" fmla="*/ 0 h 13796210"/>
              <a:gd name="connsiteX1" fmla="*/ 9144831 w 9144831"/>
              <a:gd name="connsiteY1" fmla="*/ 0 h 13796210"/>
              <a:gd name="connsiteX2" fmla="*/ 9097856 w 9144831"/>
              <a:gd name="connsiteY2" fmla="*/ 950439 h 13796210"/>
              <a:gd name="connsiteX3" fmla="*/ 831 w 9144831"/>
              <a:gd name="connsiteY3" fmla="*/ 13796210 h 13796210"/>
              <a:gd name="connsiteX4" fmla="*/ 831 w 9144831"/>
              <a:gd name="connsiteY4" fmla="*/ 0 h 13796210"/>
              <a:gd name="connsiteX0" fmla="*/ 831 w 9144831"/>
              <a:gd name="connsiteY0" fmla="*/ 0 h 13796210"/>
              <a:gd name="connsiteX1" fmla="*/ 9144831 w 9144831"/>
              <a:gd name="connsiteY1" fmla="*/ 0 h 13796210"/>
              <a:gd name="connsiteX2" fmla="*/ 9053406 w 9144831"/>
              <a:gd name="connsiteY2" fmla="*/ 788324 h 13796210"/>
              <a:gd name="connsiteX3" fmla="*/ 831 w 9144831"/>
              <a:gd name="connsiteY3" fmla="*/ 13796210 h 13796210"/>
              <a:gd name="connsiteX4" fmla="*/ 831 w 9144831"/>
              <a:gd name="connsiteY4" fmla="*/ 0 h 13796210"/>
              <a:gd name="connsiteX0" fmla="*/ 831 w 9145481"/>
              <a:gd name="connsiteY0" fmla="*/ 0 h 13796210"/>
              <a:gd name="connsiteX1" fmla="*/ 9144831 w 9145481"/>
              <a:gd name="connsiteY1" fmla="*/ 0 h 13796210"/>
              <a:gd name="connsiteX2" fmla="*/ 9145481 w 9145481"/>
              <a:gd name="connsiteY2" fmla="*/ 1053603 h 13796210"/>
              <a:gd name="connsiteX3" fmla="*/ 831 w 9145481"/>
              <a:gd name="connsiteY3" fmla="*/ 13796210 h 13796210"/>
              <a:gd name="connsiteX4" fmla="*/ 831 w 9145481"/>
              <a:gd name="connsiteY4" fmla="*/ 0 h 13796210"/>
              <a:gd name="connsiteX0" fmla="*/ 831 w 9145481"/>
              <a:gd name="connsiteY0" fmla="*/ 0 h 14842591"/>
              <a:gd name="connsiteX1" fmla="*/ 9144831 w 9145481"/>
              <a:gd name="connsiteY1" fmla="*/ 0 h 14842591"/>
              <a:gd name="connsiteX2" fmla="*/ 9145481 w 9145481"/>
              <a:gd name="connsiteY2" fmla="*/ 1053603 h 14842591"/>
              <a:gd name="connsiteX3" fmla="*/ 831 w 9145481"/>
              <a:gd name="connsiteY3" fmla="*/ 14842591 h 14842591"/>
              <a:gd name="connsiteX4" fmla="*/ 831 w 9145481"/>
              <a:gd name="connsiteY4" fmla="*/ 0 h 14842591"/>
              <a:gd name="connsiteX0" fmla="*/ 831 w 9145481"/>
              <a:gd name="connsiteY0" fmla="*/ 0 h 14842591"/>
              <a:gd name="connsiteX1" fmla="*/ 9144831 w 9145481"/>
              <a:gd name="connsiteY1" fmla="*/ 0 h 14842591"/>
              <a:gd name="connsiteX2" fmla="*/ 9145481 w 9145481"/>
              <a:gd name="connsiteY2" fmla="*/ 1749318 h 14842591"/>
              <a:gd name="connsiteX3" fmla="*/ 831 w 9145481"/>
              <a:gd name="connsiteY3" fmla="*/ 14842591 h 14842591"/>
              <a:gd name="connsiteX4" fmla="*/ 831 w 9145481"/>
              <a:gd name="connsiteY4" fmla="*/ 0 h 14842591"/>
              <a:gd name="connsiteX0" fmla="*/ 0 w 9144650"/>
              <a:gd name="connsiteY0" fmla="*/ 0 h 12975143"/>
              <a:gd name="connsiteX1" fmla="*/ 9144000 w 9144650"/>
              <a:gd name="connsiteY1" fmla="*/ 0 h 12975143"/>
              <a:gd name="connsiteX2" fmla="*/ 9144650 w 9144650"/>
              <a:gd name="connsiteY2" fmla="*/ 1749318 h 12975143"/>
              <a:gd name="connsiteX3" fmla="*/ 5918 w 9144650"/>
              <a:gd name="connsiteY3" fmla="*/ 12975143 h 12975143"/>
              <a:gd name="connsiteX4" fmla="*/ 0 w 9144650"/>
              <a:gd name="connsiteY4" fmla="*/ 0 h 12975143"/>
              <a:gd name="connsiteX0" fmla="*/ 0 w 9144650"/>
              <a:gd name="connsiteY0" fmla="*/ 0 h 12975143"/>
              <a:gd name="connsiteX1" fmla="*/ 9144000 w 9144650"/>
              <a:gd name="connsiteY1" fmla="*/ 0 h 12975143"/>
              <a:gd name="connsiteX2" fmla="*/ 9144650 w 9144650"/>
              <a:gd name="connsiteY2" fmla="*/ 2884432 h 12975143"/>
              <a:gd name="connsiteX3" fmla="*/ 5918 w 9144650"/>
              <a:gd name="connsiteY3" fmla="*/ 12975143 h 12975143"/>
              <a:gd name="connsiteX4" fmla="*/ 0 w 9144650"/>
              <a:gd name="connsiteY4" fmla="*/ 0 h 12975143"/>
              <a:gd name="connsiteX0" fmla="*/ 0 w 9144650"/>
              <a:gd name="connsiteY0" fmla="*/ 0 h 12975143"/>
              <a:gd name="connsiteX1" fmla="*/ 9144000 w 9144650"/>
              <a:gd name="connsiteY1" fmla="*/ 0 h 12975143"/>
              <a:gd name="connsiteX2" fmla="*/ 9144650 w 9144650"/>
              <a:gd name="connsiteY2" fmla="*/ 2884432 h 12975143"/>
              <a:gd name="connsiteX3" fmla="*/ 5918 w 9144650"/>
              <a:gd name="connsiteY3" fmla="*/ 12975143 h 12975143"/>
              <a:gd name="connsiteX4" fmla="*/ 0 w 9144650"/>
              <a:gd name="connsiteY4" fmla="*/ 0 h 12975143"/>
              <a:gd name="connsiteX0" fmla="*/ 0 w 9144650"/>
              <a:gd name="connsiteY0" fmla="*/ 0 h 12975143"/>
              <a:gd name="connsiteX1" fmla="*/ 9144000 w 9144650"/>
              <a:gd name="connsiteY1" fmla="*/ 0 h 12975143"/>
              <a:gd name="connsiteX2" fmla="*/ 9144650 w 9144650"/>
              <a:gd name="connsiteY2" fmla="*/ 2884432 h 12975143"/>
              <a:gd name="connsiteX3" fmla="*/ 5918 w 9144650"/>
              <a:gd name="connsiteY3" fmla="*/ 12975143 h 12975143"/>
              <a:gd name="connsiteX4" fmla="*/ 0 w 9144650"/>
              <a:gd name="connsiteY4" fmla="*/ 0 h 12975143"/>
              <a:gd name="connsiteX0" fmla="*/ 0 w 9144650"/>
              <a:gd name="connsiteY0" fmla="*/ 0 h 12975143"/>
              <a:gd name="connsiteX1" fmla="*/ 9144000 w 9144650"/>
              <a:gd name="connsiteY1" fmla="*/ 0 h 12975143"/>
              <a:gd name="connsiteX2" fmla="*/ 9144650 w 9144650"/>
              <a:gd name="connsiteY2" fmla="*/ 3873077 h 12975143"/>
              <a:gd name="connsiteX3" fmla="*/ 5918 w 9144650"/>
              <a:gd name="connsiteY3" fmla="*/ 12975143 h 12975143"/>
              <a:gd name="connsiteX4" fmla="*/ 0 w 9144650"/>
              <a:gd name="connsiteY4" fmla="*/ 0 h 12975143"/>
              <a:gd name="connsiteX0" fmla="*/ 0 w 9144650"/>
              <a:gd name="connsiteY0" fmla="*/ 0 h 12975143"/>
              <a:gd name="connsiteX1" fmla="*/ 9144000 w 9144650"/>
              <a:gd name="connsiteY1" fmla="*/ 0 h 12975143"/>
              <a:gd name="connsiteX2" fmla="*/ 9144650 w 9144650"/>
              <a:gd name="connsiteY2" fmla="*/ 3873077 h 12975143"/>
              <a:gd name="connsiteX3" fmla="*/ 5918 w 9144650"/>
              <a:gd name="connsiteY3" fmla="*/ 12975143 h 12975143"/>
              <a:gd name="connsiteX4" fmla="*/ 0 w 9144650"/>
              <a:gd name="connsiteY4" fmla="*/ 0 h 12975143"/>
              <a:gd name="connsiteX0" fmla="*/ 0 w 9144650"/>
              <a:gd name="connsiteY0" fmla="*/ 0 h 12975143"/>
              <a:gd name="connsiteX1" fmla="*/ 9144000 w 9144650"/>
              <a:gd name="connsiteY1" fmla="*/ 0 h 12975143"/>
              <a:gd name="connsiteX2" fmla="*/ 9144650 w 9144650"/>
              <a:gd name="connsiteY2" fmla="*/ 4056160 h 12975143"/>
              <a:gd name="connsiteX3" fmla="*/ 5918 w 9144650"/>
              <a:gd name="connsiteY3" fmla="*/ 12975143 h 12975143"/>
              <a:gd name="connsiteX4" fmla="*/ 0 w 9144650"/>
              <a:gd name="connsiteY4" fmla="*/ 0 h 12975143"/>
              <a:gd name="connsiteX0" fmla="*/ 0 w 9145005"/>
              <a:gd name="connsiteY0" fmla="*/ 0 h 12975143"/>
              <a:gd name="connsiteX1" fmla="*/ 9144000 w 9145005"/>
              <a:gd name="connsiteY1" fmla="*/ 0 h 12975143"/>
              <a:gd name="connsiteX2" fmla="*/ 9144650 w 9145005"/>
              <a:gd name="connsiteY2" fmla="*/ 4056160 h 12975143"/>
              <a:gd name="connsiteX3" fmla="*/ 5918 w 9145005"/>
              <a:gd name="connsiteY3" fmla="*/ 12975143 h 12975143"/>
              <a:gd name="connsiteX4" fmla="*/ 0 w 9145005"/>
              <a:gd name="connsiteY4" fmla="*/ 0 h 12975143"/>
              <a:gd name="connsiteX0" fmla="*/ 1334 w 9146339"/>
              <a:gd name="connsiteY0" fmla="*/ 0 h 12995196"/>
              <a:gd name="connsiteX1" fmla="*/ 9145334 w 9146339"/>
              <a:gd name="connsiteY1" fmla="*/ 0 h 12995196"/>
              <a:gd name="connsiteX2" fmla="*/ 9145984 w 9146339"/>
              <a:gd name="connsiteY2" fmla="*/ 4056160 h 12995196"/>
              <a:gd name="connsiteX3" fmla="*/ 771 w 9146339"/>
              <a:gd name="connsiteY3" fmla="*/ 12995196 h 12995196"/>
              <a:gd name="connsiteX4" fmla="*/ 1334 w 9146339"/>
              <a:gd name="connsiteY4" fmla="*/ 0 h 12995196"/>
              <a:gd name="connsiteX0" fmla="*/ 1334 w 9145335"/>
              <a:gd name="connsiteY0" fmla="*/ 0 h 12995196"/>
              <a:gd name="connsiteX1" fmla="*/ 9145334 w 9145335"/>
              <a:gd name="connsiteY1" fmla="*/ 0 h 12995196"/>
              <a:gd name="connsiteX2" fmla="*/ 9126929 w 9145335"/>
              <a:gd name="connsiteY2" fmla="*/ 3864569 h 12995196"/>
              <a:gd name="connsiteX3" fmla="*/ 771 w 9145335"/>
              <a:gd name="connsiteY3" fmla="*/ 12995196 h 12995196"/>
              <a:gd name="connsiteX4" fmla="*/ 1334 w 9145335"/>
              <a:gd name="connsiteY4" fmla="*/ 0 h 12995196"/>
              <a:gd name="connsiteX0" fmla="*/ 1334 w 9148536"/>
              <a:gd name="connsiteY0" fmla="*/ 0 h 12995196"/>
              <a:gd name="connsiteX1" fmla="*/ 9145334 w 9148536"/>
              <a:gd name="connsiteY1" fmla="*/ 0 h 12995196"/>
              <a:gd name="connsiteX2" fmla="*/ 9148366 w 9148536"/>
              <a:gd name="connsiteY2" fmla="*/ 4011947 h 12995196"/>
              <a:gd name="connsiteX3" fmla="*/ 771 w 9148536"/>
              <a:gd name="connsiteY3" fmla="*/ 12995196 h 12995196"/>
              <a:gd name="connsiteX4" fmla="*/ 1334 w 9148536"/>
              <a:gd name="connsiteY4" fmla="*/ 0 h 12995196"/>
              <a:gd name="connsiteX0" fmla="*/ 1334 w 9148395"/>
              <a:gd name="connsiteY0" fmla="*/ 0 h 12995196"/>
              <a:gd name="connsiteX1" fmla="*/ 9123897 w 9148395"/>
              <a:gd name="connsiteY1" fmla="*/ 147378 h 12995196"/>
              <a:gd name="connsiteX2" fmla="*/ 9148366 w 9148395"/>
              <a:gd name="connsiteY2" fmla="*/ 4011947 h 12995196"/>
              <a:gd name="connsiteX3" fmla="*/ 771 w 9148395"/>
              <a:gd name="connsiteY3" fmla="*/ 12995196 h 12995196"/>
              <a:gd name="connsiteX4" fmla="*/ 1334 w 9148395"/>
              <a:gd name="connsiteY4" fmla="*/ 0 h 12995196"/>
              <a:gd name="connsiteX0" fmla="*/ 1334 w 9150129"/>
              <a:gd name="connsiteY0" fmla="*/ 14738 h 13009934"/>
              <a:gd name="connsiteX1" fmla="*/ 9150098 w 9150129"/>
              <a:gd name="connsiteY1" fmla="*/ 0 h 13009934"/>
              <a:gd name="connsiteX2" fmla="*/ 9148366 w 9150129"/>
              <a:gd name="connsiteY2" fmla="*/ 4026685 h 13009934"/>
              <a:gd name="connsiteX3" fmla="*/ 771 w 9150129"/>
              <a:gd name="connsiteY3" fmla="*/ 13009934 h 13009934"/>
              <a:gd name="connsiteX4" fmla="*/ 1334 w 9150129"/>
              <a:gd name="connsiteY4" fmla="*/ 14738 h 13009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50129" h="13009934">
                <a:moveTo>
                  <a:pt x="1334" y="14738"/>
                </a:moveTo>
                <a:lnTo>
                  <a:pt x="9150098" y="0"/>
                </a:lnTo>
                <a:cubicBezTo>
                  <a:pt x="9150315" y="351201"/>
                  <a:pt x="9149378" y="2536723"/>
                  <a:pt x="9148366" y="4026685"/>
                </a:cubicBezTo>
                <a:lnTo>
                  <a:pt x="771" y="13009934"/>
                </a:lnTo>
                <a:cubicBezTo>
                  <a:pt x="-2109" y="8411197"/>
                  <a:pt x="4214" y="4613475"/>
                  <a:pt x="1334" y="1473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265245" y="357099"/>
            <a:ext cx="11653082" cy="969616"/>
          </a:xfrm>
          <a:custGeom>
            <a:avLst/>
            <a:gdLst>
              <a:gd name="connsiteX0" fmla="*/ 0 w 7743085"/>
              <a:gd name="connsiteY0" fmla="*/ 0 h 952042"/>
              <a:gd name="connsiteX1" fmla="*/ 7743085 w 7743085"/>
              <a:gd name="connsiteY1" fmla="*/ 0 h 952042"/>
              <a:gd name="connsiteX2" fmla="*/ 7743085 w 7743085"/>
              <a:gd name="connsiteY2" fmla="*/ 952042 h 952042"/>
              <a:gd name="connsiteX3" fmla="*/ 0 w 7743085"/>
              <a:gd name="connsiteY3" fmla="*/ 952042 h 952042"/>
              <a:gd name="connsiteX4" fmla="*/ 0 w 7743085"/>
              <a:gd name="connsiteY4" fmla="*/ 0 h 952042"/>
              <a:gd name="connsiteX0" fmla="*/ 0 w 7743085"/>
              <a:gd name="connsiteY0" fmla="*/ 0 h 970627"/>
              <a:gd name="connsiteX1" fmla="*/ 7743085 w 7743085"/>
              <a:gd name="connsiteY1" fmla="*/ 0 h 970627"/>
              <a:gd name="connsiteX2" fmla="*/ 3864938 w 7743085"/>
              <a:gd name="connsiteY2" fmla="*/ 970627 h 970627"/>
              <a:gd name="connsiteX3" fmla="*/ 0 w 7743085"/>
              <a:gd name="connsiteY3" fmla="*/ 952042 h 970627"/>
              <a:gd name="connsiteX4" fmla="*/ 0 w 7743085"/>
              <a:gd name="connsiteY4" fmla="*/ 0 h 970627"/>
              <a:gd name="connsiteX0" fmla="*/ 0 w 6764255"/>
              <a:gd name="connsiteY0" fmla="*/ 0 h 970627"/>
              <a:gd name="connsiteX1" fmla="*/ 6764255 w 6764255"/>
              <a:gd name="connsiteY1" fmla="*/ 0 h 970627"/>
              <a:gd name="connsiteX2" fmla="*/ 3864938 w 6764255"/>
              <a:gd name="connsiteY2" fmla="*/ 970627 h 970627"/>
              <a:gd name="connsiteX3" fmla="*/ 0 w 6764255"/>
              <a:gd name="connsiteY3" fmla="*/ 952042 h 970627"/>
              <a:gd name="connsiteX4" fmla="*/ 0 w 6764255"/>
              <a:gd name="connsiteY4" fmla="*/ 0 h 970627"/>
              <a:gd name="connsiteX0" fmla="*/ 0 w 6764255"/>
              <a:gd name="connsiteY0" fmla="*/ 0 h 954387"/>
              <a:gd name="connsiteX1" fmla="*/ 6764255 w 6764255"/>
              <a:gd name="connsiteY1" fmla="*/ 0 h 954387"/>
              <a:gd name="connsiteX2" fmla="*/ 3886981 w 6764255"/>
              <a:gd name="connsiteY2" fmla="*/ 954387 h 954387"/>
              <a:gd name="connsiteX3" fmla="*/ 0 w 6764255"/>
              <a:gd name="connsiteY3" fmla="*/ 952042 h 954387"/>
              <a:gd name="connsiteX4" fmla="*/ 0 w 6764255"/>
              <a:gd name="connsiteY4" fmla="*/ 0 h 954387"/>
              <a:gd name="connsiteX0" fmla="*/ 0 w 6764255"/>
              <a:gd name="connsiteY0" fmla="*/ 0 h 952042"/>
              <a:gd name="connsiteX1" fmla="*/ 6764255 w 6764255"/>
              <a:gd name="connsiteY1" fmla="*/ 0 h 952042"/>
              <a:gd name="connsiteX2" fmla="*/ 3899577 w 6764255"/>
              <a:gd name="connsiteY2" fmla="*/ 908913 h 952042"/>
              <a:gd name="connsiteX3" fmla="*/ 0 w 6764255"/>
              <a:gd name="connsiteY3" fmla="*/ 952042 h 952042"/>
              <a:gd name="connsiteX4" fmla="*/ 0 w 6764255"/>
              <a:gd name="connsiteY4" fmla="*/ 0 h 952042"/>
              <a:gd name="connsiteX0" fmla="*/ 0 w 6764255"/>
              <a:gd name="connsiteY0" fmla="*/ 0 h 952042"/>
              <a:gd name="connsiteX1" fmla="*/ 6764255 w 6764255"/>
              <a:gd name="connsiteY1" fmla="*/ 0 h 952042"/>
              <a:gd name="connsiteX2" fmla="*/ 3886981 w 6764255"/>
              <a:gd name="connsiteY2" fmla="*/ 951138 h 952042"/>
              <a:gd name="connsiteX3" fmla="*/ 0 w 6764255"/>
              <a:gd name="connsiteY3" fmla="*/ 952042 h 952042"/>
              <a:gd name="connsiteX4" fmla="*/ 0 w 6764255"/>
              <a:gd name="connsiteY4" fmla="*/ 0 h 952042"/>
              <a:gd name="connsiteX0" fmla="*/ 0 w 7344064"/>
              <a:gd name="connsiteY0" fmla="*/ 3360 h 955402"/>
              <a:gd name="connsiteX1" fmla="*/ 7344064 w 7344064"/>
              <a:gd name="connsiteY1" fmla="*/ 0 h 955402"/>
              <a:gd name="connsiteX2" fmla="*/ 3886981 w 7344064"/>
              <a:gd name="connsiteY2" fmla="*/ 954498 h 955402"/>
              <a:gd name="connsiteX3" fmla="*/ 0 w 7344064"/>
              <a:gd name="connsiteY3" fmla="*/ 955402 h 955402"/>
              <a:gd name="connsiteX4" fmla="*/ 0 w 7344064"/>
              <a:gd name="connsiteY4" fmla="*/ 3360 h 955402"/>
              <a:gd name="connsiteX0" fmla="*/ 0 w 7344064"/>
              <a:gd name="connsiteY0" fmla="*/ 3360 h 957858"/>
              <a:gd name="connsiteX1" fmla="*/ 7344064 w 7344064"/>
              <a:gd name="connsiteY1" fmla="*/ 0 h 957858"/>
              <a:gd name="connsiteX2" fmla="*/ 4470045 w 7344064"/>
              <a:gd name="connsiteY2" fmla="*/ 957858 h 957858"/>
              <a:gd name="connsiteX3" fmla="*/ 0 w 7344064"/>
              <a:gd name="connsiteY3" fmla="*/ 955402 h 957858"/>
              <a:gd name="connsiteX4" fmla="*/ 0 w 7344064"/>
              <a:gd name="connsiteY4" fmla="*/ 3360 h 957858"/>
              <a:gd name="connsiteX0" fmla="*/ 0 w 8473072"/>
              <a:gd name="connsiteY0" fmla="*/ 3360 h 957858"/>
              <a:gd name="connsiteX1" fmla="*/ 8473072 w 8473072"/>
              <a:gd name="connsiteY1" fmla="*/ 0 h 957858"/>
              <a:gd name="connsiteX2" fmla="*/ 4470045 w 8473072"/>
              <a:gd name="connsiteY2" fmla="*/ 957858 h 957858"/>
              <a:gd name="connsiteX3" fmla="*/ 0 w 8473072"/>
              <a:gd name="connsiteY3" fmla="*/ 955402 h 957858"/>
              <a:gd name="connsiteX4" fmla="*/ 0 w 8473072"/>
              <a:gd name="connsiteY4" fmla="*/ 3360 h 957858"/>
              <a:gd name="connsiteX0" fmla="*/ 0 w 8473072"/>
              <a:gd name="connsiteY0" fmla="*/ 3360 h 969616"/>
              <a:gd name="connsiteX1" fmla="*/ 8473072 w 8473072"/>
              <a:gd name="connsiteY1" fmla="*/ 0 h 969616"/>
              <a:gd name="connsiteX2" fmla="*/ 5513523 w 8473072"/>
              <a:gd name="connsiteY2" fmla="*/ 969616 h 969616"/>
              <a:gd name="connsiteX3" fmla="*/ 0 w 8473072"/>
              <a:gd name="connsiteY3" fmla="*/ 955402 h 969616"/>
              <a:gd name="connsiteX4" fmla="*/ 0 w 8473072"/>
              <a:gd name="connsiteY4" fmla="*/ 3360 h 969616"/>
              <a:gd name="connsiteX0" fmla="*/ 0 w 8473072"/>
              <a:gd name="connsiteY0" fmla="*/ 3360 h 969616"/>
              <a:gd name="connsiteX1" fmla="*/ 8473072 w 8473072"/>
              <a:gd name="connsiteY1" fmla="*/ 0 h 969616"/>
              <a:gd name="connsiteX2" fmla="*/ 7875733 w 8473072"/>
              <a:gd name="connsiteY2" fmla="*/ 195725 h 969616"/>
              <a:gd name="connsiteX3" fmla="*/ 5513523 w 8473072"/>
              <a:gd name="connsiteY3" fmla="*/ 969616 h 969616"/>
              <a:gd name="connsiteX4" fmla="*/ 0 w 8473072"/>
              <a:gd name="connsiteY4" fmla="*/ 955402 h 969616"/>
              <a:gd name="connsiteX5" fmla="*/ 0 w 8473072"/>
              <a:gd name="connsiteY5" fmla="*/ 3360 h 969616"/>
              <a:gd name="connsiteX0" fmla="*/ 0 w 8473407"/>
              <a:gd name="connsiteY0" fmla="*/ 3360 h 969616"/>
              <a:gd name="connsiteX1" fmla="*/ 8473072 w 8473407"/>
              <a:gd name="connsiteY1" fmla="*/ 0 h 969616"/>
              <a:gd name="connsiteX2" fmla="*/ 8473407 w 8473407"/>
              <a:gd name="connsiteY2" fmla="*/ 330195 h 969616"/>
              <a:gd name="connsiteX3" fmla="*/ 5513523 w 8473407"/>
              <a:gd name="connsiteY3" fmla="*/ 969616 h 969616"/>
              <a:gd name="connsiteX4" fmla="*/ 0 w 8473407"/>
              <a:gd name="connsiteY4" fmla="*/ 955402 h 969616"/>
              <a:gd name="connsiteX5" fmla="*/ 0 w 8473407"/>
              <a:gd name="connsiteY5" fmla="*/ 3360 h 9696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73407" h="969616">
                <a:moveTo>
                  <a:pt x="0" y="3360"/>
                </a:moveTo>
                <a:lnTo>
                  <a:pt x="8473072" y="0"/>
                </a:lnTo>
                <a:cubicBezTo>
                  <a:pt x="8473184" y="110065"/>
                  <a:pt x="8473295" y="220130"/>
                  <a:pt x="8473407" y="330195"/>
                </a:cubicBezTo>
                <a:lnTo>
                  <a:pt x="5513523" y="969616"/>
                </a:lnTo>
                <a:lnTo>
                  <a:pt x="0" y="955402"/>
                </a:lnTo>
                <a:lnTo>
                  <a:pt x="0" y="3360"/>
                </a:lnTo>
                <a:close/>
              </a:path>
            </a:pathLst>
          </a:custGeom>
        </p:spPr>
        <p:txBody>
          <a:bodyPr rIns="1828800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265246" y="1312504"/>
            <a:ext cx="7540970" cy="854788"/>
          </a:xfrm>
          <a:custGeom>
            <a:avLst/>
            <a:gdLst>
              <a:gd name="connsiteX0" fmla="*/ 0 w 3736951"/>
              <a:gd name="connsiteY0" fmla="*/ 0 h 847633"/>
              <a:gd name="connsiteX1" fmla="*/ 3736951 w 3736951"/>
              <a:gd name="connsiteY1" fmla="*/ 0 h 847633"/>
              <a:gd name="connsiteX2" fmla="*/ 3736951 w 3736951"/>
              <a:gd name="connsiteY2" fmla="*/ 847633 h 847633"/>
              <a:gd name="connsiteX3" fmla="*/ 0 w 3736951"/>
              <a:gd name="connsiteY3" fmla="*/ 847633 h 847633"/>
              <a:gd name="connsiteX4" fmla="*/ 0 w 3736951"/>
              <a:gd name="connsiteY4" fmla="*/ 0 h 847633"/>
              <a:gd name="connsiteX0" fmla="*/ 0 w 3736951"/>
              <a:gd name="connsiteY0" fmla="*/ 0 h 847633"/>
              <a:gd name="connsiteX1" fmla="*/ 3736951 w 3736951"/>
              <a:gd name="connsiteY1" fmla="*/ 0 h 847633"/>
              <a:gd name="connsiteX2" fmla="*/ 2188170 w 3736951"/>
              <a:gd name="connsiteY2" fmla="*/ 847633 h 847633"/>
              <a:gd name="connsiteX3" fmla="*/ 0 w 3736951"/>
              <a:gd name="connsiteY3" fmla="*/ 847633 h 847633"/>
              <a:gd name="connsiteX4" fmla="*/ 0 w 3736951"/>
              <a:gd name="connsiteY4" fmla="*/ 0 h 847633"/>
              <a:gd name="connsiteX0" fmla="*/ 0 w 3736951"/>
              <a:gd name="connsiteY0" fmla="*/ 0 h 847633"/>
              <a:gd name="connsiteX1" fmla="*/ 3736951 w 3736951"/>
              <a:gd name="connsiteY1" fmla="*/ 0 h 847633"/>
              <a:gd name="connsiteX2" fmla="*/ 3090466 w 3736951"/>
              <a:gd name="connsiteY2" fmla="*/ 353987 h 847633"/>
              <a:gd name="connsiteX3" fmla="*/ 2188170 w 3736951"/>
              <a:gd name="connsiteY3" fmla="*/ 847633 h 847633"/>
              <a:gd name="connsiteX4" fmla="*/ 0 w 3736951"/>
              <a:gd name="connsiteY4" fmla="*/ 847633 h 847633"/>
              <a:gd name="connsiteX5" fmla="*/ 0 w 3736951"/>
              <a:gd name="connsiteY5" fmla="*/ 0 h 847633"/>
              <a:gd name="connsiteX0" fmla="*/ 0 w 3736951"/>
              <a:gd name="connsiteY0" fmla="*/ 0 h 847633"/>
              <a:gd name="connsiteX1" fmla="*/ 3736951 w 3736951"/>
              <a:gd name="connsiteY1" fmla="*/ 0 h 847633"/>
              <a:gd name="connsiteX2" fmla="*/ 3728564 w 3736951"/>
              <a:gd name="connsiteY2" fmla="*/ 353987 h 847633"/>
              <a:gd name="connsiteX3" fmla="*/ 2188170 w 3736951"/>
              <a:gd name="connsiteY3" fmla="*/ 847633 h 847633"/>
              <a:gd name="connsiteX4" fmla="*/ 0 w 3736951"/>
              <a:gd name="connsiteY4" fmla="*/ 847633 h 847633"/>
              <a:gd name="connsiteX5" fmla="*/ 0 w 3736951"/>
              <a:gd name="connsiteY5" fmla="*/ 0 h 847633"/>
              <a:gd name="connsiteX0" fmla="*/ 0 w 3736951"/>
              <a:gd name="connsiteY0" fmla="*/ 0 h 847633"/>
              <a:gd name="connsiteX1" fmla="*/ 3736951 w 3736951"/>
              <a:gd name="connsiteY1" fmla="*/ 0 h 847633"/>
              <a:gd name="connsiteX2" fmla="*/ 2188170 w 3736951"/>
              <a:gd name="connsiteY2" fmla="*/ 847633 h 847633"/>
              <a:gd name="connsiteX3" fmla="*/ 0 w 3736951"/>
              <a:gd name="connsiteY3" fmla="*/ 847633 h 847633"/>
              <a:gd name="connsiteX4" fmla="*/ 0 w 3736951"/>
              <a:gd name="connsiteY4" fmla="*/ 0 h 847633"/>
              <a:gd name="connsiteX0" fmla="*/ 0 w 3928999"/>
              <a:gd name="connsiteY0" fmla="*/ 0 h 847633"/>
              <a:gd name="connsiteX1" fmla="*/ 3928999 w 3928999"/>
              <a:gd name="connsiteY1" fmla="*/ 0 h 847633"/>
              <a:gd name="connsiteX2" fmla="*/ 2188170 w 3928999"/>
              <a:gd name="connsiteY2" fmla="*/ 847633 h 847633"/>
              <a:gd name="connsiteX3" fmla="*/ 0 w 3928999"/>
              <a:gd name="connsiteY3" fmla="*/ 847633 h 847633"/>
              <a:gd name="connsiteX4" fmla="*/ 0 w 3928999"/>
              <a:gd name="connsiteY4" fmla="*/ 0 h 847633"/>
              <a:gd name="connsiteX0" fmla="*/ 0 w 3928999"/>
              <a:gd name="connsiteY0" fmla="*/ 0 h 853829"/>
              <a:gd name="connsiteX1" fmla="*/ 3928999 w 3928999"/>
              <a:gd name="connsiteY1" fmla="*/ 0 h 853829"/>
              <a:gd name="connsiteX2" fmla="*/ 1779292 w 3928999"/>
              <a:gd name="connsiteY2" fmla="*/ 853829 h 853829"/>
              <a:gd name="connsiteX3" fmla="*/ 0 w 3928999"/>
              <a:gd name="connsiteY3" fmla="*/ 847633 h 853829"/>
              <a:gd name="connsiteX4" fmla="*/ 0 w 3928999"/>
              <a:gd name="connsiteY4" fmla="*/ 0 h 853829"/>
              <a:gd name="connsiteX0" fmla="*/ 0 w 3928999"/>
              <a:gd name="connsiteY0" fmla="*/ 0 h 866219"/>
              <a:gd name="connsiteX1" fmla="*/ 3928999 w 3928999"/>
              <a:gd name="connsiteY1" fmla="*/ 0 h 866219"/>
              <a:gd name="connsiteX2" fmla="*/ 1680170 w 3928999"/>
              <a:gd name="connsiteY2" fmla="*/ 866219 h 866219"/>
              <a:gd name="connsiteX3" fmla="*/ 0 w 3928999"/>
              <a:gd name="connsiteY3" fmla="*/ 847633 h 866219"/>
              <a:gd name="connsiteX4" fmla="*/ 0 w 3928999"/>
              <a:gd name="connsiteY4" fmla="*/ 0 h 866219"/>
              <a:gd name="connsiteX0" fmla="*/ 0 w 3928999"/>
              <a:gd name="connsiteY0" fmla="*/ 0 h 860024"/>
              <a:gd name="connsiteX1" fmla="*/ 3928999 w 3928999"/>
              <a:gd name="connsiteY1" fmla="*/ 0 h 860024"/>
              <a:gd name="connsiteX2" fmla="*/ 1531487 w 3928999"/>
              <a:gd name="connsiteY2" fmla="*/ 860024 h 860024"/>
              <a:gd name="connsiteX3" fmla="*/ 0 w 3928999"/>
              <a:gd name="connsiteY3" fmla="*/ 847633 h 860024"/>
              <a:gd name="connsiteX4" fmla="*/ 0 w 3928999"/>
              <a:gd name="connsiteY4" fmla="*/ 0 h 860024"/>
              <a:gd name="connsiteX0" fmla="*/ 0 w 3928999"/>
              <a:gd name="connsiteY0" fmla="*/ 0 h 860024"/>
              <a:gd name="connsiteX1" fmla="*/ 3928999 w 3928999"/>
              <a:gd name="connsiteY1" fmla="*/ 0 h 860024"/>
              <a:gd name="connsiteX2" fmla="*/ 1333243 w 3928999"/>
              <a:gd name="connsiteY2" fmla="*/ 860024 h 860024"/>
              <a:gd name="connsiteX3" fmla="*/ 0 w 3928999"/>
              <a:gd name="connsiteY3" fmla="*/ 847633 h 860024"/>
              <a:gd name="connsiteX4" fmla="*/ 0 w 3928999"/>
              <a:gd name="connsiteY4" fmla="*/ 0 h 860024"/>
              <a:gd name="connsiteX0" fmla="*/ 0 w 3928999"/>
              <a:gd name="connsiteY0" fmla="*/ 0 h 847633"/>
              <a:gd name="connsiteX1" fmla="*/ 3928999 w 3928999"/>
              <a:gd name="connsiteY1" fmla="*/ 0 h 847633"/>
              <a:gd name="connsiteX2" fmla="*/ 1351828 w 3928999"/>
              <a:gd name="connsiteY2" fmla="*/ 773292 h 847633"/>
              <a:gd name="connsiteX3" fmla="*/ 0 w 3928999"/>
              <a:gd name="connsiteY3" fmla="*/ 847633 h 847633"/>
              <a:gd name="connsiteX4" fmla="*/ 0 w 3928999"/>
              <a:gd name="connsiteY4" fmla="*/ 0 h 847633"/>
              <a:gd name="connsiteX0" fmla="*/ 0 w 3928999"/>
              <a:gd name="connsiteY0" fmla="*/ 0 h 853829"/>
              <a:gd name="connsiteX1" fmla="*/ 3928999 w 3928999"/>
              <a:gd name="connsiteY1" fmla="*/ 0 h 853829"/>
              <a:gd name="connsiteX2" fmla="*/ 1358023 w 3928999"/>
              <a:gd name="connsiteY2" fmla="*/ 853829 h 853829"/>
              <a:gd name="connsiteX3" fmla="*/ 0 w 3928999"/>
              <a:gd name="connsiteY3" fmla="*/ 847633 h 853829"/>
              <a:gd name="connsiteX4" fmla="*/ 0 w 3928999"/>
              <a:gd name="connsiteY4" fmla="*/ 0 h 853829"/>
              <a:gd name="connsiteX0" fmla="*/ 0 w 3809600"/>
              <a:gd name="connsiteY0" fmla="*/ 0 h 853829"/>
              <a:gd name="connsiteX1" fmla="*/ 3809600 w 3809600"/>
              <a:gd name="connsiteY1" fmla="*/ 61511 h 853829"/>
              <a:gd name="connsiteX2" fmla="*/ 1358023 w 3809600"/>
              <a:gd name="connsiteY2" fmla="*/ 853829 h 853829"/>
              <a:gd name="connsiteX3" fmla="*/ 0 w 3809600"/>
              <a:gd name="connsiteY3" fmla="*/ 847633 h 853829"/>
              <a:gd name="connsiteX4" fmla="*/ 0 w 3809600"/>
              <a:gd name="connsiteY4" fmla="*/ 0 h 853829"/>
              <a:gd name="connsiteX0" fmla="*/ 0 w 3860254"/>
              <a:gd name="connsiteY0" fmla="*/ 0 h 853829"/>
              <a:gd name="connsiteX1" fmla="*/ 3860254 w 3860254"/>
              <a:gd name="connsiteY1" fmla="*/ 21710 h 853829"/>
              <a:gd name="connsiteX2" fmla="*/ 1358023 w 3860254"/>
              <a:gd name="connsiteY2" fmla="*/ 853829 h 853829"/>
              <a:gd name="connsiteX3" fmla="*/ 0 w 3860254"/>
              <a:gd name="connsiteY3" fmla="*/ 847633 h 853829"/>
              <a:gd name="connsiteX4" fmla="*/ 0 w 3860254"/>
              <a:gd name="connsiteY4" fmla="*/ 0 h 853829"/>
              <a:gd name="connsiteX0" fmla="*/ 0 w 3872808"/>
              <a:gd name="connsiteY0" fmla="*/ 0 h 853829"/>
              <a:gd name="connsiteX1" fmla="*/ 3872808 w 3872808"/>
              <a:gd name="connsiteY1" fmla="*/ 2222 h 853829"/>
              <a:gd name="connsiteX2" fmla="*/ 1358023 w 3872808"/>
              <a:gd name="connsiteY2" fmla="*/ 853829 h 853829"/>
              <a:gd name="connsiteX3" fmla="*/ 0 w 3872808"/>
              <a:gd name="connsiteY3" fmla="*/ 847633 h 853829"/>
              <a:gd name="connsiteX4" fmla="*/ 0 w 3872808"/>
              <a:gd name="connsiteY4" fmla="*/ 0 h 853829"/>
              <a:gd name="connsiteX0" fmla="*/ 0 w 4444188"/>
              <a:gd name="connsiteY0" fmla="*/ 0 h 853829"/>
              <a:gd name="connsiteX1" fmla="*/ 4444188 w 4444188"/>
              <a:gd name="connsiteY1" fmla="*/ 5581 h 853829"/>
              <a:gd name="connsiteX2" fmla="*/ 1358023 w 4444188"/>
              <a:gd name="connsiteY2" fmla="*/ 853829 h 853829"/>
              <a:gd name="connsiteX3" fmla="*/ 0 w 4444188"/>
              <a:gd name="connsiteY3" fmla="*/ 847633 h 853829"/>
              <a:gd name="connsiteX4" fmla="*/ 0 w 4444188"/>
              <a:gd name="connsiteY4" fmla="*/ 0 h 853829"/>
              <a:gd name="connsiteX0" fmla="*/ 0 w 4444188"/>
              <a:gd name="connsiteY0" fmla="*/ 0 h 857188"/>
              <a:gd name="connsiteX1" fmla="*/ 4444188 w 4444188"/>
              <a:gd name="connsiteY1" fmla="*/ 5581 h 857188"/>
              <a:gd name="connsiteX2" fmla="*/ 1903430 w 4444188"/>
              <a:gd name="connsiteY2" fmla="*/ 857188 h 857188"/>
              <a:gd name="connsiteX3" fmla="*/ 0 w 4444188"/>
              <a:gd name="connsiteY3" fmla="*/ 847633 h 857188"/>
              <a:gd name="connsiteX4" fmla="*/ 0 w 4444188"/>
              <a:gd name="connsiteY4" fmla="*/ 0 h 857188"/>
              <a:gd name="connsiteX0" fmla="*/ 0 w 4444188"/>
              <a:gd name="connsiteY0" fmla="*/ 0 h 847633"/>
              <a:gd name="connsiteX1" fmla="*/ 4444188 w 4444188"/>
              <a:gd name="connsiteY1" fmla="*/ 5581 h 847633"/>
              <a:gd name="connsiteX2" fmla="*/ 1799544 w 4444188"/>
              <a:gd name="connsiteY2" fmla="*/ 789994 h 847633"/>
              <a:gd name="connsiteX3" fmla="*/ 0 w 4444188"/>
              <a:gd name="connsiteY3" fmla="*/ 847633 h 847633"/>
              <a:gd name="connsiteX4" fmla="*/ 0 w 4444188"/>
              <a:gd name="connsiteY4" fmla="*/ 0 h 847633"/>
              <a:gd name="connsiteX0" fmla="*/ 0 w 4444188"/>
              <a:gd name="connsiteY0" fmla="*/ 0 h 850469"/>
              <a:gd name="connsiteX1" fmla="*/ 4444188 w 4444188"/>
              <a:gd name="connsiteY1" fmla="*/ 5581 h 850469"/>
              <a:gd name="connsiteX2" fmla="*/ 1919664 w 4444188"/>
              <a:gd name="connsiteY2" fmla="*/ 850469 h 850469"/>
              <a:gd name="connsiteX3" fmla="*/ 0 w 4444188"/>
              <a:gd name="connsiteY3" fmla="*/ 847633 h 850469"/>
              <a:gd name="connsiteX4" fmla="*/ 0 w 4444188"/>
              <a:gd name="connsiteY4" fmla="*/ 0 h 850469"/>
              <a:gd name="connsiteX0" fmla="*/ 0 w 5465030"/>
              <a:gd name="connsiteY0" fmla="*/ 0 h 850469"/>
              <a:gd name="connsiteX1" fmla="*/ 5465030 w 5465030"/>
              <a:gd name="connsiteY1" fmla="*/ 18540 h 850469"/>
              <a:gd name="connsiteX2" fmla="*/ 1919664 w 5465030"/>
              <a:gd name="connsiteY2" fmla="*/ 850469 h 850469"/>
              <a:gd name="connsiteX3" fmla="*/ 0 w 5465030"/>
              <a:gd name="connsiteY3" fmla="*/ 847633 h 850469"/>
              <a:gd name="connsiteX4" fmla="*/ 0 w 5465030"/>
              <a:gd name="connsiteY4" fmla="*/ 0 h 850469"/>
              <a:gd name="connsiteX0" fmla="*/ 0 w 5465030"/>
              <a:gd name="connsiteY0" fmla="*/ 0 h 854788"/>
              <a:gd name="connsiteX1" fmla="*/ 5465030 w 5465030"/>
              <a:gd name="connsiteY1" fmla="*/ 18540 h 854788"/>
              <a:gd name="connsiteX2" fmla="*/ 1637837 w 5465030"/>
              <a:gd name="connsiteY2" fmla="*/ 854788 h 854788"/>
              <a:gd name="connsiteX3" fmla="*/ 0 w 5465030"/>
              <a:gd name="connsiteY3" fmla="*/ 847633 h 854788"/>
              <a:gd name="connsiteX4" fmla="*/ 0 w 5465030"/>
              <a:gd name="connsiteY4" fmla="*/ 0 h 854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65030" h="854788">
                <a:moveTo>
                  <a:pt x="0" y="0"/>
                </a:moveTo>
                <a:lnTo>
                  <a:pt x="5465030" y="18540"/>
                </a:lnTo>
                <a:lnTo>
                  <a:pt x="1637837" y="854788"/>
                </a:lnTo>
                <a:lnTo>
                  <a:pt x="0" y="847633"/>
                </a:lnTo>
                <a:lnTo>
                  <a:pt x="0" y="0"/>
                </a:lnTo>
                <a:close/>
              </a:path>
            </a:pathLst>
          </a:custGeom>
        </p:spPr>
        <p:txBody>
          <a:bodyPr rIns="1005840">
            <a:normAutofit/>
          </a:bodyPr>
          <a:lstStyle>
            <a:lvl1pPr marL="0" indent="0" algn="l">
              <a:buNone/>
              <a:defRPr sz="200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12"/>
          </p:nvPr>
        </p:nvSpPr>
        <p:spPr>
          <a:xfrm>
            <a:off x="265246" y="2165667"/>
            <a:ext cx="2209310" cy="365125"/>
          </a:xfrm>
          <a:custGeom>
            <a:avLst/>
            <a:gdLst>
              <a:gd name="connsiteX0" fmla="*/ 0 w 2161741"/>
              <a:gd name="connsiteY0" fmla="*/ 0 h 365125"/>
              <a:gd name="connsiteX1" fmla="*/ 2161741 w 2161741"/>
              <a:gd name="connsiteY1" fmla="*/ 0 h 365125"/>
              <a:gd name="connsiteX2" fmla="*/ 2161741 w 2161741"/>
              <a:gd name="connsiteY2" fmla="*/ 365125 h 365125"/>
              <a:gd name="connsiteX3" fmla="*/ 0 w 2161741"/>
              <a:gd name="connsiteY3" fmla="*/ 365125 h 365125"/>
              <a:gd name="connsiteX4" fmla="*/ 0 w 2161741"/>
              <a:gd name="connsiteY4" fmla="*/ 0 h 365125"/>
              <a:gd name="connsiteX0" fmla="*/ 0 w 2161741"/>
              <a:gd name="connsiteY0" fmla="*/ 0 h 365125"/>
              <a:gd name="connsiteX1" fmla="*/ 1362570 w 2161741"/>
              <a:gd name="connsiteY1" fmla="*/ 6195 h 365125"/>
              <a:gd name="connsiteX2" fmla="*/ 2161741 w 2161741"/>
              <a:gd name="connsiteY2" fmla="*/ 365125 h 365125"/>
              <a:gd name="connsiteX3" fmla="*/ 0 w 2161741"/>
              <a:gd name="connsiteY3" fmla="*/ 365125 h 365125"/>
              <a:gd name="connsiteX4" fmla="*/ 0 w 2161741"/>
              <a:gd name="connsiteY4" fmla="*/ 0 h 365125"/>
              <a:gd name="connsiteX0" fmla="*/ 0 w 1362570"/>
              <a:gd name="connsiteY0" fmla="*/ 0 h 371320"/>
              <a:gd name="connsiteX1" fmla="*/ 1362570 w 1362570"/>
              <a:gd name="connsiteY1" fmla="*/ 6195 h 371320"/>
              <a:gd name="connsiteX2" fmla="*/ 321790 w 1362570"/>
              <a:gd name="connsiteY2" fmla="*/ 371320 h 371320"/>
              <a:gd name="connsiteX3" fmla="*/ 0 w 1362570"/>
              <a:gd name="connsiteY3" fmla="*/ 365125 h 371320"/>
              <a:gd name="connsiteX4" fmla="*/ 0 w 1362570"/>
              <a:gd name="connsiteY4" fmla="*/ 0 h 371320"/>
              <a:gd name="connsiteX0" fmla="*/ 0 w 1368765"/>
              <a:gd name="connsiteY0" fmla="*/ 0 h 371320"/>
              <a:gd name="connsiteX1" fmla="*/ 1368765 w 1368765"/>
              <a:gd name="connsiteY1" fmla="*/ 80536 h 371320"/>
              <a:gd name="connsiteX2" fmla="*/ 321790 w 1368765"/>
              <a:gd name="connsiteY2" fmla="*/ 371320 h 371320"/>
              <a:gd name="connsiteX3" fmla="*/ 0 w 1368765"/>
              <a:gd name="connsiteY3" fmla="*/ 365125 h 371320"/>
              <a:gd name="connsiteX4" fmla="*/ 0 w 1368765"/>
              <a:gd name="connsiteY4" fmla="*/ 0 h 371320"/>
              <a:gd name="connsiteX0" fmla="*/ 0 w 1381155"/>
              <a:gd name="connsiteY0" fmla="*/ 0 h 371320"/>
              <a:gd name="connsiteX1" fmla="*/ 1381155 w 1381155"/>
              <a:gd name="connsiteY1" fmla="*/ 6195 h 371320"/>
              <a:gd name="connsiteX2" fmla="*/ 321790 w 1381155"/>
              <a:gd name="connsiteY2" fmla="*/ 371320 h 371320"/>
              <a:gd name="connsiteX3" fmla="*/ 0 w 1381155"/>
              <a:gd name="connsiteY3" fmla="*/ 365125 h 371320"/>
              <a:gd name="connsiteX4" fmla="*/ 0 w 1381155"/>
              <a:gd name="connsiteY4" fmla="*/ 0 h 371320"/>
              <a:gd name="connsiteX0" fmla="*/ 0 w 1381155"/>
              <a:gd name="connsiteY0" fmla="*/ 0 h 365125"/>
              <a:gd name="connsiteX1" fmla="*/ 1381155 w 1381155"/>
              <a:gd name="connsiteY1" fmla="*/ 6195 h 365125"/>
              <a:gd name="connsiteX2" fmla="*/ 340375 w 1381155"/>
              <a:gd name="connsiteY2" fmla="*/ 346540 h 365125"/>
              <a:gd name="connsiteX3" fmla="*/ 0 w 1381155"/>
              <a:gd name="connsiteY3" fmla="*/ 365125 h 365125"/>
              <a:gd name="connsiteX4" fmla="*/ 0 w 1381155"/>
              <a:gd name="connsiteY4" fmla="*/ 0 h 365125"/>
              <a:gd name="connsiteX0" fmla="*/ 0 w 1381155"/>
              <a:gd name="connsiteY0" fmla="*/ 0 h 371320"/>
              <a:gd name="connsiteX1" fmla="*/ 1381155 w 1381155"/>
              <a:gd name="connsiteY1" fmla="*/ 6195 h 371320"/>
              <a:gd name="connsiteX2" fmla="*/ 340375 w 1381155"/>
              <a:gd name="connsiteY2" fmla="*/ 371320 h 371320"/>
              <a:gd name="connsiteX3" fmla="*/ 0 w 1381155"/>
              <a:gd name="connsiteY3" fmla="*/ 365125 h 371320"/>
              <a:gd name="connsiteX4" fmla="*/ 0 w 1381155"/>
              <a:gd name="connsiteY4" fmla="*/ 0 h 371320"/>
              <a:gd name="connsiteX0" fmla="*/ 0 w 1381155"/>
              <a:gd name="connsiteY0" fmla="*/ 0 h 365125"/>
              <a:gd name="connsiteX1" fmla="*/ 1381155 w 1381155"/>
              <a:gd name="connsiteY1" fmla="*/ 6195 h 365125"/>
              <a:gd name="connsiteX2" fmla="*/ 340375 w 1381155"/>
              <a:gd name="connsiteY2" fmla="*/ 352735 h 365125"/>
              <a:gd name="connsiteX3" fmla="*/ 0 w 1381155"/>
              <a:gd name="connsiteY3" fmla="*/ 365125 h 365125"/>
              <a:gd name="connsiteX4" fmla="*/ 0 w 1381155"/>
              <a:gd name="connsiteY4" fmla="*/ 0 h 365125"/>
              <a:gd name="connsiteX0" fmla="*/ 0 w 1381155"/>
              <a:gd name="connsiteY0" fmla="*/ 0 h 370827"/>
              <a:gd name="connsiteX1" fmla="*/ 1381155 w 1381155"/>
              <a:gd name="connsiteY1" fmla="*/ 6195 h 370827"/>
              <a:gd name="connsiteX2" fmla="*/ 336757 w 1381155"/>
              <a:gd name="connsiteY2" fmla="*/ 370827 h 370827"/>
              <a:gd name="connsiteX3" fmla="*/ 0 w 1381155"/>
              <a:gd name="connsiteY3" fmla="*/ 365125 h 370827"/>
              <a:gd name="connsiteX4" fmla="*/ 0 w 1381155"/>
              <a:gd name="connsiteY4" fmla="*/ 0 h 370827"/>
              <a:gd name="connsiteX0" fmla="*/ 0 w 1381155"/>
              <a:gd name="connsiteY0" fmla="*/ 0 h 365125"/>
              <a:gd name="connsiteX1" fmla="*/ 1381155 w 1381155"/>
              <a:gd name="connsiteY1" fmla="*/ 6195 h 365125"/>
              <a:gd name="connsiteX2" fmla="*/ 340463 w 1381155"/>
              <a:gd name="connsiteY2" fmla="*/ 356353 h 365125"/>
              <a:gd name="connsiteX3" fmla="*/ 0 w 1381155"/>
              <a:gd name="connsiteY3" fmla="*/ 365125 h 365125"/>
              <a:gd name="connsiteX4" fmla="*/ 0 w 1381155"/>
              <a:gd name="connsiteY4" fmla="*/ 0 h 365125"/>
              <a:gd name="connsiteX0" fmla="*/ 0 w 1381155"/>
              <a:gd name="connsiteY0" fmla="*/ 0 h 367207"/>
              <a:gd name="connsiteX1" fmla="*/ 1381155 w 1381155"/>
              <a:gd name="connsiteY1" fmla="*/ 6195 h 367207"/>
              <a:gd name="connsiteX2" fmla="*/ 340463 w 1381155"/>
              <a:gd name="connsiteY2" fmla="*/ 367207 h 367207"/>
              <a:gd name="connsiteX3" fmla="*/ 0 w 1381155"/>
              <a:gd name="connsiteY3" fmla="*/ 365125 h 367207"/>
              <a:gd name="connsiteX4" fmla="*/ 0 w 1381155"/>
              <a:gd name="connsiteY4" fmla="*/ 0 h 367207"/>
              <a:gd name="connsiteX0" fmla="*/ 0 w 1444360"/>
              <a:gd name="connsiteY0" fmla="*/ 6798 h 374005"/>
              <a:gd name="connsiteX1" fmla="*/ 1444360 w 1444360"/>
              <a:gd name="connsiteY1" fmla="*/ 0 h 374005"/>
              <a:gd name="connsiteX2" fmla="*/ 340463 w 1444360"/>
              <a:gd name="connsiteY2" fmla="*/ 374005 h 374005"/>
              <a:gd name="connsiteX3" fmla="*/ 0 w 1444360"/>
              <a:gd name="connsiteY3" fmla="*/ 371923 h 374005"/>
              <a:gd name="connsiteX4" fmla="*/ 0 w 1444360"/>
              <a:gd name="connsiteY4" fmla="*/ 6798 h 374005"/>
              <a:gd name="connsiteX0" fmla="*/ 0 w 1397788"/>
              <a:gd name="connsiteY0" fmla="*/ 0 h 367207"/>
              <a:gd name="connsiteX1" fmla="*/ 1397788 w 1397788"/>
              <a:gd name="connsiteY1" fmla="*/ 93894 h 367207"/>
              <a:gd name="connsiteX2" fmla="*/ 340463 w 1397788"/>
              <a:gd name="connsiteY2" fmla="*/ 367207 h 367207"/>
              <a:gd name="connsiteX3" fmla="*/ 0 w 1397788"/>
              <a:gd name="connsiteY3" fmla="*/ 365125 h 367207"/>
              <a:gd name="connsiteX4" fmla="*/ 0 w 1397788"/>
              <a:gd name="connsiteY4" fmla="*/ 0 h 367207"/>
              <a:gd name="connsiteX0" fmla="*/ 0 w 1451014"/>
              <a:gd name="connsiteY0" fmla="*/ 0 h 367207"/>
              <a:gd name="connsiteX1" fmla="*/ 1451014 w 1451014"/>
              <a:gd name="connsiteY1" fmla="*/ 2946 h 367207"/>
              <a:gd name="connsiteX2" fmla="*/ 340463 w 1451014"/>
              <a:gd name="connsiteY2" fmla="*/ 367207 h 367207"/>
              <a:gd name="connsiteX3" fmla="*/ 0 w 1451014"/>
              <a:gd name="connsiteY3" fmla="*/ 365125 h 367207"/>
              <a:gd name="connsiteX4" fmla="*/ 0 w 1451014"/>
              <a:gd name="connsiteY4" fmla="*/ 0 h 367207"/>
              <a:gd name="connsiteX0" fmla="*/ 0 w 1451014"/>
              <a:gd name="connsiteY0" fmla="*/ 0 h 370455"/>
              <a:gd name="connsiteX1" fmla="*/ 1451014 w 1451014"/>
              <a:gd name="connsiteY1" fmla="*/ 2946 h 370455"/>
              <a:gd name="connsiteX2" fmla="*/ 287237 w 1451014"/>
              <a:gd name="connsiteY2" fmla="*/ 370455 h 370455"/>
              <a:gd name="connsiteX3" fmla="*/ 0 w 1451014"/>
              <a:gd name="connsiteY3" fmla="*/ 365125 h 370455"/>
              <a:gd name="connsiteX4" fmla="*/ 0 w 1451014"/>
              <a:gd name="connsiteY4" fmla="*/ 0 h 370455"/>
              <a:gd name="connsiteX0" fmla="*/ 0 w 1846735"/>
              <a:gd name="connsiteY0" fmla="*/ 0 h 370455"/>
              <a:gd name="connsiteX1" fmla="*/ 1846735 w 1846735"/>
              <a:gd name="connsiteY1" fmla="*/ 117176 h 370455"/>
              <a:gd name="connsiteX2" fmla="*/ 287237 w 1846735"/>
              <a:gd name="connsiteY2" fmla="*/ 370455 h 370455"/>
              <a:gd name="connsiteX3" fmla="*/ 0 w 1846735"/>
              <a:gd name="connsiteY3" fmla="*/ 365125 h 370455"/>
              <a:gd name="connsiteX4" fmla="*/ 0 w 1846735"/>
              <a:gd name="connsiteY4" fmla="*/ 0 h 370455"/>
              <a:gd name="connsiteX0" fmla="*/ 0 w 2025670"/>
              <a:gd name="connsiteY0" fmla="*/ 413 h 370868"/>
              <a:gd name="connsiteX1" fmla="*/ 2025670 w 2025670"/>
              <a:gd name="connsiteY1" fmla="*/ 0 h 370868"/>
              <a:gd name="connsiteX2" fmla="*/ 287237 w 2025670"/>
              <a:gd name="connsiteY2" fmla="*/ 370868 h 370868"/>
              <a:gd name="connsiteX3" fmla="*/ 0 w 2025670"/>
              <a:gd name="connsiteY3" fmla="*/ 365538 h 370868"/>
              <a:gd name="connsiteX4" fmla="*/ 0 w 2025670"/>
              <a:gd name="connsiteY4" fmla="*/ 413 h 370868"/>
              <a:gd name="connsiteX0" fmla="*/ 0 w 2025670"/>
              <a:gd name="connsiteY0" fmla="*/ 413 h 374227"/>
              <a:gd name="connsiteX1" fmla="*/ 2025670 w 2025670"/>
              <a:gd name="connsiteY1" fmla="*/ 0 h 374227"/>
              <a:gd name="connsiteX2" fmla="*/ 844689 w 2025670"/>
              <a:gd name="connsiteY2" fmla="*/ 374227 h 374227"/>
              <a:gd name="connsiteX3" fmla="*/ 0 w 2025670"/>
              <a:gd name="connsiteY3" fmla="*/ 365538 h 374227"/>
              <a:gd name="connsiteX4" fmla="*/ 0 w 2025670"/>
              <a:gd name="connsiteY4" fmla="*/ 413 h 374227"/>
              <a:gd name="connsiteX0" fmla="*/ 0 w 1697078"/>
              <a:gd name="connsiteY0" fmla="*/ 0 h 373814"/>
              <a:gd name="connsiteX1" fmla="*/ 1697078 w 1697078"/>
              <a:gd name="connsiteY1" fmla="*/ 8226 h 373814"/>
              <a:gd name="connsiteX2" fmla="*/ 844689 w 1697078"/>
              <a:gd name="connsiteY2" fmla="*/ 373814 h 373814"/>
              <a:gd name="connsiteX3" fmla="*/ 0 w 1697078"/>
              <a:gd name="connsiteY3" fmla="*/ 365125 h 373814"/>
              <a:gd name="connsiteX4" fmla="*/ 0 w 1697078"/>
              <a:gd name="connsiteY4" fmla="*/ 0 h 373814"/>
              <a:gd name="connsiteX0" fmla="*/ 0 w 1697078"/>
              <a:gd name="connsiteY0" fmla="*/ 0 h 365125"/>
              <a:gd name="connsiteX1" fmla="*/ 1697078 w 1697078"/>
              <a:gd name="connsiteY1" fmla="*/ 8226 h 365125"/>
              <a:gd name="connsiteX2" fmla="*/ 864604 w 1697078"/>
              <a:gd name="connsiteY2" fmla="*/ 296060 h 365125"/>
              <a:gd name="connsiteX3" fmla="*/ 0 w 1697078"/>
              <a:gd name="connsiteY3" fmla="*/ 365125 h 365125"/>
              <a:gd name="connsiteX4" fmla="*/ 0 w 1697078"/>
              <a:gd name="connsiteY4" fmla="*/ 0 h 365125"/>
              <a:gd name="connsiteX0" fmla="*/ 0 w 1697078"/>
              <a:gd name="connsiteY0" fmla="*/ 0 h 412691"/>
              <a:gd name="connsiteX1" fmla="*/ 1697078 w 1697078"/>
              <a:gd name="connsiteY1" fmla="*/ 8226 h 412691"/>
              <a:gd name="connsiteX2" fmla="*/ 326909 w 1697078"/>
              <a:gd name="connsiteY2" fmla="*/ 412691 h 412691"/>
              <a:gd name="connsiteX3" fmla="*/ 0 w 1697078"/>
              <a:gd name="connsiteY3" fmla="*/ 365125 h 412691"/>
              <a:gd name="connsiteX4" fmla="*/ 0 w 1697078"/>
              <a:gd name="connsiteY4" fmla="*/ 0 h 412691"/>
              <a:gd name="connsiteX0" fmla="*/ 0 w 1697078"/>
              <a:gd name="connsiteY0" fmla="*/ 0 h 365125"/>
              <a:gd name="connsiteX1" fmla="*/ 1697078 w 1697078"/>
              <a:gd name="connsiteY1" fmla="*/ 8226 h 365125"/>
              <a:gd name="connsiteX2" fmla="*/ 0 w 1697078"/>
              <a:gd name="connsiteY2" fmla="*/ 365125 h 365125"/>
              <a:gd name="connsiteX3" fmla="*/ 0 w 1697078"/>
              <a:gd name="connsiteY3" fmla="*/ 0 h 365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97078" h="365125">
                <a:moveTo>
                  <a:pt x="0" y="0"/>
                </a:moveTo>
                <a:lnTo>
                  <a:pt x="1697078" y="8226"/>
                </a:lnTo>
                <a:lnTo>
                  <a:pt x="0" y="365125"/>
                </a:lnTo>
                <a:lnTo>
                  <a:pt x="0" y="0"/>
                </a:lnTo>
                <a:close/>
              </a:path>
            </a:pathLst>
          </a:custGeom>
        </p:spPr>
        <p:txBody>
          <a:bodyPr lIns="0" tIns="0" rIns="0" bIns="0">
            <a:normAutofit/>
          </a:bodyPr>
          <a:lstStyle>
            <a:lvl1pPr>
              <a:defRPr sz="1000">
                <a:solidFill>
                  <a:srgbClr val="FFFFFF"/>
                </a:solidFill>
                <a:latin typeface="+mn-lt"/>
                <a:cs typeface="Arial"/>
              </a:defRPr>
            </a:lvl1pPr>
          </a:lstStyle>
          <a:p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87686" y="6129358"/>
            <a:ext cx="647072" cy="501631"/>
          </a:xfrm>
          <a:prstGeom prst="rect">
            <a:avLst/>
          </a:prstGeom>
        </p:spPr>
      </p:pic>
      <p:sp>
        <p:nvSpPr>
          <p:cNvPr id="17" name="Isosceles Triangle 16"/>
          <p:cNvSpPr/>
          <p:nvPr userDrawn="1"/>
        </p:nvSpPr>
        <p:spPr>
          <a:xfrm rot="10313277">
            <a:off x="65413" y="6012270"/>
            <a:ext cx="12325668" cy="1801133"/>
          </a:xfrm>
          <a:prstGeom prst="triangle">
            <a:avLst>
              <a:gd name="adj" fmla="val 2117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07734" y="6281758"/>
            <a:ext cx="647072" cy="5016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812900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2883" y="2947135"/>
            <a:ext cx="8457972" cy="984333"/>
          </a:xfrm>
        </p:spPr>
        <p:txBody>
          <a:bodyPr anchor="b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12883" y="3999203"/>
            <a:ext cx="8457972" cy="640767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12883" y="4779107"/>
            <a:ext cx="3303862" cy="3651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1000">
                <a:solidFill>
                  <a:schemeClr val="tx1"/>
                </a:solidFill>
                <a:latin typeface="+mn-lt"/>
                <a:cs typeface="Arial"/>
              </a:defRPr>
            </a:lvl1pPr>
          </a:lstStyle>
          <a:p>
            <a:endParaRPr lang="en-US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38F46E6-B30F-4BB4-8F82-08AD4C6EA8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74032" y="5851212"/>
            <a:ext cx="1060725" cy="822309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0737FA42-C06C-4BE0-AE35-B6EF2728CBF5}"/>
              </a:ext>
            </a:extLst>
          </p:cNvPr>
          <p:cNvSpPr/>
          <p:nvPr userDrawn="1"/>
        </p:nvSpPr>
        <p:spPr>
          <a:xfrm>
            <a:off x="8485838" y="1"/>
            <a:ext cx="3706162" cy="48212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3" name="Rectangle 3">
            <a:extLst>
              <a:ext uri="{FF2B5EF4-FFF2-40B4-BE49-F238E27FC236}">
                <a16:creationId xmlns:a16="http://schemas.microsoft.com/office/drawing/2014/main" id="{9FCFEBA5-E832-4F45-9A7E-E488F4C2670A}"/>
              </a:ext>
            </a:extLst>
          </p:cNvPr>
          <p:cNvSpPr/>
          <p:nvPr userDrawn="1"/>
        </p:nvSpPr>
        <p:spPr>
          <a:xfrm>
            <a:off x="0" y="316"/>
            <a:ext cx="9077242" cy="482776"/>
          </a:xfrm>
          <a:custGeom>
            <a:avLst/>
            <a:gdLst>
              <a:gd name="connsiteX0" fmla="*/ 0 w 6709251"/>
              <a:gd name="connsiteY0" fmla="*/ 0 h 182880"/>
              <a:gd name="connsiteX1" fmla="*/ 6709251 w 6709251"/>
              <a:gd name="connsiteY1" fmla="*/ 0 h 182880"/>
              <a:gd name="connsiteX2" fmla="*/ 6709251 w 6709251"/>
              <a:gd name="connsiteY2" fmla="*/ 182880 h 182880"/>
              <a:gd name="connsiteX3" fmla="*/ 0 w 6709251"/>
              <a:gd name="connsiteY3" fmla="*/ 182880 h 182880"/>
              <a:gd name="connsiteX4" fmla="*/ 0 w 6709251"/>
              <a:gd name="connsiteY4" fmla="*/ 0 h 182880"/>
              <a:gd name="connsiteX0" fmla="*/ 0 w 7073510"/>
              <a:gd name="connsiteY0" fmla="*/ 0 h 182880"/>
              <a:gd name="connsiteX1" fmla="*/ 7073510 w 7073510"/>
              <a:gd name="connsiteY1" fmla="*/ 0 h 182880"/>
              <a:gd name="connsiteX2" fmla="*/ 6709251 w 7073510"/>
              <a:gd name="connsiteY2" fmla="*/ 182880 h 182880"/>
              <a:gd name="connsiteX3" fmla="*/ 0 w 7073510"/>
              <a:gd name="connsiteY3" fmla="*/ 182880 h 182880"/>
              <a:gd name="connsiteX4" fmla="*/ 0 w 7073510"/>
              <a:gd name="connsiteY4" fmla="*/ 0 h 182880"/>
              <a:gd name="connsiteX0" fmla="*/ 0 w 8678702"/>
              <a:gd name="connsiteY0" fmla="*/ 0 h 182880"/>
              <a:gd name="connsiteX1" fmla="*/ 8678702 w 8678702"/>
              <a:gd name="connsiteY1" fmla="*/ 0 h 182880"/>
              <a:gd name="connsiteX2" fmla="*/ 8314443 w 8678702"/>
              <a:gd name="connsiteY2" fmla="*/ 182880 h 182880"/>
              <a:gd name="connsiteX3" fmla="*/ 1605192 w 8678702"/>
              <a:gd name="connsiteY3" fmla="*/ 182880 h 182880"/>
              <a:gd name="connsiteX4" fmla="*/ 0 w 8678702"/>
              <a:gd name="connsiteY4" fmla="*/ 0 h 182880"/>
              <a:gd name="connsiteX0" fmla="*/ 0 w 8678702"/>
              <a:gd name="connsiteY0" fmla="*/ 0 h 186220"/>
              <a:gd name="connsiteX1" fmla="*/ 8678702 w 8678702"/>
              <a:gd name="connsiteY1" fmla="*/ 0 h 186220"/>
              <a:gd name="connsiteX2" fmla="*/ 8314443 w 8678702"/>
              <a:gd name="connsiteY2" fmla="*/ 182880 h 186220"/>
              <a:gd name="connsiteX3" fmla="*/ 6661 w 8678702"/>
              <a:gd name="connsiteY3" fmla="*/ 186220 h 186220"/>
              <a:gd name="connsiteX4" fmla="*/ 0 w 8678702"/>
              <a:gd name="connsiteY4" fmla="*/ 0 h 186220"/>
              <a:gd name="connsiteX0" fmla="*/ 133211 w 8672041"/>
              <a:gd name="connsiteY0" fmla="*/ 50097 h 186220"/>
              <a:gd name="connsiteX1" fmla="*/ 8672041 w 8672041"/>
              <a:gd name="connsiteY1" fmla="*/ 0 h 186220"/>
              <a:gd name="connsiteX2" fmla="*/ 8307782 w 8672041"/>
              <a:gd name="connsiteY2" fmla="*/ 182880 h 186220"/>
              <a:gd name="connsiteX3" fmla="*/ 0 w 8672041"/>
              <a:gd name="connsiteY3" fmla="*/ 186220 h 186220"/>
              <a:gd name="connsiteX4" fmla="*/ 133211 w 8672041"/>
              <a:gd name="connsiteY4" fmla="*/ 50097 h 186220"/>
              <a:gd name="connsiteX0" fmla="*/ 3330 w 8672041"/>
              <a:gd name="connsiteY0" fmla="*/ 3340 h 186220"/>
              <a:gd name="connsiteX1" fmla="*/ 8672041 w 8672041"/>
              <a:gd name="connsiteY1" fmla="*/ 0 h 186220"/>
              <a:gd name="connsiteX2" fmla="*/ 8307782 w 8672041"/>
              <a:gd name="connsiteY2" fmla="*/ 182880 h 186220"/>
              <a:gd name="connsiteX3" fmla="*/ 0 w 8672041"/>
              <a:gd name="connsiteY3" fmla="*/ 186220 h 186220"/>
              <a:gd name="connsiteX4" fmla="*/ 3330 w 8672041"/>
              <a:gd name="connsiteY4" fmla="*/ 3340 h 186220"/>
              <a:gd name="connsiteX0" fmla="*/ 3330 w 8672041"/>
              <a:gd name="connsiteY0" fmla="*/ 3340 h 186220"/>
              <a:gd name="connsiteX1" fmla="*/ 8672041 w 8672041"/>
              <a:gd name="connsiteY1" fmla="*/ 0 h 186220"/>
              <a:gd name="connsiteX2" fmla="*/ 8307782 w 8672041"/>
              <a:gd name="connsiteY2" fmla="*/ 182880 h 186220"/>
              <a:gd name="connsiteX3" fmla="*/ 0 w 8672041"/>
              <a:gd name="connsiteY3" fmla="*/ 186220 h 186220"/>
              <a:gd name="connsiteX4" fmla="*/ 3330 w 8672041"/>
              <a:gd name="connsiteY4" fmla="*/ 3340 h 186220"/>
              <a:gd name="connsiteX0" fmla="*/ 0 w 8674979"/>
              <a:gd name="connsiteY0" fmla="*/ 3340 h 186220"/>
              <a:gd name="connsiteX1" fmla="*/ 8674979 w 8674979"/>
              <a:gd name="connsiteY1" fmla="*/ 0 h 186220"/>
              <a:gd name="connsiteX2" fmla="*/ 8310720 w 8674979"/>
              <a:gd name="connsiteY2" fmla="*/ 182880 h 186220"/>
              <a:gd name="connsiteX3" fmla="*/ 2938 w 8674979"/>
              <a:gd name="connsiteY3" fmla="*/ 186220 h 186220"/>
              <a:gd name="connsiteX4" fmla="*/ 0 w 8674979"/>
              <a:gd name="connsiteY4" fmla="*/ 3340 h 186220"/>
              <a:gd name="connsiteX0" fmla="*/ 0 w 8674979"/>
              <a:gd name="connsiteY0" fmla="*/ 0 h 189166"/>
              <a:gd name="connsiteX1" fmla="*/ 8674979 w 8674979"/>
              <a:gd name="connsiteY1" fmla="*/ 2946 h 189166"/>
              <a:gd name="connsiteX2" fmla="*/ 8310720 w 8674979"/>
              <a:gd name="connsiteY2" fmla="*/ 185826 h 189166"/>
              <a:gd name="connsiteX3" fmla="*/ 2938 w 8674979"/>
              <a:gd name="connsiteY3" fmla="*/ 189166 h 189166"/>
              <a:gd name="connsiteX4" fmla="*/ 0 w 8674979"/>
              <a:gd name="connsiteY4" fmla="*/ 0 h 189166"/>
              <a:gd name="connsiteX0" fmla="*/ 0 w 8674979"/>
              <a:gd name="connsiteY0" fmla="*/ 444 h 189610"/>
              <a:gd name="connsiteX1" fmla="*/ 8674979 w 8674979"/>
              <a:gd name="connsiteY1" fmla="*/ 0 h 189610"/>
              <a:gd name="connsiteX2" fmla="*/ 8310720 w 8674979"/>
              <a:gd name="connsiteY2" fmla="*/ 186270 h 189610"/>
              <a:gd name="connsiteX3" fmla="*/ 2938 w 8674979"/>
              <a:gd name="connsiteY3" fmla="*/ 189610 h 189610"/>
              <a:gd name="connsiteX4" fmla="*/ 0 w 8674979"/>
              <a:gd name="connsiteY4" fmla="*/ 444 h 189610"/>
              <a:gd name="connsiteX0" fmla="*/ 0 w 8674979"/>
              <a:gd name="connsiteY0" fmla="*/ 444 h 189660"/>
              <a:gd name="connsiteX1" fmla="*/ 8674979 w 8674979"/>
              <a:gd name="connsiteY1" fmla="*/ 0 h 189660"/>
              <a:gd name="connsiteX2" fmla="*/ 8310720 w 8674979"/>
              <a:gd name="connsiteY2" fmla="*/ 189660 h 189660"/>
              <a:gd name="connsiteX3" fmla="*/ 2938 w 8674979"/>
              <a:gd name="connsiteY3" fmla="*/ 189610 h 189660"/>
              <a:gd name="connsiteX4" fmla="*/ 0 w 8674979"/>
              <a:gd name="connsiteY4" fmla="*/ 444 h 189660"/>
              <a:gd name="connsiteX0" fmla="*/ 0 w 10119577"/>
              <a:gd name="connsiteY0" fmla="*/ 0 h 189216"/>
              <a:gd name="connsiteX1" fmla="*/ 10119577 w 10119577"/>
              <a:gd name="connsiteY1" fmla="*/ 686 h 189216"/>
              <a:gd name="connsiteX2" fmla="*/ 8310720 w 10119577"/>
              <a:gd name="connsiteY2" fmla="*/ 189216 h 189216"/>
              <a:gd name="connsiteX3" fmla="*/ 2938 w 10119577"/>
              <a:gd name="connsiteY3" fmla="*/ 189166 h 189216"/>
              <a:gd name="connsiteX4" fmla="*/ 0 w 10119577"/>
              <a:gd name="connsiteY4" fmla="*/ 0 h 189216"/>
              <a:gd name="connsiteX0" fmla="*/ 0 w 10119577"/>
              <a:gd name="connsiteY0" fmla="*/ 173 h 189389"/>
              <a:gd name="connsiteX1" fmla="*/ 10119577 w 10119577"/>
              <a:gd name="connsiteY1" fmla="*/ 0 h 189389"/>
              <a:gd name="connsiteX2" fmla="*/ 8310720 w 10119577"/>
              <a:gd name="connsiteY2" fmla="*/ 189389 h 189389"/>
              <a:gd name="connsiteX3" fmla="*/ 2938 w 10119577"/>
              <a:gd name="connsiteY3" fmla="*/ 189339 h 189389"/>
              <a:gd name="connsiteX4" fmla="*/ 0 w 10119577"/>
              <a:gd name="connsiteY4" fmla="*/ 173 h 189389"/>
              <a:gd name="connsiteX0" fmla="*/ 10004 w 10129581"/>
              <a:gd name="connsiteY0" fmla="*/ 173 h 189389"/>
              <a:gd name="connsiteX1" fmla="*/ 10129581 w 10129581"/>
              <a:gd name="connsiteY1" fmla="*/ 0 h 189389"/>
              <a:gd name="connsiteX2" fmla="*/ 8320724 w 10129581"/>
              <a:gd name="connsiteY2" fmla="*/ 189389 h 189389"/>
              <a:gd name="connsiteX3" fmla="*/ 57 w 10129581"/>
              <a:gd name="connsiteY3" fmla="*/ 189339 h 189389"/>
              <a:gd name="connsiteX4" fmla="*/ 10004 w 10129581"/>
              <a:gd name="connsiteY4" fmla="*/ 173 h 189389"/>
              <a:gd name="connsiteX0" fmla="*/ 9947 w 10129524"/>
              <a:gd name="connsiteY0" fmla="*/ 173 h 189389"/>
              <a:gd name="connsiteX1" fmla="*/ 10129524 w 10129524"/>
              <a:gd name="connsiteY1" fmla="*/ 0 h 189389"/>
              <a:gd name="connsiteX2" fmla="*/ 8320667 w 10129524"/>
              <a:gd name="connsiteY2" fmla="*/ 189389 h 189389"/>
              <a:gd name="connsiteX3" fmla="*/ 0 w 10129524"/>
              <a:gd name="connsiteY3" fmla="*/ 189339 h 189389"/>
              <a:gd name="connsiteX4" fmla="*/ 9947 w 10129524"/>
              <a:gd name="connsiteY4" fmla="*/ 173 h 189389"/>
              <a:gd name="connsiteX0" fmla="*/ 9947 w 10129524"/>
              <a:gd name="connsiteY0" fmla="*/ 173 h 189389"/>
              <a:gd name="connsiteX1" fmla="*/ 10129524 w 10129524"/>
              <a:gd name="connsiteY1" fmla="*/ 0 h 189389"/>
              <a:gd name="connsiteX2" fmla="*/ 8320667 w 10129524"/>
              <a:gd name="connsiteY2" fmla="*/ 189389 h 189389"/>
              <a:gd name="connsiteX3" fmla="*/ 0 w 10129524"/>
              <a:gd name="connsiteY3" fmla="*/ 189339 h 189389"/>
              <a:gd name="connsiteX4" fmla="*/ 9947 w 10129524"/>
              <a:gd name="connsiteY4" fmla="*/ 173 h 189389"/>
              <a:gd name="connsiteX0" fmla="*/ 0 w 10119577"/>
              <a:gd name="connsiteY0" fmla="*/ 173 h 189389"/>
              <a:gd name="connsiteX1" fmla="*/ 10119577 w 10119577"/>
              <a:gd name="connsiteY1" fmla="*/ 0 h 189389"/>
              <a:gd name="connsiteX2" fmla="*/ 8310720 w 10119577"/>
              <a:gd name="connsiteY2" fmla="*/ 189389 h 189389"/>
              <a:gd name="connsiteX3" fmla="*/ 15823 w 10119577"/>
              <a:gd name="connsiteY3" fmla="*/ 189339 h 189389"/>
              <a:gd name="connsiteX4" fmla="*/ 0 w 10119577"/>
              <a:gd name="connsiteY4" fmla="*/ 173 h 189389"/>
              <a:gd name="connsiteX0" fmla="*/ 0 w 10119577"/>
              <a:gd name="connsiteY0" fmla="*/ 173 h 189389"/>
              <a:gd name="connsiteX1" fmla="*/ 10119577 w 10119577"/>
              <a:gd name="connsiteY1" fmla="*/ 0 h 189389"/>
              <a:gd name="connsiteX2" fmla="*/ 8310720 w 10119577"/>
              <a:gd name="connsiteY2" fmla="*/ 189389 h 189389"/>
              <a:gd name="connsiteX3" fmla="*/ 2938 w 10119577"/>
              <a:gd name="connsiteY3" fmla="*/ 189339 h 189389"/>
              <a:gd name="connsiteX4" fmla="*/ 0 w 10119577"/>
              <a:gd name="connsiteY4" fmla="*/ 173 h 189389"/>
              <a:gd name="connsiteX0" fmla="*/ 0 w 21540281"/>
              <a:gd name="connsiteY0" fmla="*/ 9120 h 189389"/>
              <a:gd name="connsiteX1" fmla="*/ 21540281 w 21540281"/>
              <a:gd name="connsiteY1" fmla="*/ 0 h 189389"/>
              <a:gd name="connsiteX2" fmla="*/ 19731424 w 21540281"/>
              <a:gd name="connsiteY2" fmla="*/ 189389 h 189389"/>
              <a:gd name="connsiteX3" fmla="*/ 11423642 w 21540281"/>
              <a:gd name="connsiteY3" fmla="*/ 189339 h 189389"/>
              <a:gd name="connsiteX4" fmla="*/ 0 w 21540281"/>
              <a:gd name="connsiteY4" fmla="*/ 9120 h 189389"/>
              <a:gd name="connsiteX0" fmla="*/ 0 w 21540281"/>
              <a:gd name="connsiteY0" fmla="*/ 9120 h 192321"/>
              <a:gd name="connsiteX1" fmla="*/ 21540281 w 21540281"/>
              <a:gd name="connsiteY1" fmla="*/ 0 h 192321"/>
              <a:gd name="connsiteX2" fmla="*/ 19731424 w 21540281"/>
              <a:gd name="connsiteY2" fmla="*/ 189389 h 192321"/>
              <a:gd name="connsiteX3" fmla="*/ 2942 w 21540281"/>
              <a:gd name="connsiteY3" fmla="*/ 192321 h 192321"/>
              <a:gd name="connsiteX4" fmla="*/ 0 w 21540281"/>
              <a:gd name="connsiteY4" fmla="*/ 9120 h 192321"/>
              <a:gd name="connsiteX0" fmla="*/ 0 w 21540281"/>
              <a:gd name="connsiteY0" fmla="*/ 6138 h 192321"/>
              <a:gd name="connsiteX1" fmla="*/ 21540281 w 21540281"/>
              <a:gd name="connsiteY1" fmla="*/ 0 h 192321"/>
              <a:gd name="connsiteX2" fmla="*/ 19731424 w 21540281"/>
              <a:gd name="connsiteY2" fmla="*/ 189389 h 192321"/>
              <a:gd name="connsiteX3" fmla="*/ 2942 w 21540281"/>
              <a:gd name="connsiteY3" fmla="*/ 192321 h 192321"/>
              <a:gd name="connsiteX4" fmla="*/ 0 w 21540281"/>
              <a:gd name="connsiteY4" fmla="*/ 6138 h 192321"/>
              <a:gd name="connsiteX0" fmla="*/ 2579162 w 24119443"/>
              <a:gd name="connsiteY0" fmla="*/ 6138 h 192321"/>
              <a:gd name="connsiteX1" fmla="*/ 24119443 w 24119443"/>
              <a:gd name="connsiteY1" fmla="*/ 0 h 192321"/>
              <a:gd name="connsiteX2" fmla="*/ 22310586 w 24119443"/>
              <a:gd name="connsiteY2" fmla="*/ 189389 h 192321"/>
              <a:gd name="connsiteX3" fmla="*/ 2582104 w 24119443"/>
              <a:gd name="connsiteY3" fmla="*/ 192321 h 192321"/>
              <a:gd name="connsiteX4" fmla="*/ 2579162 w 24119443"/>
              <a:gd name="connsiteY4" fmla="*/ 6138 h 192321"/>
              <a:gd name="connsiteX0" fmla="*/ 1459081 w 22999362"/>
              <a:gd name="connsiteY0" fmla="*/ 6138 h 192321"/>
              <a:gd name="connsiteX1" fmla="*/ 22999362 w 22999362"/>
              <a:gd name="connsiteY1" fmla="*/ 0 h 192321"/>
              <a:gd name="connsiteX2" fmla="*/ 21190505 w 22999362"/>
              <a:gd name="connsiteY2" fmla="*/ 189389 h 192321"/>
              <a:gd name="connsiteX3" fmla="*/ 1462023 w 22999362"/>
              <a:gd name="connsiteY3" fmla="*/ 192321 h 192321"/>
              <a:gd name="connsiteX4" fmla="*/ 1459081 w 22999362"/>
              <a:gd name="connsiteY4" fmla="*/ 6138 h 192321"/>
              <a:gd name="connsiteX0" fmla="*/ 2579108 w 24119389"/>
              <a:gd name="connsiteY0" fmla="*/ 6138 h 192321"/>
              <a:gd name="connsiteX1" fmla="*/ 24119389 w 24119389"/>
              <a:gd name="connsiteY1" fmla="*/ 0 h 192321"/>
              <a:gd name="connsiteX2" fmla="*/ 22310532 w 24119389"/>
              <a:gd name="connsiteY2" fmla="*/ 189389 h 192321"/>
              <a:gd name="connsiteX3" fmla="*/ 2582050 w 24119389"/>
              <a:gd name="connsiteY3" fmla="*/ 192321 h 192321"/>
              <a:gd name="connsiteX4" fmla="*/ 2579108 w 24119389"/>
              <a:gd name="connsiteY4" fmla="*/ 6138 h 192321"/>
              <a:gd name="connsiteX0" fmla="*/ 1594923 w 23135204"/>
              <a:gd name="connsiteY0" fmla="*/ 6138 h 192321"/>
              <a:gd name="connsiteX1" fmla="*/ 23135204 w 23135204"/>
              <a:gd name="connsiteY1" fmla="*/ 0 h 192321"/>
              <a:gd name="connsiteX2" fmla="*/ 21326347 w 23135204"/>
              <a:gd name="connsiteY2" fmla="*/ 189389 h 192321"/>
              <a:gd name="connsiteX3" fmla="*/ 1597865 w 23135204"/>
              <a:gd name="connsiteY3" fmla="*/ 192321 h 192321"/>
              <a:gd name="connsiteX4" fmla="*/ 1594923 w 23135204"/>
              <a:gd name="connsiteY4" fmla="*/ 6138 h 192321"/>
              <a:gd name="connsiteX0" fmla="*/ 1 w 21540282"/>
              <a:gd name="connsiteY0" fmla="*/ 6138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3 w 21540282"/>
              <a:gd name="connsiteY3" fmla="*/ 192321 h 192321"/>
              <a:gd name="connsiteX4" fmla="*/ 1 w 21540282"/>
              <a:gd name="connsiteY4" fmla="*/ 6138 h 192321"/>
              <a:gd name="connsiteX0" fmla="*/ 0 w 21540282"/>
              <a:gd name="connsiteY0" fmla="*/ 3156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3 w 21540282"/>
              <a:gd name="connsiteY3" fmla="*/ 192321 h 192321"/>
              <a:gd name="connsiteX4" fmla="*/ 0 w 21540282"/>
              <a:gd name="connsiteY4" fmla="*/ 3156 h 192321"/>
              <a:gd name="connsiteX0" fmla="*/ 0 w 21540282"/>
              <a:gd name="connsiteY0" fmla="*/ 347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3 w 21540282"/>
              <a:gd name="connsiteY3" fmla="*/ 192321 h 192321"/>
              <a:gd name="connsiteX4" fmla="*/ 0 w 21540282"/>
              <a:gd name="connsiteY4" fmla="*/ 347 h 192321"/>
              <a:gd name="connsiteX0" fmla="*/ 0 w 21540282"/>
              <a:gd name="connsiteY0" fmla="*/ 347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2 w 21540282"/>
              <a:gd name="connsiteY3" fmla="*/ 192321 h 192321"/>
              <a:gd name="connsiteX4" fmla="*/ 0 w 21540282"/>
              <a:gd name="connsiteY4" fmla="*/ 347 h 192321"/>
              <a:gd name="connsiteX0" fmla="*/ 0 w 21540282"/>
              <a:gd name="connsiteY0" fmla="*/ 347 h 189512"/>
              <a:gd name="connsiteX1" fmla="*/ 21540282 w 21540282"/>
              <a:gd name="connsiteY1" fmla="*/ 0 h 189512"/>
              <a:gd name="connsiteX2" fmla="*/ 19731425 w 21540282"/>
              <a:gd name="connsiteY2" fmla="*/ 189389 h 189512"/>
              <a:gd name="connsiteX3" fmla="*/ 2942 w 21540282"/>
              <a:gd name="connsiteY3" fmla="*/ 189512 h 189512"/>
              <a:gd name="connsiteX4" fmla="*/ 0 w 21540282"/>
              <a:gd name="connsiteY4" fmla="*/ 347 h 189512"/>
              <a:gd name="connsiteX0" fmla="*/ 0 w 20903501"/>
              <a:gd name="connsiteY0" fmla="*/ 347 h 189512"/>
              <a:gd name="connsiteX1" fmla="*/ 20903501 w 20903501"/>
              <a:gd name="connsiteY1" fmla="*/ 0 h 189512"/>
              <a:gd name="connsiteX2" fmla="*/ 19731425 w 20903501"/>
              <a:gd name="connsiteY2" fmla="*/ 189389 h 189512"/>
              <a:gd name="connsiteX3" fmla="*/ 2942 w 20903501"/>
              <a:gd name="connsiteY3" fmla="*/ 189512 h 189512"/>
              <a:gd name="connsiteX4" fmla="*/ 0 w 20903501"/>
              <a:gd name="connsiteY4" fmla="*/ 347 h 189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903501" h="189512">
                <a:moveTo>
                  <a:pt x="0" y="347"/>
                </a:moveTo>
                <a:lnTo>
                  <a:pt x="20903501" y="0"/>
                </a:lnTo>
                <a:lnTo>
                  <a:pt x="19731425" y="189389"/>
                </a:lnTo>
                <a:lnTo>
                  <a:pt x="2942" y="189512"/>
                </a:lnTo>
                <a:cubicBezTo>
                  <a:pt x="1961" y="125521"/>
                  <a:pt x="981" y="64338"/>
                  <a:pt x="0" y="34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63811" y="6496407"/>
            <a:ext cx="9460550" cy="17222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>
              <a:defRPr sz="1000">
                <a:solidFill>
                  <a:schemeClr val="tx2"/>
                </a:solidFill>
                <a:latin typeface="+mn-lt"/>
                <a:cs typeface="Arial"/>
              </a:defRPr>
            </a:lvl1pPr>
          </a:lstStyle>
          <a:p>
            <a:pPr algn="ctr"/>
            <a:r>
              <a:rPr lang="en-US" dirty="0"/>
              <a:t>PPG CONFIDENTIAL – FOR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504770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/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3AD9D9EF-93A8-4AD0-9293-A912F1609535}"/>
              </a:ext>
            </a:extLst>
          </p:cNvPr>
          <p:cNvSpPr/>
          <p:nvPr userDrawn="1"/>
        </p:nvSpPr>
        <p:spPr>
          <a:xfrm>
            <a:off x="8485838" y="1411870"/>
            <a:ext cx="3706162" cy="48212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1" name="Rectangle 3">
            <a:extLst>
              <a:ext uri="{FF2B5EF4-FFF2-40B4-BE49-F238E27FC236}">
                <a16:creationId xmlns:a16="http://schemas.microsoft.com/office/drawing/2014/main" id="{69E79D0B-0FBC-4730-8F48-331668759A21}"/>
              </a:ext>
            </a:extLst>
          </p:cNvPr>
          <p:cNvSpPr/>
          <p:nvPr userDrawn="1"/>
        </p:nvSpPr>
        <p:spPr>
          <a:xfrm>
            <a:off x="0" y="1412185"/>
            <a:ext cx="9077242" cy="482776"/>
          </a:xfrm>
          <a:custGeom>
            <a:avLst/>
            <a:gdLst>
              <a:gd name="connsiteX0" fmla="*/ 0 w 6709251"/>
              <a:gd name="connsiteY0" fmla="*/ 0 h 182880"/>
              <a:gd name="connsiteX1" fmla="*/ 6709251 w 6709251"/>
              <a:gd name="connsiteY1" fmla="*/ 0 h 182880"/>
              <a:gd name="connsiteX2" fmla="*/ 6709251 w 6709251"/>
              <a:gd name="connsiteY2" fmla="*/ 182880 h 182880"/>
              <a:gd name="connsiteX3" fmla="*/ 0 w 6709251"/>
              <a:gd name="connsiteY3" fmla="*/ 182880 h 182880"/>
              <a:gd name="connsiteX4" fmla="*/ 0 w 6709251"/>
              <a:gd name="connsiteY4" fmla="*/ 0 h 182880"/>
              <a:gd name="connsiteX0" fmla="*/ 0 w 7073510"/>
              <a:gd name="connsiteY0" fmla="*/ 0 h 182880"/>
              <a:gd name="connsiteX1" fmla="*/ 7073510 w 7073510"/>
              <a:gd name="connsiteY1" fmla="*/ 0 h 182880"/>
              <a:gd name="connsiteX2" fmla="*/ 6709251 w 7073510"/>
              <a:gd name="connsiteY2" fmla="*/ 182880 h 182880"/>
              <a:gd name="connsiteX3" fmla="*/ 0 w 7073510"/>
              <a:gd name="connsiteY3" fmla="*/ 182880 h 182880"/>
              <a:gd name="connsiteX4" fmla="*/ 0 w 7073510"/>
              <a:gd name="connsiteY4" fmla="*/ 0 h 182880"/>
              <a:gd name="connsiteX0" fmla="*/ 0 w 8678702"/>
              <a:gd name="connsiteY0" fmla="*/ 0 h 182880"/>
              <a:gd name="connsiteX1" fmla="*/ 8678702 w 8678702"/>
              <a:gd name="connsiteY1" fmla="*/ 0 h 182880"/>
              <a:gd name="connsiteX2" fmla="*/ 8314443 w 8678702"/>
              <a:gd name="connsiteY2" fmla="*/ 182880 h 182880"/>
              <a:gd name="connsiteX3" fmla="*/ 1605192 w 8678702"/>
              <a:gd name="connsiteY3" fmla="*/ 182880 h 182880"/>
              <a:gd name="connsiteX4" fmla="*/ 0 w 8678702"/>
              <a:gd name="connsiteY4" fmla="*/ 0 h 182880"/>
              <a:gd name="connsiteX0" fmla="*/ 0 w 8678702"/>
              <a:gd name="connsiteY0" fmla="*/ 0 h 186220"/>
              <a:gd name="connsiteX1" fmla="*/ 8678702 w 8678702"/>
              <a:gd name="connsiteY1" fmla="*/ 0 h 186220"/>
              <a:gd name="connsiteX2" fmla="*/ 8314443 w 8678702"/>
              <a:gd name="connsiteY2" fmla="*/ 182880 h 186220"/>
              <a:gd name="connsiteX3" fmla="*/ 6661 w 8678702"/>
              <a:gd name="connsiteY3" fmla="*/ 186220 h 186220"/>
              <a:gd name="connsiteX4" fmla="*/ 0 w 8678702"/>
              <a:gd name="connsiteY4" fmla="*/ 0 h 186220"/>
              <a:gd name="connsiteX0" fmla="*/ 133211 w 8672041"/>
              <a:gd name="connsiteY0" fmla="*/ 50097 h 186220"/>
              <a:gd name="connsiteX1" fmla="*/ 8672041 w 8672041"/>
              <a:gd name="connsiteY1" fmla="*/ 0 h 186220"/>
              <a:gd name="connsiteX2" fmla="*/ 8307782 w 8672041"/>
              <a:gd name="connsiteY2" fmla="*/ 182880 h 186220"/>
              <a:gd name="connsiteX3" fmla="*/ 0 w 8672041"/>
              <a:gd name="connsiteY3" fmla="*/ 186220 h 186220"/>
              <a:gd name="connsiteX4" fmla="*/ 133211 w 8672041"/>
              <a:gd name="connsiteY4" fmla="*/ 50097 h 186220"/>
              <a:gd name="connsiteX0" fmla="*/ 3330 w 8672041"/>
              <a:gd name="connsiteY0" fmla="*/ 3340 h 186220"/>
              <a:gd name="connsiteX1" fmla="*/ 8672041 w 8672041"/>
              <a:gd name="connsiteY1" fmla="*/ 0 h 186220"/>
              <a:gd name="connsiteX2" fmla="*/ 8307782 w 8672041"/>
              <a:gd name="connsiteY2" fmla="*/ 182880 h 186220"/>
              <a:gd name="connsiteX3" fmla="*/ 0 w 8672041"/>
              <a:gd name="connsiteY3" fmla="*/ 186220 h 186220"/>
              <a:gd name="connsiteX4" fmla="*/ 3330 w 8672041"/>
              <a:gd name="connsiteY4" fmla="*/ 3340 h 186220"/>
              <a:gd name="connsiteX0" fmla="*/ 3330 w 8672041"/>
              <a:gd name="connsiteY0" fmla="*/ 3340 h 186220"/>
              <a:gd name="connsiteX1" fmla="*/ 8672041 w 8672041"/>
              <a:gd name="connsiteY1" fmla="*/ 0 h 186220"/>
              <a:gd name="connsiteX2" fmla="*/ 8307782 w 8672041"/>
              <a:gd name="connsiteY2" fmla="*/ 182880 h 186220"/>
              <a:gd name="connsiteX3" fmla="*/ 0 w 8672041"/>
              <a:gd name="connsiteY3" fmla="*/ 186220 h 186220"/>
              <a:gd name="connsiteX4" fmla="*/ 3330 w 8672041"/>
              <a:gd name="connsiteY4" fmla="*/ 3340 h 186220"/>
              <a:gd name="connsiteX0" fmla="*/ 0 w 8674979"/>
              <a:gd name="connsiteY0" fmla="*/ 3340 h 186220"/>
              <a:gd name="connsiteX1" fmla="*/ 8674979 w 8674979"/>
              <a:gd name="connsiteY1" fmla="*/ 0 h 186220"/>
              <a:gd name="connsiteX2" fmla="*/ 8310720 w 8674979"/>
              <a:gd name="connsiteY2" fmla="*/ 182880 h 186220"/>
              <a:gd name="connsiteX3" fmla="*/ 2938 w 8674979"/>
              <a:gd name="connsiteY3" fmla="*/ 186220 h 186220"/>
              <a:gd name="connsiteX4" fmla="*/ 0 w 8674979"/>
              <a:gd name="connsiteY4" fmla="*/ 3340 h 186220"/>
              <a:gd name="connsiteX0" fmla="*/ 0 w 8674979"/>
              <a:gd name="connsiteY0" fmla="*/ 0 h 189166"/>
              <a:gd name="connsiteX1" fmla="*/ 8674979 w 8674979"/>
              <a:gd name="connsiteY1" fmla="*/ 2946 h 189166"/>
              <a:gd name="connsiteX2" fmla="*/ 8310720 w 8674979"/>
              <a:gd name="connsiteY2" fmla="*/ 185826 h 189166"/>
              <a:gd name="connsiteX3" fmla="*/ 2938 w 8674979"/>
              <a:gd name="connsiteY3" fmla="*/ 189166 h 189166"/>
              <a:gd name="connsiteX4" fmla="*/ 0 w 8674979"/>
              <a:gd name="connsiteY4" fmla="*/ 0 h 189166"/>
              <a:gd name="connsiteX0" fmla="*/ 0 w 8674979"/>
              <a:gd name="connsiteY0" fmla="*/ 444 h 189610"/>
              <a:gd name="connsiteX1" fmla="*/ 8674979 w 8674979"/>
              <a:gd name="connsiteY1" fmla="*/ 0 h 189610"/>
              <a:gd name="connsiteX2" fmla="*/ 8310720 w 8674979"/>
              <a:gd name="connsiteY2" fmla="*/ 186270 h 189610"/>
              <a:gd name="connsiteX3" fmla="*/ 2938 w 8674979"/>
              <a:gd name="connsiteY3" fmla="*/ 189610 h 189610"/>
              <a:gd name="connsiteX4" fmla="*/ 0 w 8674979"/>
              <a:gd name="connsiteY4" fmla="*/ 444 h 189610"/>
              <a:gd name="connsiteX0" fmla="*/ 0 w 8674979"/>
              <a:gd name="connsiteY0" fmla="*/ 444 h 189660"/>
              <a:gd name="connsiteX1" fmla="*/ 8674979 w 8674979"/>
              <a:gd name="connsiteY1" fmla="*/ 0 h 189660"/>
              <a:gd name="connsiteX2" fmla="*/ 8310720 w 8674979"/>
              <a:gd name="connsiteY2" fmla="*/ 189660 h 189660"/>
              <a:gd name="connsiteX3" fmla="*/ 2938 w 8674979"/>
              <a:gd name="connsiteY3" fmla="*/ 189610 h 189660"/>
              <a:gd name="connsiteX4" fmla="*/ 0 w 8674979"/>
              <a:gd name="connsiteY4" fmla="*/ 444 h 189660"/>
              <a:gd name="connsiteX0" fmla="*/ 0 w 10119577"/>
              <a:gd name="connsiteY0" fmla="*/ 0 h 189216"/>
              <a:gd name="connsiteX1" fmla="*/ 10119577 w 10119577"/>
              <a:gd name="connsiteY1" fmla="*/ 686 h 189216"/>
              <a:gd name="connsiteX2" fmla="*/ 8310720 w 10119577"/>
              <a:gd name="connsiteY2" fmla="*/ 189216 h 189216"/>
              <a:gd name="connsiteX3" fmla="*/ 2938 w 10119577"/>
              <a:gd name="connsiteY3" fmla="*/ 189166 h 189216"/>
              <a:gd name="connsiteX4" fmla="*/ 0 w 10119577"/>
              <a:gd name="connsiteY4" fmla="*/ 0 h 189216"/>
              <a:gd name="connsiteX0" fmla="*/ 0 w 10119577"/>
              <a:gd name="connsiteY0" fmla="*/ 173 h 189389"/>
              <a:gd name="connsiteX1" fmla="*/ 10119577 w 10119577"/>
              <a:gd name="connsiteY1" fmla="*/ 0 h 189389"/>
              <a:gd name="connsiteX2" fmla="*/ 8310720 w 10119577"/>
              <a:gd name="connsiteY2" fmla="*/ 189389 h 189389"/>
              <a:gd name="connsiteX3" fmla="*/ 2938 w 10119577"/>
              <a:gd name="connsiteY3" fmla="*/ 189339 h 189389"/>
              <a:gd name="connsiteX4" fmla="*/ 0 w 10119577"/>
              <a:gd name="connsiteY4" fmla="*/ 173 h 189389"/>
              <a:gd name="connsiteX0" fmla="*/ 10004 w 10129581"/>
              <a:gd name="connsiteY0" fmla="*/ 173 h 189389"/>
              <a:gd name="connsiteX1" fmla="*/ 10129581 w 10129581"/>
              <a:gd name="connsiteY1" fmla="*/ 0 h 189389"/>
              <a:gd name="connsiteX2" fmla="*/ 8320724 w 10129581"/>
              <a:gd name="connsiteY2" fmla="*/ 189389 h 189389"/>
              <a:gd name="connsiteX3" fmla="*/ 57 w 10129581"/>
              <a:gd name="connsiteY3" fmla="*/ 189339 h 189389"/>
              <a:gd name="connsiteX4" fmla="*/ 10004 w 10129581"/>
              <a:gd name="connsiteY4" fmla="*/ 173 h 189389"/>
              <a:gd name="connsiteX0" fmla="*/ 9947 w 10129524"/>
              <a:gd name="connsiteY0" fmla="*/ 173 h 189389"/>
              <a:gd name="connsiteX1" fmla="*/ 10129524 w 10129524"/>
              <a:gd name="connsiteY1" fmla="*/ 0 h 189389"/>
              <a:gd name="connsiteX2" fmla="*/ 8320667 w 10129524"/>
              <a:gd name="connsiteY2" fmla="*/ 189389 h 189389"/>
              <a:gd name="connsiteX3" fmla="*/ 0 w 10129524"/>
              <a:gd name="connsiteY3" fmla="*/ 189339 h 189389"/>
              <a:gd name="connsiteX4" fmla="*/ 9947 w 10129524"/>
              <a:gd name="connsiteY4" fmla="*/ 173 h 189389"/>
              <a:gd name="connsiteX0" fmla="*/ 9947 w 10129524"/>
              <a:gd name="connsiteY0" fmla="*/ 173 h 189389"/>
              <a:gd name="connsiteX1" fmla="*/ 10129524 w 10129524"/>
              <a:gd name="connsiteY1" fmla="*/ 0 h 189389"/>
              <a:gd name="connsiteX2" fmla="*/ 8320667 w 10129524"/>
              <a:gd name="connsiteY2" fmla="*/ 189389 h 189389"/>
              <a:gd name="connsiteX3" fmla="*/ 0 w 10129524"/>
              <a:gd name="connsiteY3" fmla="*/ 189339 h 189389"/>
              <a:gd name="connsiteX4" fmla="*/ 9947 w 10129524"/>
              <a:gd name="connsiteY4" fmla="*/ 173 h 189389"/>
              <a:gd name="connsiteX0" fmla="*/ 0 w 10119577"/>
              <a:gd name="connsiteY0" fmla="*/ 173 h 189389"/>
              <a:gd name="connsiteX1" fmla="*/ 10119577 w 10119577"/>
              <a:gd name="connsiteY1" fmla="*/ 0 h 189389"/>
              <a:gd name="connsiteX2" fmla="*/ 8310720 w 10119577"/>
              <a:gd name="connsiteY2" fmla="*/ 189389 h 189389"/>
              <a:gd name="connsiteX3" fmla="*/ 15823 w 10119577"/>
              <a:gd name="connsiteY3" fmla="*/ 189339 h 189389"/>
              <a:gd name="connsiteX4" fmla="*/ 0 w 10119577"/>
              <a:gd name="connsiteY4" fmla="*/ 173 h 189389"/>
              <a:gd name="connsiteX0" fmla="*/ 0 w 10119577"/>
              <a:gd name="connsiteY0" fmla="*/ 173 h 189389"/>
              <a:gd name="connsiteX1" fmla="*/ 10119577 w 10119577"/>
              <a:gd name="connsiteY1" fmla="*/ 0 h 189389"/>
              <a:gd name="connsiteX2" fmla="*/ 8310720 w 10119577"/>
              <a:gd name="connsiteY2" fmla="*/ 189389 h 189389"/>
              <a:gd name="connsiteX3" fmla="*/ 2938 w 10119577"/>
              <a:gd name="connsiteY3" fmla="*/ 189339 h 189389"/>
              <a:gd name="connsiteX4" fmla="*/ 0 w 10119577"/>
              <a:gd name="connsiteY4" fmla="*/ 173 h 189389"/>
              <a:gd name="connsiteX0" fmla="*/ 0 w 21540281"/>
              <a:gd name="connsiteY0" fmla="*/ 9120 h 189389"/>
              <a:gd name="connsiteX1" fmla="*/ 21540281 w 21540281"/>
              <a:gd name="connsiteY1" fmla="*/ 0 h 189389"/>
              <a:gd name="connsiteX2" fmla="*/ 19731424 w 21540281"/>
              <a:gd name="connsiteY2" fmla="*/ 189389 h 189389"/>
              <a:gd name="connsiteX3" fmla="*/ 11423642 w 21540281"/>
              <a:gd name="connsiteY3" fmla="*/ 189339 h 189389"/>
              <a:gd name="connsiteX4" fmla="*/ 0 w 21540281"/>
              <a:gd name="connsiteY4" fmla="*/ 9120 h 189389"/>
              <a:gd name="connsiteX0" fmla="*/ 0 w 21540281"/>
              <a:gd name="connsiteY0" fmla="*/ 9120 h 192321"/>
              <a:gd name="connsiteX1" fmla="*/ 21540281 w 21540281"/>
              <a:gd name="connsiteY1" fmla="*/ 0 h 192321"/>
              <a:gd name="connsiteX2" fmla="*/ 19731424 w 21540281"/>
              <a:gd name="connsiteY2" fmla="*/ 189389 h 192321"/>
              <a:gd name="connsiteX3" fmla="*/ 2942 w 21540281"/>
              <a:gd name="connsiteY3" fmla="*/ 192321 h 192321"/>
              <a:gd name="connsiteX4" fmla="*/ 0 w 21540281"/>
              <a:gd name="connsiteY4" fmla="*/ 9120 h 192321"/>
              <a:gd name="connsiteX0" fmla="*/ 0 w 21540281"/>
              <a:gd name="connsiteY0" fmla="*/ 6138 h 192321"/>
              <a:gd name="connsiteX1" fmla="*/ 21540281 w 21540281"/>
              <a:gd name="connsiteY1" fmla="*/ 0 h 192321"/>
              <a:gd name="connsiteX2" fmla="*/ 19731424 w 21540281"/>
              <a:gd name="connsiteY2" fmla="*/ 189389 h 192321"/>
              <a:gd name="connsiteX3" fmla="*/ 2942 w 21540281"/>
              <a:gd name="connsiteY3" fmla="*/ 192321 h 192321"/>
              <a:gd name="connsiteX4" fmla="*/ 0 w 21540281"/>
              <a:gd name="connsiteY4" fmla="*/ 6138 h 192321"/>
              <a:gd name="connsiteX0" fmla="*/ 2579162 w 24119443"/>
              <a:gd name="connsiteY0" fmla="*/ 6138 h 192321"/>
              <a:gd name="connsiteX1" fmla="*/ 24119443 w 24119443"/>
              <a:gd name="connsiteY1" fmla="*/ 0 h 192321"/>
              <a:gd name="connsiteX2" fmla="*/ 22310586 w 24119443"/>
              <a:gd name="connsiteY2" fmla="*/ 189389 h 192321"/>
              <a:gd name="connsiteX3" fmla="*/ 2582104 w 24119443"/>
              <a:gd name="connsiteY3" fmla="*/ 192321 h 192321"/>
              <a:gd name="connsiteX4" fmla="*/ 2579162 w 24119443"/>
              <a:gd name="connsiteY4" fmla="*/ 6138 h 192321"/>
              <a:gd name="connsiteX0" fmla="*/ 1459081 w 22999362"/>
              <a:gd name="connsiteY0" fmla="*/ 6138 h 192321"/>
              <a:gd name="connsiteX1" fmla="*/ 22999362 w 22999362"/>
              <a:gd name="connsiteY1" fmla="*/ 0 h 192321"/>
              <a:gd name="connsiteX2" fmla="*/ 21190505 w 22999362"/>
              <a:gd name="connsiteY2" fmla="*/ 189389 h 192321"/>
              <a:gd name="connsiteX3" fmla="*/ 1462023 w 22999362"/>
              <a:gd name="connsiteY3" fmla="*/ 192321 h 192321"/>
              <a:gd name="connsiteX4" fmla="*/ 1459081 w 22999362"/>
              <a:gd name="connsiteY4" fmla="*/ 6138 h 192321"/>
              <a:gd name="connsiteX0" fmla="*/ 2579108 w 24119389"/>
              <a:gd name="connsiteY0" fmla="*/ 6138 h 192321"/>
              <a:gd name="connsiteX1" fmla="*/ 24119389 w 24119389"/>
              <a:gd name="connsiteY1" fmla="*/ 0 h 192321"/>
              <a:gd name="connsiteX2" fmla="*/ 22310532 w 24119389"/>
              <a:gd name="connsiteY2" fmla="*/ 189389 h 192321"/>
              <a:gd name="connsiteX3" fmla="*/ 2582050 w 24119389"/>
              <a:gd name="connsiteY3" fmla="*/ 192321 h 192321"/>
              <a:gd name="connsiteX4" fmla="*/ 2579108 w 24119389"/>
              <a:gd name="connsiteY4" fmla="*/ 6138 h 192321"/>
              <a:gd name="connsiteX0" fmla="*/ 1594923 w 23135204"/>
              <a:gd name="connsiteY0" fmla="*/ 6138 h 192321"/>
              <a:gd name="connsiteX1" fmla="*/ 23135204 w 23135204"/>
              <a:gd name="connsiteY1" fmla="*/ 0 h 192321"/>
              <a:gd name="connsiteX2" fmla="*/ 21326347 w 23135204"/>
              <a:gd name="connsiteY2" fmla="*/ 189389 h 192321"/>
              <a:gd name="connsiteX3" fmla="*/ 1597865 w 23135204"/>
              <a:gd name="connsiteY3" fmla="*/ 192321 h 192321"/>
              <a:gd name="connsiteX4" fmla="*/ 1594923 w 23135204"/>
              <a:gd name="connsiteY4" fmla="*/ 6138 h 192321"/>
              <a:gd name="connsiteX0" fmla="*/ 1 w 21540282"/>
              <a:gd name="connsiteY0" fmla="*/ 6138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3 w 21540282"/>
              <a:gd name="connsiteY3" fmla="*/ 192321 h 192321"/>
              <a:gd name="connsiteX4" fmla="*/ 1 w 21540282"/>
              <a:gd name="connsiteY4" fmla="*/ 6138 h 192321"/>
              <a:gd name="connsiteX0" fmla="*/ 0 w 21540282"/>
              <a:gd name="connsiteY0" fmla="*/ 3156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3 w 21540282"/>
              <a:gd name="connsiteY3" fmla="*/ 192321 h 192321"/>
              <a:gd name="connsiteX4" fmla="*/ 0 w 21540282"/>
              <a:gd name="connsiteY4" fmla="*/ 3156 h 192321"/>
              <a:gd name="connsiteX0" fmla="*/ 0 w 21540282"/>
              <a:gd name="connsiteY0" fmla="*/ 347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3 w 21540282"/>
              <a:gd name="connsiteY3" fmla="*/ 192321 h 192321"/>
              <a:gd name="connsiteX4" fmla="*/ 0 w 21540282"/>
              <a:gd name="connsiteY4" fmla="*/ 347 h 192321"/>
              <a:gd name="connsiteX0" fmla="*/ 0 w 21540282"/>
              <a:gd name="connsiteY0" fmla="*/ 347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2 w 21540282"/>
              <a:gd name="connsiteY3" fmla="*/ 192321 h 192321"/>
              <a:gd name="connsiteX4" fmla="*/ 0 w 21540282"/>
              <a:gd name="connsiteY4" fmla="*/ 347 h 192321"/>
              <a:gd name="connsiteX0" fmla="*/ 0 w 21540282"/>
              <a:gd name="connsiteY0" fmla="*/ 347 h 189512"/>
              <a:gd name="connsiteX1" fmla="*/ 21540282 w 21540282"/>
              <a:gd name="connsiteY1" fmla="*/ 0 h 189512"/>
              <a:gd name="connsiteX2" fmla="*/ 19731425 w 21540282"/>
              <a:gd name="connsiteY2" fmla="*/ 189389 h 189512"/>
              <a:gd name="connsiteX3" fmla="*/ 2942 w 21540282"/>
              <a:gd name="connsiteY3" fmla="*/ 189512 h 189512"/>
              <a:gd name="connsiteX4" fmla="*/ 0 w 21540282"/>
              <a:gd name="connsiteY4" fmla="*/ 347 h 189512"/>
              <a:gd name="connsiteX0" fmla="*/ 0 w 20903501"/>
              <a:gd name="connsiteY0" fmla="*/ 347 h 189512"/>
              <a:gd name="connsiteX1" fmla="*/ 20903501 w 20903501"/>
              <a:gd name="connsiteY1" fmla="*/ 0 h 189512"/>
              <a:gd name="connsiteX2" fmla="*/ 19731425 w 20903501"/>
              <a:gd name="connsiteY2" fmla="*/ 189389 h 189512"/>
              <a:gd name="connsiteX3" fmla="*/ 2942 w 20903501"/>
              <a:gd name="connsiteY3" fmla="*/ 189512 h 189512"/>
              <a:gd name="connsiteX4" fmla="*/ 0 w 20903501"/>
              <a:gd name="connsiteY4" fmla="*/ 347 h 189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903501" h="189512">
                <a:moveTo>
                  <a:pt x="0" y="347"/>
                </a:moveTo>
                <a:lnTo>
                  <a:pt x="20903501" y="0"/>
                </a:lnTo>
                <a:lnTo>
                  <a:pt x="19731425" y="189389"/>
                </a:lnTo>
                <a:lnTo>
                  <a:pt x="2942" y="189512"/>
                </a:lnTo>
                <a:cubicBezTo>
                  <a:pt x="1961" y="125521"/>
                  <a:pt x="981" y="64338"/>
                  <a:pt x="0" y="34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2883" y="3748408"/>
            <a:ext cx="8457972" cy="984333"/>
          </a:xfrm>
        </p:spPr>
        <p:txBody>
          <a:bodyPr anchor="b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12883" y="4800476"/>
            <a:ext cx="8457972" cy="640767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12883" y="5580380"/>
            <a:ext cx="3303862" cy="3651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1000">
                <a:solidFill>
                  <a:schemeClr val="tx1"/>
                </a:solidFill>
                <a:latin typeface="+mn-lt"/>
                <a:cs typeface="Arial"/>
              </a:defRPr>
            </a:lvl1pPr>
          </a:lstStyle>
          <a:p>
            <a:endParaRPr lang="en-US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38F46E6-B30F-4BB4-8F82-08AD4C6EA8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74032" y="5851212"/>
            <a:ext cx="1060725" cy="822309"/>
          </a:xfrm>
          <a:prstGeom prst="rect">
            <a:avLst/>
          </a:prstGeom>
        </p:spPr>
      </p:pic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B1B375D4-5229-42D1-ACCC-C091DAB25EB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-11117" y="1927755"/>
            <a:ext cx="3018306" cy="1706562"/>
          </a:xfr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17" name="Picture Placeholder 15">
            <a:extLst>
              <a:ext uri="{FF2B5EF4-FFF2-40B4-BE49-F238E27FC236}">
                <a16:creationId xmlns:a16="http://schemas.microsoft.com/office/drawing/2014/main" id="{9AA1076D-6C42-4BB3-BA4D-45B182AC9A43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050486" y="1927755"/>
            <a:ext cx="3018306" cy="1706562"/>
          </a:xfr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18" name="Picture Placeholder 15">
            <a:extLst>
              <a:ext uri="{FF2B5EF4-FFF2-40B4-BE49-F238E27FC236}">
                <a16:creationId xmlns:a16="http://schemas.microsoft.com/office/drawing/2014/main" id="{94262E97-B7F8-4095-A959-B2C6D66AE08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12090" y="1927755"/>
            <a:ext cx="3018306" cy="1706562"/>
          </a:xfr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19" name="Picture Placeholder 15">
            <a:extLst>
              <a:ext uri="{FF2B5EF4-FFF2-40B4-BE49-F238E27FC236}">
                <a16:creationId xmlns:a16="http://schemas.microsoft.com/office/drawing/2014/main" id="{C14C4D13-49AC-4208-BEFF-0899F4B2E2E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173694" y="1927755"/>
            <a:ext cx="3018306" cy="1706562"/>
          </a:xfr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63811" y="6496407"/>
            <a:ext cx="9460550" cy="17222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>
              <a:defRPr sz="1000">
                <a:solidFill>
                  <a:schemeClr val="tx2"/>
                </a:solidFill>
                <a:latin typeface="+mn-lt"/>
                <a:cs typeface="Arial"/>
              </a:defRPr>
            </a:lvl1pPr>
          </a:lstStyle>
          <a:p>
            <a:pPr algn="ctr"/>
            <a:r>
              <a:rPr lang="en-US" dirty="0"/>
              <a:t>PPG CONFIDENTIAL – FOR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76147113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2883" y="2817077"/>
            <a:ext cx="8457972" cy="984333"/>
          </a:xfrm>
        </p:spPr>
        <p:txBody>
          <a:bodyPr anchor="b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12883" y="3869145"/>
            <a:ext cx="8457972" cy="640767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A85F325-7987-4A1E-820A-9A64A1B13356}"/>
              </a:ext>
            </a:extLst>
          </p:cNvPr>
          <p:cNvSpPr/>
          <p:nvPr userDrawn="1"/>
        </p:nvSpPr>
        <p:spPr>
          <a:xfrm>
            <a:off x="8485838" y="2209311"/>
            <a:ext cx="3706162" cy="48212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3" name="Rectangle 3">
            <a:extLst>
              <a:ext uri="{FF2B5EF4-FFF2-40B4-BE49-F238E27FC236}">
                <a16:creationId xmlns:a16="http://schemas.microsoft.com/office/drawing/2014/main" id="{352936BF-BEFE-420D-886B-904153FF49AA}"/>
              </a:ext>
            </a:extLst>
          </p:cNvPr>
          <p:cNvSpPr/>
          <p:nvPr userDrawn="1"/>
        </p:nvSpPr>
        <p:spPr>
          <a:xfrm>
            <a:off x="0" y="2209626"/>
            <a:ext cx="9077242" cy="482776"/>
          </a:xfrm>
          <a:custGeom>
            <a:avLst/>
            <a:gdLst>
              <a:gd name="connsiteX0" fmla="*/ 0 w 6709251"/>
              <a:gd name="connsiteY0" fmla="*/ 0 h 182880"/>
              <a:gd name="connsiteX1" fmla="*/ 6709251 w 6709251"/>
              <a:gd name="connsiteY1" fmla="*/ 0 h 182880"/>
              <a:gd name="connsiteX2" fmla="*/ 6709251 w 6709251"/>
              <a:gd name="connsiteY2" fmla="*/ 182880 h 182880"/>
              <a:gd name="connsiteX3" fmla="*/ 0 w 6709251"/>
              <a:gd name="connsiteY3" fmla="*/ 182880 h 182880"/>
              <a:gd name="connsiteX4" fmla="*/ 0 w 6709251"/>
              <a:gd name="connsiteY4" fmla="*/ 0 h 182880"/>
              <a:gd name="connsiteX0" fmla="*/ 0 w 7073510"/>
              <a:gd name="connsiteY0" fmla="*/ 0 h 182880"/>
              <a:gd name="connsiteX1" fmla="*/ 7073510 w 7073510"/>
              <a:gd name="connsiteY1" fmla="*/ 0 h 182880"/>
              <a:gd name="connsiteX2" fmla="*/ 6709251 w 7073510"/>
              <a:gd name="connsiteY2" fmla="*/ 182880 h 182880"/>
              <a:gd name="connsiteX3" fmla="*/ 0 w 7073510"/>
              <a:gd name="connsiteY3" fmla="*/ 182880 h 182880"/>
              <a:gd name="connsiteX4" fmla="*/ 0 w 7073510"/>
              <a:gd name="connsiteY4" fmla="*/ 0 h 182880"/>
              <a:gd name="connsiteX0" fmla="*/ 0 w 8678702"/>
              <a:gd name="connsiteY0" fmla="*/ 0 h 182880"/>
              <a:gd name="connsiteX1" fmla="*/ 8678702 w 8678702"/>
              <a:gd name="connsiteY1" fmla="*/ 0 h 182880"/>
              <a:gd name="connsiteX2" fmla="*/ 8314443 w 8678702"/>
              <a:gd name="connsiteY2" fmla="*/ 182880 h 182880"/>
              <a:gd name="connsiteX3" fmla="*/ 1605192 w 8678702"/>
              <a:gd name="connsiteY3" fmla="*/ 182880 h 182880"/>
              <a:gd name="connsiteX4" fmla="*/ 0 w 8678702"/>
              <a:gd name="connsiteY4" fmla="*/ 0 h 182880"/>
              <a:gd name="connsiteX0" fmla="*/ 0 w 8678702"/>
              <a:gd name="connsiteY0" fmla="*/ 0 h 186220"/>
              <a:gd name="connsiteX1" fmla="*/ 8678702 w 8678702"/>
              <a:gd name="connsiteY1" fmla="*/ 0 h 186220"/>
              <a:gd name="connsiteX2" fmla="*/ 8314443 w 8678702"/>
              <a:gd name="connsiteY2" fmla="*/ 182880 h 186220"/>
              <a:gd name="connsiteX3" fmla="*/ 6661 w 8678702"/>
              <a:gd name="connsiteY3" fmla="*/ 186220 h 186220"/>
              <a:gd name="connsiteX4" fmla="*/ 0 w 8678702"/>
              <a:gd name="connsiteY4" fmla="*/ 0 h 186220"/>
              <a:gd name="connsiteX0" fmla="*/ 133211 w 8672041"/>
              <a:gd name="connsiteY0" fmla="*/ 50097 h 186220"/>
              <a:gd name="connsiteX1" fmla="*/ 8672041 w 8672041"/>
              <a:gd name="connsiteY1" fmla="*/ 0 h 186220"/>
              <a:gd name="connsiteX2" fmla="*/ 8307782 w 8672041"/>
              <a:gd name="connsiteY2" fmla="*/ 182880 h 186220"/>
              <a:gd name="connsiteX3" fmla="*/ 0 w 8672041"/>
              <a:gd name="connsiteY3" fmla="*/ 186220 h 186220"/>
              <a:gd name="connsiteX4" fmla="*/ 133211 w 8672041"/>
              <a:gd name="connsiteY4" fmla="*/ 50097 h 186220"/>
              <a:gd name="connsiteX0" fmla="*/ 3330 w 8672041"/>
              <a:gd name="connsiteY0" fmla="*/ 3340 h 186220"/>
              <a:gd name="connsiteX1" fmla="*/ 8672041 w 8672041"/>
              <a:gd name="connsiteY1" fmla="*/ 0 h 186220"/>
              <a:gd name="connsiteX2" fmla="*/ 8307782 w 8672041"/>
              <a:gd name="connsiteY2" fmla="*/ 182880 h 186220"/>
              <a:gd name="connsiteX3" fmla="*/ 0 w 8672041"/>
              <a:gd name="connsiteY3" fmla="*/ 186220 h 186220"/>
              <a:gd name="connsiteX4" fmla="*/ 3330 w 8672041"/>
              <a:gd name="connsiteY4" fmla="*/ 3340 h 186220"/>
              <a:gd name="connsiteX0" fmla="*/ 3330 w 8672041"/>
              <a:gd name="connsiteY0" fmla="*/ 3340 h 186220"/>
              <a:gd name="connsiteX1" fmla="*/ 8672041 w 8672041"/>
              <a:gd name="connsiteY1" fmla="*/ 0 h 186220"/>
              <a:gd name="connsiteX2" fmla="*/ 8307782 w 8672041"/>
              <a:gd name="connsiteY2" fmla="*/ 182880 h 186220"/>
              <a:gd name="connsiteX3" fmla="*/ 0 w 8672041"/>
              <a:gd name="connsiteY3" fmla="*/ 186220 h 186220"/>
              <a:gd name="connsiteX4" fmla="*/ 3330 w 8672041"/>
              <a:gd name="connsiteY4" fmla="*/ 3340 h 186220"/>
              <a:gd name="connsiteX0" fmla="*/ 0 w 8674979"/>
              <a:gd name="connsiteY0" fmla="*/ 3340 h 186220"/>
              <a:gd name="connsiteX1" fmla="*/ 8674979 w 8674979"/>
              <a:gd name="connsiteY1" fmla="*/ 0 h 186220"/>
              <a:gd name="connsiteX2" fmla="*/ 8310720 w 8674979"/>
              <a:gd name="connsiteY2" fmla="*/ 182880 h 186220"/>
              <a:gd name="connsiteX3" fmla="*/ 2938 w 8674979"/>
              <a:gd name="connsiteY3" fmla="*/ 186220 h 186220"/>
              <a:gd name="connsiteX4" fmla="*/ 0 w 8674979"/>
              <a:gd name="connsiteY4" fmla="*/ 3340 h 186220"/>
              <a:gd name="connsiteX0" fmla="*/ 0 w 8674979"/>
              <a:gd name="connsiteY0" fmla="*/ 0 h 189166"/>
              <a:gd name="connsiteX1" fmla="*/ 8674979 w 8674979"/>
              <a:gd name="connsiteY1" fmla="*/ 2946 h 189166"/>
              <a:gd name="connsiteX2" fmla="*/ 8310720 w 8674979"/>
              <a:gd name="connsiteY2" fmla="*/ 185826 h 189166"/>
              <a:gd name="connsiteX3" fmla="*/ 2938 w 8674979"/>
              <a:gd name="connsiteY3" fmla="*/ 189166 h 189166"/>
              <a:gd name="connsiteX4" fmla="*/ 0 w 8674979"/>
              <a:gd name="connsiteY4" fmla="*/ 0 h 189166"/>
              <a:gd name="connsiteX0" fmla="*/ 0 w 8674979"/>
              <a:gd name="connsiteY0" fmla="*/ 444 h 189610"/>
              <a:gd name="connsiteX1" fmla="*/ 8674979 w 8674979"/>
              <a:gd name="connsiteY1" fmla="*/ 0 h 189610"/>
              <a:gd name="connsiteX2" fmla="*/ 8310720 w 8674979"/>
              <a:gd name="connsiteY2" fmla="*/ 186270 h 189610"/>
              <a:gd name="connsiteX3" fmla="*/ 2938 w 8674979"/>
              <a:gd name="connsiteY3" fmla="*/ 189610 h 189610"/>
              <a:gd name="connsiteX4" fmla="*/ 0 w 8674979"/>
              <a:gd name="connsiteY4" fmla="*/ 444 h 189610"/>
              <a:gd name="connsiteX0" fmla="*/ 0 w 8674979"/>
              <a:gd name="connsiteY0" fmla="*/ 444 h 189660"/>
              <a:gd name="connsiteX1" fmla="*/ 8674979 w 8674979"/>
              <a:gd name="connsiteY1" fmla="*/ 0 h 189660"/>
              <a:gd name="connsiteX2" fmla="*/ 8310720 w 8674979"/>
              <a:gd name="connsiteY2" fmla="*/ 189660 h 189660"/>
              <a:gd name="connsiteX3" fmla="*/ 2938 w 8674979"/>
              <a:gd name="connsiteY3" fmla="*/ 189610 h 189660"/>
              <a:gd name="connsiteX4" fmla="*/ 0 w 8674979"/>
              <a:gd name="connsiteY4" fmla="*/ 444 h 189660"/>
              <a:gd name="connsiteX0" fmla="*/ 0 w 10119577"/>
              <a:gd name="connsiteY0" fmla="*/ 0 h 189216"/>
              <a:gd name="connsiteX1" fmla="*/ 10119577 w 10119577"/>
              <a:gd name="connsiteY1" fmla="*/ 686 h 189216"/>
              <a:gd name="connsiteX2" fmla="*/ 8310720 w 10119577"/>
              <a:gd name="connsiteY2" fmla="*/ 189216 h 189216"/>
              <a:gd name="connsiteX3" fmla="*/ 2938 w 10119577"/>
              <a:gd name="connsiteY3" fmla="*/ 189166 h 189216"/>
              <a:gd name="connsiteX4" fmla="*/ 0 w 10119577"/>
              <a:gd name="connsiteY4" fmla="*/ 0 h 189216"/>
              <a:gd name="connsiteX0" fmla="*/ 0 w 10119577"/>
              <a:gd name="connsiteY0" fmla="*/ 173 h 189389"/>
              <a:gd name="connsiteX1" fmla="*/ 10119577 w 10119577"/>
              <a:gd name="connsiteY1" fmla="*/ 0 h 189389"/>
              <a:gd name="connsiteX2" fmla="*/ 8310720 w 10119577"/>
              <a:gd name="connsiteY2" fmla="*/ 189389 h 189389"/>
              <a:gd name="connsiteX3" fmla="*/ 2938 w 10119577"/>
              <a:gd name="connsiteY3" fmla="*/ 189339 h 189389"/>
              <a:gd name="connsiteX4" fmla="*/ 0 w 10119577"/>
              <a:gd name="connsiteY4" fmla="*/ 173 h 189389"/>
              <a:gd name="connsiteX0" fmla="*/ 10004 w 10129581"/>
              <a:gd name="connsiteY0" fmla="*/ 173 h 189389"/>
              <a:gd name="connsiteX1" fmla="*/ 10129581 w 10129581"/>
              <a:gd name="connsiteY1" fmla="*/ 0 h 189389"/>
              <a:gd name="connsiteX2" fmla="*/ 8320724 w 10129581"/>
              <a:gd name="connsiteY2" fmla="*/ 189389 h 189389"/>
              <a:gd name="connsiteX3" fmla="*/ 57 w 10129581"/>
              <a:gd name="connsiteY3" fmla="*/ 189339 h 189389"/>
              <a:gd name="connsiteX4" fmla="*/ 10004 w 10129581"/>
              <a:gd name="connsiteY4" fmla="*/ 173 h 189389"/>
              <a:gd name="connsiteX0" fmla="*/ 9947 w 10129524"/>
              <a:gd name="connsiteY0" fmla="*/ 173 h 189389"/>
              <a:gd name="connsiteX1" fmla="*/ 10129524 w 10129524"/>
              <a:gd name="connsiteY1" fmla="*/ 0 h 189389"/>
              <a:gd name="connsiteX2" fmla="*/ 8320667 w 10129524"/>
              <a:gd name="connsiteY2" fmla="*/ 189389 h 189389"/>
              <a:gd name="connsiteX3" fmla="*/ 0 w 10129524"/>
              <a:gd name="connsiteY3" fmla="*/ 189339 h 189389"/>
              <a:gd name="connsiteX4" fmla="*/ 9947 w 10129524"/>
              <a:gd name="connsiteY4" fmla="*/ 173 h 189389"/>
              <a:gd name="connsiteX0" fmla="*/ 9947 w 10129524"/>
              <a:gd name="connsiteY0" fmla="*/ 173 h 189389"/>
              <a:gd name="connsiteX1" fmla="*/ 10129524 w 10129524"/>
              <a:gd name="connsiteY1" fmla="*/ 0 h 189389"/>
              <a:gd name="connsiteX2" fmla="*/ 8320667 w 10129524"/>
              <a:gd name="connsiteY2" fmla="*/ 189389 h 189389"/>
              <a:gd name="connsiteX3" fmla="*/ 0 w 10129524"/>
              <a:gd name="connsiteY3" fmla="*/ 189339 h 189389"/>
              <a:gd name="connsiteX4" fmla="*/ 9947 w 10129524"/>
              <a:gd name="connsiteY4" fmla="*/ 173 h 189389"/>
              <a:gd name="connsiteX0" fmla="*/ 0 w 10119577"/>
              <a:gd name="connsiteY0" fmla="*/ 173 h 189389"/>
              <a:gd name="connsiteX1" fmla="*/ 10119577 w 10119577"/>
              <a:gd name="connsiteY1" fmla="*/ 0 h 189389"/>
              <a:gd name="connsiteX2" fmla="*/ 8310720 w 10119577"/>
              <a:gd name="connsiteY2" fmla="*/ 189389 h 189389"/>
              <a:gd name="connsiteX3" fmla="*/ 15823 w 10119577"/>
              <a:gd name="connsiteY3" fmla="*/ 189339 h 189389"/>
              <a:gd name="connsiteX4" fmla="*/ 0 w 10119577"/>
              <a:gd name="connsiteY4" fmla="*/ 173 h 189389"/>
              <a:gd name="connsiteX0" fmla="*/ 0 w 10119577"/>
              <a:gd name="connsiteY0" fmla="*/ 173 h 189389"/>
              <a:gd name="connsiteX1" fmla="*/ 10119577 w 10119577"/>
              <a:gd name="connsiteY1" fmla="*/ 0 h 189389"/>
              <a:gd name="connsiteX2" fmla="*/ 8310720 w 10119577"/>
              <a:gd name="connsiteY2" fmla="*/ 189389 h 189389"/>
              <a:gd name="connsiteX3" fmla="*/ 2938 w 10119577"/>
              <a:gd name="connsiteY3" fmla="*/ 189339 h 189389"/>
              <a:gd name="connsiteX4" fmla="*/ 0 w 10119577"/>
              <a:gd name="connsiteY4" fmla="*/ 173 h 189389"/>
              <a:gd name="connsiteX0" fmla="*/ 0 w 21540281"/>
              <a:gd name="connsiteY0" fmla="*/ 9120 h 189389"/>
              <a:gd name="connsiteX1" fmla="*/ 21540281 w 21540281"/>
              <a:gd name="connsiteY1" fmla="*/ 0 h 189389"/>
              <a:gd name="connsiteX2" fmla="*/ 19731424 w 21540281"/>
              <a:gd name="connsiteY2" fmla="*/ 189389 h 189389"/>
              <a:gd name="connsiteX3" fmla="*/ 11423642 w 21540281"/>
              <a:gd name="connsiteY3" fmla="*/ 189339 h 189389"/>
              <a:gd name="connsiteX4" fmla="*/ 0 w 21540281"/>
              <a:gd name="connsiteY4" fmla="*/ 9120 h 189389"/>
              <a:gd name="connsiteX0" fmla="*/ 0 w 21540281"/>
              <a:gd name="connsiteY0" fmla="*/ 9120 h 192321"/>
              <a:gd name="connsiteX1" fmla="*/ 21540281 w 21540281"/>
              <a:gd name="connsiteY1" fmla="*/ 0 h 192321"/>
              <a:gd name="connsiteX2" fmla="*/ 19731424 w 21540281"/>
              <a:gd name="connsiteY2" fmla="*/ 189389 h 192321"/>
              <a:gd name="connsiteX3" fmla="*/ 2942 w 21540281"/>
              <a:gd name="connsiteY3" fmla="*/ 192321 h 192321"/>
              <a:gd name="connsiteX4" fmla="*/ 0 w 21540281"/>
              <a:gd name="connsiteY4" fmla="*/ 9120 h 192321"/>
              <a:gd name="connsiteX0" fmla="*/ 0 w 21540281"/>
              <a:gd name="connsiteY0" fmla="*/ 6138 h 192321"/>
              <a:gd name="connsiteX1" fmla="*/ 21540281 w 21540281"/>
              <a:gd name="connsiteY1" fmla="*/ 0 h 192321"/>
              <a:gd name="connsiteX2" fmla="*/ 19731424 w 21540281"/>
              <a:gd name="connsiteY2" fmla="*/ 189389 h 192321"/>
              <a:gd name="connsiteX3" fmla="*/ 2942 w 21540281"/>
              <a:gd name="connsiteY3" fmla="*/ 192321 h 192321"/>
              <a:gd name="connsiteX4" fmla="*/ 0 w 21540281"/>
              <a:gd name="connsiteY4" fmla="*/ 6138 h 192321"/>
              <a:gd name="connsiteX0" fmla="*/ 2579162 w 24119443"/>
              <a:gd name="connsiteY0" fmla="*/ 6138 h 192321"/>
              <a:gd name="connsiteX1" fmla="*/ 24119443 w 24119443"/>
              <a:gd name="connsiteY1" fmla="*/ 0 h 192321"/>
              <a:gd name="connsiteX2" fmla="*/ 22310586 w 24119443"/>
              <a:gd name="connsiteY2" fmla="*/ 189389 h 192321"/>
              <a:gd name="connsiteX3" fmla="*/ 2582104 w 24119443"/>
              <a:gd name="connsiteY3" fmla="*/ 192321 h 192321"/>
              <a:gd name="connsiteX4" fmla="*/ 2579162 w 24119443"/>
              <a:gd name="connsiteY4" fmla="*/ 6138 h 192321"/>
              <a:gd name="connsiteX0" fmla="*/ 1459081 w 22999362"/>
              <a:gd name="connsiteY0" fmla="*/ 6138 h 192321"/>
              <a:gd name="connsiteX1" fmla="*/ 22999362 w 22999362"/>
              <a:gd name="connsiteY1" fmla="*/ 0 h 192321"/>
              <a:gd name="connsiteX2" fmla="*/ 21190505 w 22999362"/>
              <a:gd name="connsiteY2" fmla="*/ 189389 h 192321"/>
              <a:gd name="connsiteX3" fmla="*/ 1462023 w 22999362"/>
              <a:gd name="connsiteY3" fmla="*/ 192321 h 192321"/>
              <a:gd name="connsiteX4" fmla="*/ 1459081 w 22999362"/>
              <a:gd name="connsiteY4" fmla="*/ 6138 h 192321"/>
              <a:gd name="connsiteX0" fmla="*/ 2579108 w 24119389"/>
              <a:gd name="connsiteY0" fmla="*/ 6138 h 192321"/>
              <a:gd name="connsiteX1" fmla="*/ 24119389 w 24119389"/>
              <a:gd name="connsiteY1" fmla="*/ 0 h 192321"/>
              <a:gd name="connsiteX2" fmla="*/ 22310532 w 24119389"/>
              <a:gd name="connsiteY2" fmla="*/ 189389 h 192321"/>
              <a:gd name="connsiteX3" fmla="*/ 2582050 w 24119389"/>
              <a:gd name="connsiteY3" fmla="*/ 192321 h 192321"/>
              <a:gd name="connsiteX4" fmla="*/ 2579108 w 24119389"/>
              <a:gd name="connsiteY4" fmla="*/ 6138 h 192321"/>
              <a:gd name="connsiteX0" fmla="*/ 1594923 w 23135204"/>
              <a:gd name="connsiteY0" fmla="*/ 6138 h 192321"/>
              <a:gd name="connsiteX1" fmla="*/ 23135204 w 23135204"/>
              <a:gd name="connsiteY1" fmla="*/ 0 h 192321"/>
              <a:gd name="connsiteX2" fmla="*/ 21326347 w 23135204"/>
              <a:gd name="connsiteY2" fmla="*/ 189389 h 192321"/>
              <a:gd name="connsiteX3" fmla="*/ 1597865 w 23135204"/>
              <a:gd name="connsiteY3" fmla="*/ 192321 h 192321"/>
              <a:gd name="connsiteX4" fmla="*/ 1594923 w 23135204"/>
              <a:gd name="connsiteY4" fmla="*/ 6138 h 192321"/>
              <a:gd name="connsiteX0" fmla="*/ 1 w 21540282"/>
              <a:gd name="connsiteY0" fmla="*/ 6138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3 w 21540282"/>
              <a:gd name="connsiteY3" fmla="*/ 192321 h 192321"/>
              <a:gd name="connsiteX4" fmla="*/ 1 w 21540282"/>
              <a:gd name="connsiteY4" fmla="*/ 6138 h 192321"/>
              <a:gd name="connsiteX0" fmla="*/ 0 w 21540282"/>
              <a:gd name="connsiteY0" fmla="*/ 3156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3 w 21540282"/>
              <a:gd name="connsiteY3" fmla="*/ 192321 h 192321"/>
              <a:gd name="connsiteX4" fmla="*/ 0 w 21540282"/>
              <a:gd name="connsiteY4" fmla="*/ 3156 h 192321"/>
              <a:gd name="connsiteX0" fmla="*/ 0 w 21540282"/>
              <a:gd name="connsiteY0" fmla="*/ 347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3 w 21540282"/>
              <a:gd name="connsiteY3" fmla="*/ 192321 h 192321"/>
              <a:gd name="connsiteX4" fmla="*/ 0 w 21540282"/>
              <a:gd name="connsiteY4" fmla="*/ 347 h 192321"/>
              <a:gd name="connsiteX0" fmla="*/ 0 w 21540282"/>
              <a:gd name="connsiteY0" fmla="*/ 347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2 w 21540282"/>
              <a:gd name="connsiteY3" fmla="*/ 192321 h 192321"/>
              <a:gd name="connsiteX4" fmla="*/ 0 w 21540282"/>
              <a:gd name="connsiteY4" fmla="*/ 347 h 192321"/>
              <a:gd name="connsiteX0" fmla="*/ 0 w 21540282"/>
              <a:gd name="connsiteY0" fmla="*/ 347 h 189512"/>
              <a:gd name="connsiteX1" fmla="*/ 21540282 w 21540282"/>
              <a:gd name="connsiteY1" fmla="*/ 0 h 189512"/>
              <a:gd name="connsiteX2" fmla="*/ 19731425 w 21540282"/>
              <a:gd name="connsiteY2" fmla="*/ 189389 h 189512"/>
              <a:gd name="connsiteX3" fmla="*/ 2942 w 21540282"/>
              <a:gd name="connsiteY3" fmla="*/ 189512 h 189512"/>
              <a:gd name="connsiteX4" fmla="*/ 0 w 21540282"/>
              <a:gd name="connsiteY4" fmla="*/ 347 h 189512"/>
              <a:gd name="connsiteX0" fmla="*/ 0 w 20903501"/>
              <a:gd name="connsiteY0" fmla="*/ 347 h 189512"/>
              <a:gd name="connsiteX1" fmla="*/ 20903501 w 20903501"/>
              <a:gd name="connsiteY1" fmla="*/ 0 h 189512"/>
              <a:gd name="connsiteX2" fmla="*/ 19731425 w 20903501"/>
              <a:gd name="connsiteY2" fmla="*/ 189389 h 189512"/>
              <a:gd name="connsiteX3" fmla="*/ 2942 w 20903501"/>
              <a:gd name="connsiteY3" fmla="*/ 189512 h 189512"/>
              <a:gd name="connsiteX4" fmla="*/ 0 w 20903501"/>
              <a:gd name="connsiteY4" fmla="*/ 347 h 189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903501" h="189512">
                <a:moveTo>
                  <a:pt x="0" y="347"/>
                </a:moveTo>
                <a:lnTo>
                  <a:pt x="20903501" y="0"/>
                </a:lnTo>
                <a:lnTo>
                  <a:pt x="19731425" y="189389"/>
                </a:lnTo>
                <a:lnTo>
                  <a:pt x="2942" y="189512"/>
                </a:lnTo>
                <a:cubicBezTo>
                  <a:pt x="1961" y="125521"/>
                  <a:pt x="981" y="64338"/>
                  <a:pt x="0" y="34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355EA5B-0213-49CD-B934-926AAD46209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74032" y="5851212"/>
            <a:ext cx="1060725" cy="822309"/>
          </a:xfrm>
          <a:prstGeom prst="rect">
            <a:avLst/>
          </a:prstGeom>
        </p:spPr>
      </p:pic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63811" y="6496407"/>
            <a:ext cx="9460550" cy="17222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>
              <a:defRPr sz="1000">
                <a:solidFill>
                  <a:schemeClr val="tx2"/>
                </a:solidFill>
                <a:latin typeface="+mn-lt"/>
                <a:cs typeface="Arial"/>
              </a:defRPr>
            </a:lvl1pPr>
          </a:lstStyle>
          <a:p>
            <a:pPr algn="ctr"/>
            <a:r>
              <a:rPr lang="en-US" dirty="0"/>
              <a:t>PPG CONFIDENTIAL – FOR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73591004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D9C4343-C115-504A-8D4F-0B17318D4A4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12883" y="1274826"/>
            <a:ext cx="11670783" cy="47132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itle 3"/>
          <p:cNvSpPr>
            <a:spLocks noGrp="1"/>
          </p:cNvSpPr>
          <p:nvPr>
            <p:ph type="title"/>
          </p:nvPr>
        </p:nvSpPr>
        <p:spPr>
          <a:xfrm>
            <a:off x="312883" y="323848"/>
            <a:ext cx="11670783" cy="8595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4"/>
          <p:cNvSpPr txBox="1">
            <a:spLocks/>
          </p:cNvSpPr>
          <p:nvPr userDrawn="1"/>
        </p:nvSpPr>
        <p:spPr>
          <a:xfrm>
            <a:off x="916250" y="6648807"/>
            <a:ext cx="9460550" cy="17222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chemeClr val="tx2"/>
                </a:solidFill>
                <a:latin typeface="+mn-lt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/>
              <a:t>PPG CONFIDENTIAL – FOR INTERNAL USE ONLY</a:t>
            </a: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247530230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2883" y="323850"/>
            <a:ext cx="11670783" cy="8595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9C4343-C115-504A-8D4F-0B17318D4A48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3"/>
          </p:nvPr>
        </p:nvSpPr>
        <p:spPr>
          <a:xfrm>
            <a:off x="312882" y="1274826"/>
            <a:ext cx="5701471" cy="4713224"/>
          </a:xfrm>
        </p:spPr>
        <p:txBody>
          <a:bodyPr/>
          <a:lstStyle>
            <a:lvl8pPr>
              <a:defRPr baseline="0"/>
            </a:lvl8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4"/>
          </p:nvPr>
        </p:nvSpPr>
        <p:spPr>
          <a:xfrm>
            <a:off x="6280925" y="1274826"/>
            <a:ext cx="5701471" cy="4713224"/>
          </a:xfrm>
        </p:spPr>
        <p:txBody>
          <a:bodyPr/>
          <a:lstStyle>
            <a:lvl8pPr>
              <a:defRPr baseline="0"/>
            </a:lvl8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Footer Placeholder 4"/>
          <p:cNvSpPr txBox="1">
            <a:spLocks/>
          </p:cNvSpPr>
          <p:nvPr userDrawn="1"/>
        </p:nvSpPr>
        <p:spPr>
          <a:xfrm>
            <a:off x="916250" y="6648807"/>
            <a:ext cx="9460550" cy="17222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chemeClr val="tx2"/>
                </a:solidFill>
                <a:latin typeface="+mn-lt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/>
              <a:t>PPG CONFIDENTIAL – FOR INTERNAL USE ONLY</a:t>
            </a: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191732184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/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3AD9D9EF-93A8-4AD0-9293-A912F1609535}"/>
              </a:ext>
            </a:extLst>
          </p:cNvPr>
          <p:cNvSpPr/>
          <p:nvPr/>
        </p:nvSpPr>
        <p:spPr>
          <a:xfrm>
            <a:off x="8485838" y="1411870"/>
            <a:ext cx="3706162" cy="48212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1" name="Rectangle 3">
            <a:extLst>
              <a:ext uri="{FF2B5EF4-FFF2-40B4-BE49-F238E27FC236}">
                <a16:creationId xmlns:a16="http://schemas.microsoft.com/office/drawing/2014/main" id="{69E79D0B-0FBC-4730-8F48-331668759A21}"/>
              </a:ext>
            </a:extLst>
          </p:cNvPr>
          <p:cNvSpPr/>
          <p:nvPr/>
        </p:nvSpPr>
        <p:spPr>
          <a:xfrm>
            <a:off x="0" y="1412185"/>
            <a:ext cx="9077242" cy="482776"/>
          </a:xfrm>
          <a:custGeom>
            <a:avLst/>
            <a:gdLst>
              <a:gd name="connsiteX0" fmla="*/ 0 w 6709251"/>
              <a:gd name="connsiteY0" fmla="*/ 0 h 182880"/>
              <a:gd name="connsiteX1" fmla="*/ 6709251 w 6709251"/>
              <a:gd name="connsiteY1" fmla="*/ 0 h 182880"/>
              <a:gd name="connsiteX2" fmla="*/ 6709251 w 6709251"/>
              <a:gd name="connsiteY2" fmla="*/ 182880 h 182880"/>
              <a:gd name="connsiteX3" fmla="*/ 0 w 6709251"/>
              <a:gd name="connsiteY3" fmla="*/ 182880 h 182880"/>
              <a:gd name="connsiteX4" fmla="*/ 0 w 6709251"/>
              <a:gd name="connsiteY4" fmla="*/ 0 h 182880"/>
              <a:gd name="connsiteX0" fmla="*/ 0 w 7073510"/>
              <a:gd name="connsiteY0" fmla="*/ 0 h 182880"/>
              <a:gd name="connsiteX1" fmla="*/ 7073510 w 7073510"/>
              <a:gd name="connsiteY1" fmla="*/ 0 h 182880"/>
              <a:gd name="connsiteX2" fmla="*/ 6709251 w 7073510"/>
              <a:gd name="connsiteY2" fmla="*/ 182880 h 182880"/>
              <a:gd name="connsiteX3" fmla="*/ 0 w 7073510"/>
              <a:gd name="connsiteY3" fmla="*/ 182880 h 182880"/>
              <a:gd name="connsiteX4" fmla="*/ 0 w 7073510"/>
              <a:gd name="connsiteY4" fmla="*/ 0 h 182880"/>
              <a:gd name="connsiteX0" fmla="*/ 0 w 8678702"/>
              <a:gd name="connsiteY0" fmla="*/ 0 h 182880"/>
              <a:gd name="connsiteX1" fmla="*/ 8678702 w 8678702"/>
              <a:gd name="connsiteY1" fmla="*/ 0 h 182880"/>
              <a:gd name="connsiteX2" fmla="*/ 8314443 w 8678702"/>
              <a:gd name="connsiteY2" fmla="*/ 182880 h 182880"/>
              <a:gd name="connsiteX3" fmla="*/ 1605192 w 8678702"/>
              <a:gd name="connsiteY3" fmla="*/ 182880 h 182880"/>
              <a:gd name="connsiteX4" fmla="*/ 0 w 8678702"/>
              <a:gd name="connsiteY4" fmla="*/ 0 h 182880"/>
              <a:gd name="connsiteX0" fmla="*/ 0 w 8678702"/>
              <a:gd name="connsiteY0" fmla="*/ 0 h 186220"/>
              <a:gd name="connsiteX1" fmla="*/ 8678702 w 8678702"/>
              <a:gd name="connsiteY1" fmla="*/ 0 h 186220"/>
              <a:gd name="connsiteX2" fmla="*/ 8314443 w 8678702"/>
              <a:gd name="connsiteY2" fmla="*/ 182880 h 186220"/>
              <a:gd name="connsiteX3" fmla="*/ 6661 w 8678702"/>
              <a:gd name="connsiteY3" fmla="*/ 186220 h 186220"/>
              <a:gd name="connsiteX4" fmla="*/ 0 w 8678702"/>
              <a:gd name="connsiteY4" fmla="*/ 0 h 186220"/>
              <a:gd name="connsiteX0" fmla="*/ 133211 w 8672041"/>
              <a:gd name="connsiteY0" fmla="*/ 50097 h 186220"/>
              <a:gd name="connsiteX1" fmla="*/ 8672041 w 8672041"/>
              <a:gd name="connsiteY1" fmla="*/ 0 h 186220"/>
              <a:gd name="connsiteX2" fmla="*/ 8307782 w 8672041"/>
              <a:gd name="connsiteY2" fmla="*/ 182880 h 186220"/>
              <a:gd name="connsiteX3" fmla="*/ 0 w 8672041"/>
              <a:gd name="connsiteY3" fmla="*/ 186220 h 186220"/>
              <a:gd name="connsiteX4" fmla="*/ 133211 w 8672041"/>
              <a:gd name="connsiteY4" fmla="*/ 50097 h 186220"/>
              <a:gd name="connsiteX0" fmla="*/ 3330 w 8672041"/>
              <a:gd name="connsiteY0" fmla="*/ 3340 h 186220"/>
              <a:gd name="connsiteX1" fmla="*/ 8672041 w 8672041"/>
              <a:gd name="connsiteY1" fmla="*/ 0 h 186220"/>
              <a:gd name="connsiteX2" fmla="*/ 8307782 w 8672041"/>
              <a:gd name="connsiteY2" fmla="*/ 182880 h 186220"/>
              <a:gd name="connsiteX3" fmla="*/ 0 w 8672041"/>
              <a:gd name="connsiteY3" fmla="*/ 186220 h 186220"/>
              <a:gd name="connsiteX4" fmla="*/ 3330 w 8672041"/>
              <a:gd name="connsiteY4" fmla="*/ 3340 h 186220"/>
              <a:gd name="connsiteX0" fmla="*/ 3330 w 8672041"/>
              <a:gd name="connsiteY0" fmla="*/ 3340 h 186220"/>
              <a:gd name="connsiteX1" fmla="*/ 8672041 w 8672041"/>
              <a:gd name="connsiteY1" fmla="*/ 0 h 186220"/>
              <a:gd name="connsiteX2" fmla="*/ 8307782 w 8672041"/>
              <a:gd name="connsiteY2" fmla="*/ 182880 h 186220"/>
              <a:gd name="connsiteX3" fmla="*/ 0 w 8672041"/>
              <a:gd name="connsiteY3" fmla="*/ 186220 h 186220"/>
              <a:gd name="connsiteX4" fmla="*/ 3330 w 8672041"/>
              <a:gd name="connsiteY4" fmla="*/ 3340 h 186220"/>
              <a:gd name="connsiteX0" fmla="*/ 0 w 8674979"/>
              <a:gd name="connsiteY0" fmla="*/ 3340 h 186220"/>
              <a:gd name="connsiteX1" fmla="*/ 8674979 w 8674979"/>
              <a:gd name="connsiteY1" fmla="*/ 0 h 186220"/>
              <a:gd name="connsiteX2" fmla="*/ 8310720 w 8674979"/>
              <a:gd name="connsiteY2" fmla="*/ 182880 h 186220"/>
              <a:gd name="connsiteX3" fmla="*/ 2938 w 8674979"/>
              <a:gd name="connsiteY3" fmla="*/ 186220 h 186220"/>
              <a:gd name="connsiteX4" fmla="*/ 0 w 8674979"/>
              <a:gd name="connsiteY4" fmla="*/ 3340 h 186220"/>
              <a:gd name="connsiteX0" fmla="*/ 0 w 8674979"/>
              <a:gd name="connsiteY0" fmla="*/ 0 h 189166"/>
              <a:gd name="connsiteX1" fmla="*/ 8674979 w 8674979"/>
              <a:gd name="connsiteY1" fmla="*/ 2946 h 189166"/>
              <a:gd name="connsiteX2" fmla="*/ 8310720 w 8674979"/>
              <a:gd name="connsiteY2" fmla="*/ 185826 h 189166"/>
              <a:gd name="connsiteX3" fmla="*/ 2938 w 8674979"/>
              <a:gd name="connsiteY3" fmla="*/ 189166 h 189166"/>
              <a:gd name="connsiteX4" fmla="*/ 0 w 8674979"/>
              <a:gd name="connsiteY4" fmla="*/ 0 h 189166"/>
              <a:gd name="connsiteX0" fmla="*/ 0 w 8674979"/>
              <a:gd name="connsiteY0" fmla="*/ 444 h 189610"/>
              <a:gd name="connsiteX1" fmla="*/ 8674979 w 8674979"/>
              <a:gd name="connsiteY1" fmla="*/ 0 h 189610"/>
              <a:gd name="connsiteX2" fmla="*/ 8310720 w 8674979"/>
              <a:gd name="connsiteY2" fmla="*/ 186270 h 189610"/>
              <a:gd name="connsiteX3" fmla="*/ 2938 w 8674979"/>
              <a:gd name="connsiteY3" fmla="*/ 189610 h 189610"/>
              <a:gd name="connsiteX4" fmla="*/ 0 w 8674979"/>
              <a:gd name="connsiteY4" fmla="*/ 444 h 189610"/>
              <a:gd name="connsiteX0" fmla="*/ 0 w 8674979"/>
              <a:gd name="connsiteY0" fmla="*/ 444 h 189660"/>
              <a:gd name="connsiteX1" fmla="*/ 8674979 w 8674979"/>
              <a:gd name="connsiteY1" fmla="*/ 0 h 189660"/>
              <a:gd name="connsiteX2" fmla="*/ 8310720 w 8674979"/>
              <a:gd name="connsiteY2" fmla="*/ 189660 h 189660"/>
              <a:gd name="connsiteX3" fmla="*/ 2938 w 8674979"/>
              <a:gd name="connsiteY3" fmla="*/ 189610 h 189660"/>
              <a:gd name="connsiteX4" fmla="*/ 0 w 8674979"/>
              <a:gd name="connsiteY4" fmla="*/ 444 h 189660"/>
              <a:gd name="connsiteX0" fmla="*/ 0 w 10119577"/>
              <a:gd name="connsiteY0" fmla="*/ 0 h 189216"/>
              <a:gd name="connsiteX1" fmla="*/ 10119577 w 10119577"/>
              <a:gd name="connsiteY1" fmla="*/ 686 h 189216"/>
              <a:gd name="connsiteX2" fmla="*/ 8310720 w 10119577"/>
              <a:gd name="connsiteY2" fmla="*/ 189216 h 189216"/>
              <a:gd name="connsiteX3" fmla="*/ 2938 w 10119577"/>
              <a:gd name="connsiteY3" fmla="*/ 189166 h 189216"/>
              <a:gd name="connsiteX4" fmla="*/ 0 w 10119577"/>
              <a:gd name="connsiteY4" fmla="*/ 0 h 189216"/>
              <a:gd name="connsiteX0" fmla="*/ 0 w 10119577"/>
              <a:gd name="connsiteY0" fmla="*/ 173 h 189389"/>
              <a:gd name="connsiteX1" fmla="*/ 10119577 w 10119577"/>
              <a:gd name="connsiteY1" fmla="*/ 0 h 189389"/>
              <a:gd name="connsiteX2" fmla="*/ 8310720 w 10119577"/>
              <a:gd name="connsiteY2" fmla="*/ 189389 h 189389"/>
              <a:gd name="connsiteX3" fmla="*/ 2938 w 10119577"/>
              <a:gd name="connsiteY3" fmla="*/ 189339 h 189389"/>
              <a:gd name="connsiteX4" fmla="*/ 0 w 10119577"/>
              <a:gd name="connsiteY4" fmla="*/ 173 h 189389"/>
              <a:gd name="connsiteX0" fmla="*/ 10004 w 10129581"/>
              <a:gd name="connsiteY0" fmla="*/ 173 h 189389"/>
              <a:gd name="connsiteX1" fmla="*/ 10129581 w 10129581"/>
              <a:gd name="connsiteY1" fmla="*/ 0 h 189389"/>
              <a:gd name="connsiteX2" fmla="*/ 8320724 w 10129581"/>
              <a:gd name="connsiteY2" fmla="*/ 189389 h 189389"/>
              <a:gd name="connsiteX3" fmla="*/ 57 w 10129581"/>
              <a:gd name="connsiteY3" fmla="*/ 189339 h 189389"/>
              <a:gd name="connsiteX4" fmla="*/ 10004 w 10129581"/>
              <a:gd name="connsiteY4" fmla="*/ 173 h 189389"/>
              <a:gd name="connsiteX0" fmla="*/ 9947 w 10129524"/>
              <a:gd name="connsiteY0" fmla="*/ 173 h 189389"/>
              <a:gd name="connsiteX1" fmla="*/ 10129524 w 10129524"/>
              <a:gd name="connsiteY1" fmla="*/ 0 h 189389"/>
              <a:gd name="connsiteX2" fmla="*/ 8320667 w 10129524"/>
              <a:gd name="connsiteY2" fmla="*/ 189389 h 189389"/>
              <a:gd name="connsiteX3" fmla="*/ 0 w 10129524"/>
              <a:gd name="connsiteY3" fmla="*/ 189339 h 189389"/>
              <a:gd name="connsiteX4" fmla="*/ 9947 w 10129524"/>
              <a:gd name="connsiteY4" fmla="*/ 173 h 189389"/>
              <a:gd name="connsiteX0" fmla="*/ 9947 w 10129524"/>
              <a:gd name="connsiteY0" fmla="*/ 173 h 189389"/>
              <a:gd name="connsiteX1" fmla="*/ 10129524 w 10129524"/>
              <a:gd name="connsiteY1" fmla="*/ 0 h 189389"/>
              <a:gd name="connsiteX2" fmla="*/ 8320667 w 10129524"/>
              <a:gd name="connsiteY2" fmla="*/ 189389 h 189389"/>
              <a:gd name="connsiteX3" fmla="*/ 0 w 10129524"/>
              <a:gd name="connsiteY3" fmla="*/ 189339 h 189389"/>
              <a:gd name="connsiteX4" fmla="*/ 9947 w 10129524"/>
              <a:gd name="connsiteY4" fmla="*/ 173 h 189389"/>
              <a:gd name="connsiteX0" fmla="*/ 0 w 10119577"/>
              <a:gd name="connsiteY0" fmla="*/ 173 h 189389"/>
              <a:gd name="connsiteX1" fmla="*/ 10119577 w 10119577"/>
              <a:gd name="connsiteY1" fmla="*/ 0 h 189389"/>
              <a:gd name="connsiteX2" fmla="*/ 8310720 w 10119577"/>
              <a:gd name="connsiteY2" fmla="*/ 189389 h 189389"/>
              <a:gd name="connsiteX3" fmla="*/ 15823 w 10119577"/>
              <a:gd name="connsiteY3" fmla="*/ 189339 h 189389"/>
              <a:gd name="connsiteX4" fmla="*/ 0 w 10119577"/>
              <a:gd name="connsiteY4" fmla="*/ 173 h 189389"/>
              <a:gd name="connsiteX0" fmla="*/ 0 w 10119577"/>
              <a:gd name="connsiteY0" fmla="*/ 173 h 189389"/>
              <a:gd name="connsiteX1" fmla="*/ 10119577 w 10119577"/>
              <a:gd name="connsiteY1" fmla="*/ 0 h 189389"/>
              <a:gd name="connsiteX2" fmla="*/ 8310720 w 10119577"/>
              <a:gd name="connsiteY2" fmla="*/ 189389 h 189389"/>
              <a:gd name="connsiteX3" fmla="*/ 2938 w 10119577"/>
              <a:gd name="connsiteY3" fmla="*/ 189339 h 189389"/>
              <a:gd name="connsiteX4" fmla="*/ 0 w 10119577"/>
              <a:gd name="connsiteY4" fmla="*/ 173 h 189389"/>
              <a:gd name="connsiteX0" fmla="*/ 0 w 21540281"/>
              <a:gd name="connsiteY0" fmla="*/ 9120 h 189389"/>
              <a:gd name="connsiteX1" fmla="*/ 21540281 w 21540281"/>
              <a:gd name="connsiteY1" fmla="*/ 0 h 189389"/>
              <a:gd name="connsiteX2" fmla="*/ 19731424 w 21540281"/>
              <a:gd name="connsiteY2" fmla="*/ 189389 h 189389"/>
              <a:gd name="connsiteX3" fmla="*/ 11423642 w 21540281"/>
              <a:gd name="connsiteY3" fmla="*/ 189339 h 189389"/>
              <a:gd name="connsiteX4" fmla="*/ 0 w 21540281"/>
              <a:gd name="connsiteY4" fmla="*/ 9120 h 189389"/>
              <a:gd name="connsiteX0" fmla="*/ 0 w 21540281"/>
              <a:gd name="connsiteY0" fmla="*/ 9120 h 192321"/>
              <a:gd name="connsiteX1" fmla="*/ 21540281 w 21540281"/>
              <a:gd name="connsiteY1" fmla="*/ 0 h 192321"/>
              <a:gd name="connsiteX2" fmla="*/ 19731424 w 21540281"/>
              <a:gd name="connsiteY2" fmla="*/ 189389 h 192321"/>
              <a:gd name="connsiteX3" fmla="*/ 2942 w 21540281"/>
              <a:gd name="connsiteY3" fmla="*/ 192321 h 192321"/>
              <a:gd name="connsiteX4" fmla="*/ 0 w 21540281"/>
              <a:gd name="connsiteY4" fmla="*/ 9120 h 192321"/>
              <a:gd name="connsiteX0" fmla="*/ 0 w 21540281"/>
              <a:gd name="connsiteY0" fmla="*/ 6138 h 192321"/>
              <a:gd name="connsiteX1" fmla="*/ 21540281 w 21540281"/>
              <a:gd name="connsiteY1" fmla="*/ 0 h 192321"/>
              <a:gd name="connsiteX2" fmla="*/ 19731424 w 21540281"/>
              <a:gd name="connsiteY2" fmla="*/ 189389 h 192321"/>
              <a:gd name="connsiteX3" fmla="*/ 2942 w 21540281"/>
              <a:gd name="connsiteY3" fmla="*/ 192321 h 192321"/>
              <a:gd name="connsiteX4" fmla="*/ 0 w 21540281"/>
              <a:gd name="connsiteY4" fmla="*/ 6138 h 192321"/>
              <a:gd name="connsiteX0" fmla="*/ 2579162 w 24119443"/>
              <a:gd name="connsiteY0" fmla="*/ 6138 h 192321"/>
              <a:gd name="connsiteX1" fmla="*/ 24119443 w 24119443"/>
              <a:gd name="connsiteY1" fmla="*/ 0 h 192321"/>
              <a:gd name="connsiteX2" fmla="*/ 22310586 w 24119443"/>
              <a:gd name="connsiteY2" fmla="*/ 189389 h 192321"/>
              <a:gd name="connsiteX3" fmla="*/ 2582104 w 24119443"/>
              <a:gd name="connsiteY3" fmla="*/ 192321 h 192321"/>
              <a:gd name="connsiteX4" fmla="*/ 2579162 w 24119443"/>
              <a:gd name="connsiteY4" fmla="*/ 6138 h 192321"/>
              <a:gd name="connsiteX0" fmla="*/ 1459081 w 22999362"/>
              <a:gd name="connsiteY0" fmla="*/ 6138 h 192321"/>
              <a:gd name="connsiteX1" fmla="*/ 22999362 w 22999362"/>
              <a:gd name="connsiteY1" fmla="*/ 0 h 192321"/>
              <a:gd name="connsiteX2" fmla="*/ 21190505 w 22999362"/>
              <a:gd name="connsiteY2" fmla="*/ 189389 h 192321"/>
              <a:gd name="connsiteX3" fmla="*/ 1462023 w 22999362"/>
              <a:gd name="connsiteY3" fmla="*/ 192321 h 192321"/>
              <a:gd name="connsiteX4" fmla="*/ 1459081 w 22999362"/>
              <a:gd name="connsiteY4" fmla="*/ 6138 h 192321"/>
              <a:gd name="connsiteX0" fmla="*/ 2579108 w 24119389"/>
              <a:gd name="connsiteY0" fmla="*/ 6138 h 192321"/>
              <a:gd name="connsiteX1" fmla="*/ 24119389 w 24119389"/>
              <a:gd name="connsiteY1" fmla="*/ 0 h 192321"/>
              <a:gd name="connsiteX2" fmla="*/ 22310532 w 24119389"/>
              <a:gd name="connsiteY2" fmla="*/ 189389 h 192321"/>
              <a:gd name="connsiteX3" fmla="*/ 2582050 w 24119389"/>
              <a:gd name="connsiteY3" fmla="*/ 192321 h 192321"/>
              <a:gd name="connsiteX4" fmla="*/ 2579108 w 24119389"/>
              <a:gd name="connsiteY4" fmla="*/ 6138 h 192321"/>
              <a:gd name="connsiteX0" fmla="*/ 1594923 w 23135204"/>
              <a:gd name="connsiteY0" fmla="*/ 6138 h 192321"/>
              <a:gd name="connsiteX1" fmla="*/ 23135204 w 23135204"/>
              <a:gd name="connsiteY1" fmla="*/ 0 h 192321"/>
              <a:gd name="connsiteX2" fmla="*/ 21326347 w 23135204"/>
              <a:gd name="connsiteY2" fmla="*/ 189389 h 192321"/>
              <a:gd name="connsiteX3" fmla="*/ 1597865 w 23135204"/>
              <a:gd name="connsiteY3" fmla="*/ 192321 h 192321"/>
              <a:gd name="connsiteX4" fmla="*/ 1594923 w 23135204"/>
              <a:gd name="connsiteY4" fmla="*/ 6138 h 192321"/>
              <a:gd name="connsiteX0" fmla="*/ 1 w 21540282"/>
              <a:gd name="connsiteY0" fmla="*/ 6138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3 w 21540282"/>
              <a:gd name="connsiteY3" fmla="*/ 192321 h 192321"/>
              <a:gd name="connsiteX4" fmla="*/ 1 w 21540282"/>
              <a:gd name="connsiteY4" fmla="*/ 6138 h 192321"/>
              <a:gd name="connsiteX0" fmla="*/ 0 w 21540282"/>
              <a:gd name="connsiteY0" fmla="*/ 3156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3 w 21540282"/>
              <a:gd name="connsiteY3" fmla="*/ 192321 h 192321"/>
              <a:gd name="connsiteX4" fmla="*/ 0 w 21540282"/>
              <a:gd name="connsiteY4" fmla="*/ 3156 h 192321"/>
              <a:gd name="connsiteX0" fmla="*/ 0 w 21540282"/>
              <a:gd name="connsiteY0" fmla="*/ 347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3 w 21540282"/>
              <a:gd name="connsiteY3" fmla="*/ 192321 h 192321"/>
              <a:gd name="connsiteX4" fmla="*/ 0 w 21540282"/>
              <a:gd name="connsiteY4" fmla="*/ 347 h 192321"/>
              <a:gd name="connsiteX0" fmla="*/ 0 w 21540282"/>
              <a:gd name="connsiteY0" fmla="*/ 347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2 w 21540282"/>
              <a:gd name="connsiteY3" fmla="*/ 192321 h 192321"/>
              <a:gd name="connsiteX4" fmla="*/ 0 w 21540282"/>
              <a:gd name="connsiteY4" fmla="*/ 347 h 192321"/>
              <a:gd name="connsiteX0" fmla="*/ 0 w 21540282"/>
              <a:gd name="connsiteY0" fmla="*/ 347 h 189512"/>
              <a:gd name="connsiteX1" fmla="*/ 21540282 w 21540282"/>
              <a:gd name="connsiteY1" fmla="*/ 0 h 189512"/>
              <a:gd name="connsiteX2" fmla="*/ 19731425 w 21540282"/>
              <a:gd name="connsiteY2" fmla="*/ 189389 h 189512"/>
              <a:gd name="connsiteX3" fmla="*/ 2942 w 21540282"/>
              <a:gd name="connsiteY3" fmla="*/ 189512 h 189512"/>
              <a:gd name="connsiteX4" fmla="*/ 0 w 21540282"/>
              <a:gd name="connsiteY4" fmla="*/ 347 h 189512"/>
              <a:gd name="connsiteX0" fmla="*/ 0 w 20903501"/>
              <a:gd name="connsiteY0" fmla="*/ 347 h 189512"/>
              <a:gd name="connsiteX1" fmla="*/ 20903501 w 20903501"/>
              <a:gd name="connsiteY1" fmla="*/ 0 h 189512"/>
              <a:gd name="connsiteX2" fmla="*/ 19731425 w 20903501"/>
              <a:gd name="connsiteY2" fmla="*/ 189389 h 189512"/>
              <a:gd name="connsiteX3" fmla="*/ 2942 w 20903501"/>
              <a:gd name="connsiteY3" fmla="*/ 189512 h 189512"/>
              <a:gd name="connsiteX4" fmla="*/ 0 w 20903501"/>
              <a:gd name="connsiteY4" fmla="*/ 347 h 189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903501" h="189512">
                <a:moveTo>
                  <a:pt x="0" y="347"/>
                </a:moveTo>
                <a:lnTo>
                  <a:pt x="20903501" y="0"/>
                </a:lnTo>
                <a:lnTo>
                  <a:pt x="19731425" y="189389"/>
                </a:lnTo>
                <a:lnTo>
                  <a:pt x="2942" y="189512"/>
                </a:lnTo>
                <a:cubicBezTo>
                  <a:pt x="1961" y="125521"/>
                  <a:pt x="981" y="64338"/>
                  <a:pt x="0" y="34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2883" y="3748408"/>
            <a:ext cx="8457972" cy="984333"/>
          </a:xfrm>
        </p:spPr>
        <p:txBody>
          <a:bodyPr anchor="b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12883" y="4800476"/>
            <a:ext cx="8457972" cy="640767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12883" y="5580380"/>
            <a:ext cx="3303862" cy="3651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1000">
                <a:solidFill>
                  <a:schemeClr val="tx1"/>
                </a:solidFill>
                <a:latin typeface="+mn-lt"/>
                <a:cs typeface="Arial"/>
              </a:defRPr>
            </a:lvl1pPr>
          </a:lstStyle>
          <a:p>
            <a:endParaRPr lang="en-US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38F46E6-B30F-4BB4-8F82-08AD4C6EA83F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74032" y="5810572"/>
            <a:ext cx="1060725" cy="822309"/>
          </a:xfrm>
          <a:prstGeom prst="rect">
            <a:avLst/>
          </a:prstGeom>
        </p:spPr>
      </p:pic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B1B375D4-5229-42D1-ACCC-C091DAB25EB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-11117" y="1927755"/>
            <a:ext cx="3018306" cy="1706562"/>
          </a:xfr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17" name="Picture Placeholder 15">
            <a:extLst>
              <a:ext uri="{FF2B5EF4-FFF2-40B4-BE49-F238E27FC236}">
                <a16:creationId xmlns:a16="http://schemas.microsoft.com/office/drawing/2014/main" id="{9AA1076D-6C42-4BB3-BA4D-45B182AC9A43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050486" y="1927755"/>
            <a:ext cx="3018306" cy="1706562"/>
          </a:xfr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18" name="Picture Placeholder 15">
            <a:extLst>
              <a:ext uri="{FF2B5EF4-FFF2-40B4-BE49-F238E27FC236}">
                <a16:creationId xmlns:a16="http://schemas.microsoft.com/office/drawing/2014/main" id="{94262E97-B7F8-4095-A959-B2C6D66AE08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12090" y="1927755"/>
            <a:ext cx="3018306" cy="1706562"/>
          </a:xfr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19" name="Picture Placeholder 15">
            <a:extLst>
              <a:ext uri="{FF2B5EF4-FFF2-40B4-BE49-F238E27FC236}">
                <a16:creationId xmlns:a16="http://schemas.microsoft.com/office/drawing/2014/main" id="{C14C4D13-49AC-4208-BEFF-0899F4B2E2E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173694" y="1927755"/>
            <a:ext cx="3018306" cy="1706562"/>
          </a:xfr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Insert photo here</a:t>
            </a:r>
          </a:p>
        </p:txBody>
      </p:sp>
    </p:spTree>
    <p:extLst>
      <p:ext uri="{BB962C8B-B14F-4D97-AF65-F5344CB8AC3E}">
        <p14:creationId xmlns:p14="http://schemas.microsoft.com/office/powerpoint/2010/main" val="872324935"/>
      </p:ext>
    </p:extLst>
  </p:cSld>
  <p:clrMapOvr>
    <a:masterClrMapping/>
  </p:clrMapOvr>
  <p:hf hdr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12882" y="1274826"/>
            <a:ext cx="5698196" cy="800100"/>
          </a:xfrm>
        </p:spPr>
        <p:txBody>
          <a:bodyPr anchor="t" anchorCtr="0">
            <a:normAutofit/>
          </a:bodyPr>
          <a:lstStyle>
            <a:lvl1pPr marL="0" indent="0">
              <a:buNone/>
              <a:defRPr sz="22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/>
          </a:bodyPr>
          <a:lstStyle/>
          <a:p>
            <a:fld id="{FD9C4343-C115-504A-8D4F-0B17318D4A48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312883" y="323850"/>
            <a:ext cx="11670783" cy="859536"/>
          </a:xfrm>
        </p:spPr>
        <p:txBody>
          <a:bodyPr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3"/>
          </p:nvPr>
        </p:nvSpPr>
        <p:spPr>
          <a:xfrm>
            <a:off x="312882" y="2217798"/>
            <a:ext cx="5698196" cy="3770252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idx="14"/>
          </p:nvPr>
        </p:nvSpPr>
        <p:spPr>
          <a:xfrm>
            <a:off x="6285470" y="1274826"/>
            <a:ext cx="5698196" cy="800100"/>
          </a:xfrm>
        </p:spPr>
        <p:txBody>
          <a:bodyPr anchor="t" anchorCtr="0">
            <a:normAutofit/>
          </a:bodyPr>
          <a:lstStyle>
            <a:lvl1pPr marL="0" indent="0">
              <a:buNone/>
              <a:defRPr sz="22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5"/>
          </p:nvPr>
        </p:nvSpPr>
        <p:spPr>
          <a:xfrm>
            <a:off x="6285470" y="2217798"/>
            <a:ext cx="5698196" cy="3770252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409174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Column_Right Two Quadra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2883" y="323850"/>
            <a:ext cx="11670783" cy="859536"/>
          </a:xfrm>
        </p:spPr>
        <p:txBody>
          <a:bodyPr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9C4343-C115-504A-8D4F-0B17318D4A48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>
          <a:xfrm>
            <a:off x="312882" y="1272033"/>
            <a:ext cx="5698196" cy="471602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6285470" y="1272029"/>
            <a:ext cx="5698196" cy="225222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>
          <a:xfrm>
            <a:off x="6285470" y="3740212"/>
            <a:ext cx="5698196" cy="225222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088128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Column_Left Two Quadra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2883" y="323851"/>
            <a:ext cx="11670783" cy="859536"/>
          </a:xfrm>
        </p:spPr>
        <p:txBody>
          <a:bodyPr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/>
          </a:bodyPr>
          <a:lstStyle/>
          <a:p>
            <a:fld id="{FD9C4343-C115-504A-8D4F-0B17318D4A48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6285470" y="1272033"/>
            <a:ext cx="5698196" cy="4716021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5"/>
          </p:nvPr>
        </p:nvSpPr>
        <p:spPr>
          <a:xfrm>
            <a:off x="312882" y="1272033"/>
            <a:ext cx="5697434" cy="2252222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idx="16"/>
          </p:nvPr>
        </p:nvSpPr>
        <p:spPr>
          <a:xfrm>
            <a:off x="312882" y="3740212"/>
            <a:ext cx="5698196" cy="2252222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670687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ra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2883" y="323851"/>
            <a:ext cx="11670783" cy="859536"/>
          </a:xfrm>
        </p:spPr>
        <p:txBody>
          <a:bodyPr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/>
          </a:bodyPr>
          <a:lstStyle/>
          <a:p>
            <a:fld id="{FD9C4343-C115-504A-8D4F-0B17318D4A48}" type="slidenum">
              <a:rPr lang="en-US" smtClean="0"/>
              <a:t>‹#›</a:t>
            </a:fld>
            <a:endParaRPr lang="en-US"/>
          </a:p>
        </p:txBody>
      </p:sp>
      <p:sp>
        <p:nvSpPr>
          <p:cNvPr id="16" name="Content Placeholder 2"/>
          <p:cNvSpPr>
            <a:spLocks noGrp="1"/>
          </p:cNvSpPr>
          <p:nvPr>
            <p:ph idx="15"/>
          </p:nvPr>
        </p:nvSpPr>
        <p:spPr>
          <a:xfrm>
            <a:off x="312882" y="1272029"/>
            <a:ext cx="5698196" cy="2252222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Content Placeholder 2"/>
          <p:cNvSpPr>
            <a:spLocks noGrp="1"/>
          </p:cNvSpPr>
          <p:nvPr>
            <p:ph idx="16"/>
          </p:nvPr>
        </p:nvSpPr>
        <p:spPr>
          <a:xfrm>
            <a:off x="312882" y="3740212"/>
            <a:ext cx="5698196" cy="2252222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2"/>
          <p:cNvSpPr>
            <a:spLocks noGrp="1"/>
          </p:cNvSpPr>
          <p:nvPr>
            <p:ph idx="17"/>
          </p:nvPr>
        </p:nvSpPr>
        <p:spPr>
          <a:xfrm>
            <a:off x="6285470" y="1272029"/>
            <a:ext cx="5698196" cy="2252222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idx="18"/>
          </p:nvPr>
        </p:nvSpPr>
        <p:spPr>
          <a:xfrm>
            <a:off x="6285470" y="3740212"/>
            <a:ext cx="5698196" cy="2252222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024816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9C4343-C115-504A-8D4F-0B17318D4A48}" type="slidenum">
              <a:rPr lang="en-US" smtClean="0"/>
              <a:t>‹#›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12883" y="323849"/>
            <a:ext cx="11670783" cy="8595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346988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9C4343-C115-504A-8D4F-0B17318D4A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816794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2883" y="323850"/>
            <a:ext cx="4011084" cy="1162050"/>
          </a:xfrm>
        </p:spPr>
        <p:txBody>
          <a:bodyPr anchor="t" anchorCtr="0">
            <a:normAutofit/>
          </a:bodyPr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12883" y="1530351"/>
            <a:ext cx="4011084" cy="4467226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/>
          </a:bodyPr>
          <a:lstStyle/>
          <a:p>
            <a:fld id="{FD9C4343-C115-504A-8D4F-0B17318D4A48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>
          <a:xfrm>
            <a:off x="4497716" y="323850"/>
            <a:ext cx="7484679" cy="5673726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500327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12883" y="5274398"/>
            <a:ext cx="11670783" cy="72318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9C4343-C115-504A-8D4F-0B17318D4A48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312882" y="1274832"/>
            <a:ext cx="11670783" cy="390024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3"/>
          <p:cNvSpPr>
            <a:spLocks noGrp="1"/>
          </p:cNvSpPr>
          <p:nvPr>
            <p:ph type="title"/>
          </p:nvPr>
        </p:nvSpPr>
        <p:spPr>
          <a:xfrm>
            <a:off x="312882" y="323848"/>
            <a:ext cx="11670783" cy="8595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672567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6" progId="TCLayout.ActiveDocument.1">
                  <p:embed/>
                </p:oleObj>
              </mc:Choice>
              <mc:Fallback>
                <p:oleObj name="think-cell Slide" r:id="rId3" imgW="347" imgH="34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lnSpc>
                <a:spcPct val="100000"/>
              </a:lnSpc>
              <a:spcAft>
                <a:spcPts val="500"/>
              </a:spcAft>
              <a:defRPr/>
            </a:lvl1pPr>
            <a:lvl2pPr>
              <a:lnSpc>
                <a:spcPct val="100000"/>
              </a:lnSpc>
              <a:spcAft>
                <a:spcPts val="500"/>
              </a:spcAft>
              <a:defRPr sz="1998"/>
            </a:lvl2pPr>
            <a:lvl3pPr>
              <a:spcAft>
                <a:spcPts val="500"/>
              </a:spcAft>
              <a:defRPr/>
            </a:lvl3pPr>
            <a:lvl4pPr>
              <a:spcAft>
                <a:spcPts val="500"/>
              </a:spcAft>
              <a:defRPr/>
            </a:lvl4pPr>
            <a:lvl5pPr>
              <a:spcAft>
                <a:spcPts val="500"/>
              </a:spcAft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51692" y="6387123"/>
            <a:ext cx="2117752" cy="279544"/>
          </a:xfrm>
          <a:prstGeom prst="rect">
            <a:avLst/>
          </a:prstGeom>
        </p:spPr>
        <p:txBody>
          <a:bodyPr vert="horz" lIns="0" tIns="0" rIns="91440" bIns="0" rtlCol="0" anchor="t" anchorCtr="0"/>
          <a:lstStyle>
            <a:lvl1pPr algn="l">
              <a:defRPr sz="1000" b="0" i="0">
                <a:solidFill>
                  <a:schemeClr val="tx1">
                    <a:tint val="75000"/>
                  </a:schemeClr>
                </a:solidFill>
                <a:latin typeface="Arial" charset="0"/>
              </a:defRPr>
            </a:lvl1pPr>
          </a:lstStyle>
          <a:p>
            <a:fld id="{1860EE3E-6D0A-6942-A3BC-30B328A6761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495445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l-PL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>
          <a:xfrm>
            <a:off x="8788400" y="0"/>
            <a:ext cx="2844800" cy="24765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pl-PL"/>
              <a:t>January 2017</a:t>
            </a: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43FF42B-B532-334A-B322-B4938C62040C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682666520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2883" y="2817077"/>
            <a:ext cx="8457972" cy="984333"/>
          </a:xfrm>
        </p:spPr>
        <p:txBody>
          <a:bodyPr anchor="b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12883" y="3869145"/>
            <a:ext cx="8457972" cy="640767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A85F325-7987-4A1E-820A-9A64A1B13356}"/>
              </a:ext>
            </a:extLst>
          </p:cNvPr>
          <p:cNvSpPr/>
          <p:nvPr/>
        </p:nvSpPr>
        <p:spPr>
          <a:xfrm>
            <a:off x="8485838" y="2209311"/>
            <a:ext cx="3706162" cy="48212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3" name="Rectangle 3">
            <a:extLst>
              <a:ext uri="{FF2B5EF4-FFF2-40B4-BE49-F238E27FC236}">
                <a16:creationId xmlns:a16="http://schemas.microsoft.com/office/drawing/2014/main" id="{352936BF-BEFE-420D-886B-904153FF49AA}"/>
              </a:ext>
            </a:extLst>
          </p:cNvPr>
          <p:cNvSpPr/>
          <p:nvPr/>
        </p:nvSpPr>
        <p:spPr>
          <a:xfrm>
            <a:off x="0" y="2209626"/>
            <a:ext cx="9077242" cy="482776"/>
          </a:xfrm>
          <a:custGeom>
            <a:avLst/>
            <a:gdLst>
              <a:gd name="connsiteX0" fmla="*/ 0 w 6709251"/>
              <a:gd name="connsiteY0" fmla="*/ 0 h 182880"/>
              <a:gd name="connsiteX1" fmla="*/ 6709251 w 6709251"/>
              <a:gd name="connsiteY1" fmla="*/ 0 h 182880"/>
              <a:gd name="connsiteX2" fmla="*/ 6709251 w 6709251"/>
              <a:gd name="connsiteY2" fmla="*/ 182880 h 182880"/>
              <a:gd name="connsiteX3" fmla="*/ 0 w 6709251"/>
              <a:gd name="connsiteY3" fmla="*/ 182880 h 182880"/>
              <a:gd name="connsiteX4" fmla="*/ 0 w 6709251"/>
              <a:gd name="connsiteY4" fmla="*/ 0 h 182880"/>
              <a:gd name="connsiteX0" fmla="*/ 0 w 7073510"/>
              <a:gd name="connsiteY0" fmla="*/ 0 h 182880"/>
              <a:gd name="connsiteX1" fmla="*/ 7073510 w 7073510"/>
              <a:gd name="connsiteY1" fmla="*/ 0 h 182880"/>
              <a:gd name="connsiteX2" fmla="*/ 6709251 w 7073510"/>
              <a:gd name="connsiteY2" fmla="*/ 182880 h 182880"/>
              <a:gd name="connsiteX3" fmla="*/ 0 w 7073510"/>
              <a:gd name="connsiteY3" fmla="*/ 182880 h 182880"/>
              <a:gd name="connsiteX4" fmla="*/ 0 w 7073510"/>
              <a:gd name="connsiteY4" fmla="*/ 0 h 182880"/>
              <a:gd name="connsiteX0" fmla="*/ 0 w 8678702"/>
              <a:gd name="connsiteY0" fmla="*/ 0 h 182880"/>
              <a:gd name="connsiteX1" fmla="*/ 8678702 w 8678702"/>
              <a:gd name="connsiteY1" fmla="*/ 0 h 182880"/>
              <a:gd name="connsiteX2" fmla="*/ 8314443 w 8678702"/>
              <a:gd name="connsiteY2" fmla="*/ 182880 h 182880"/>
              <a:gd name="connsiteX3" fmla="*/ 1605192 w 8678702"/>
              <a:gd name="connsiteY3" fmla="*/ 182880 h 182880"/>
              <a:gd name="connsiteX4" fmla="*/ 0 w 8678702"/>
              <a:gd name="connsiteY4" fmla="*/ 0 h 182880"/>
              <a:gd name="connsiteX0" fmla="*/ 0 w 8678702"/>
              <a:gd name="connsiteY0" fmla="*/ 0 h 186220"/>
              <a:gd name="connsiteX1" fmla="*/ 8678702 w 8678702"/>
              <a:gd name="connsiteY1" fmla="*/ 0 h 186220"/>
              <a:gd name="connsiteX2" fmla="*/ 8314443 w 8678702"/>
              <a:gd name="connsiteY2" fmla="*/ 182880 h 186220"/>
              <a:gd name="connsiteX3" fmla="*/ 6661 w 8678702"/>
              <a:gd name="connsiteY3" fmla="*/ 186220 h 186220"/>
              <a:gd name="connsiteX4" fmla="*/ 0 w 8678702"/>
              <a:gd name="connsiteY4" fmla="*/ 0 h 186220"/>
              <a:gd name="connsiteX0" fmla="*/ 133211 w 8672041"/>
              <a:gd name="connsiteY0" fmla="*/ 50097 h 186220"/>
              <a:gd name="connsiteX1" fmla="*/ 8672041 w 8672041"/>
              <a:gd name="connsiteY1" fmla="*/ 0 h 186220"/>
              <a:gd name="connsiteX2" fmla="*/ 8307782 w 8672041"/>
              <a:gd name="connsiteY2" fmla="*/ 182880 h 186220"/>
              <a:gd name="connsiteX3" fmla="*/ 0 w 8672041"/>
              <a:gd name="connsiteY3" fmla="*/ 186220 h 186220"/>
              <a:gd name="connsiteX4" fmla="*/ 133211 w 8672041"/>
              <a:gd name="connsiteY4" fmla="*/ 50097 h 186220"/>
              <a:gd name="connsiteX0" fmla="*/ 3330 w 8672041"/>
              <a:gd name="connsiteY0" fmla="*/ 3340 h 186220"/>
              <a:gd name="connsiteX1" fmla="*/ 8672041 w 8672041"/>
              <a:gd name="connsiteY1" fmla="*/ 0 h 186220"/>
              <a:gd name="connsiteX2" fmla="*/ 8307782 w 8672041"/>
              <a:gd name="connsiteY2" fmla="*/ 182880 h 186220"/>
              <a:gd name="connsiteX3" fmla="*/ 0 w 8672041"/>
              <a:gd name="connsiteY3" fmla="*/ 186220 h 186220"/>
              <a:gd name="connsiteX4" fmla="*/ 3330 w 8672041"/>
              <a:gd name="connsiteY4" fmla="*/ 3340 h 186220"/>
              <a:gd name="connsiteX0" fmla="*/ 3330 w 8672041"/>
              <a:gd name="connsiteY0" fmla="*/ 3340 h 186220"/>
              <a:gd name="connsiteX1" fmla="*/ 8672041 w 8672041"/>
              <a:gd name="connsiteY1" fmla="*/ 0 h 186220"/>
              <a:gd name="connsiteX2" fmla="*/ 8307782 w 8672041"/>
              <a:gd name="connsiteY2" fmla="*/ 182880 h 186220"/>
              <a:gd name="connsiteX3" fmla="*/ 0 w 8672041"/>
              <a:gd name="connsiteY3" fmla="*/ 186220 h 186220"/>
              <a:gd name="connsiteX4" fmla="*/ 3330 w 8672041"/>
              <a:gd name="connsiteY4" fmla="*/ 3340 h 186220"/>
              <a:gd name="connsiteX0" fmla="*/ 0 w 8674979"/>
              <a:gd name="connsiteY0" fmla="*/ 3340 h 186220"/>
              <a:gd name="connsiteX1" fmla="*/ 8674979 w 8674979"/>
              <a:gd name="connsiteY1" fmla="*/ 0 h 186220"/>
              <a:gd name="connsiteX2" fmla="*/ 8310720 w 8674979"/>
              <a:gd name="connsiteY2" fmla="*/ 182880 h 186220"/>
              <a:gd name="connsiteX3" fmla="*/ 2938 w 8674979"/>
              <a:gd name="connsiteY3" fmla="*/ 186220 h 186220"/>
              <a:gd name="connsiteX4" fmla="*/ 0 w 8674979"/>
              <a:gd name="connsiteY4" fmla="*/ 3340 h 186220"/>
              <a:gd name="connsiteX0" fmla="*/ 0 w 8674979"/>
              <a:gd name="connsiteY0" fmla="*/ 0 h 189166"/>
              <a:gd name="connsiteX1" fmla="*/ 8674979 w 8674979"/>
              <a:gd name="connsiteY1" fmla="*/ 2946 h 189166"/>
              <a:gd name="connsiteX2" fmla="*/ 8310720 w 8674979"/>
              <a:gd name="connsiteY2" fmla="*/ 185826 h 189166"/>
              <a:gd name="connsiteX3" fmla="*/ 2938 w 8674979"/>
              <a:gd name="connsiteY3" fmla="*/ 189166 h 189166"/>
              <a:gd name="connsiteX4" fmla="*/ 0 w 8674979"/>
              <a:gd name="connsiteY4" fmla="*/ 0 h 189166"/>
              <a:gd name="connsiteX0" fmla="*/ 0 w 8674979"/>
              <a:gd name="connsiteY0" fmla="*/ 444 h 189610"/>
              <a:gd name="connsiteX1" fmla="*/ 8674979 w 8674979"/>
              <a:gd name="connsiteY1" fmla="*/ 0 h 189610"/>
              <a:gd name="connsiteX2" fmla="*/ 8310720 w 8674979"/>
              <a:gd name="connsiteY2" fmla="*/ 186270 h 189610"/>
              <a:gd name="connsiteX3" fmla="*/ 2938 w 8674979"/>
              <a:gd name="connsiteY3" fmla="*/ 189610 h 189610"/>
              <a:gd name="connsiteX4" fmla="*/ 0 w 8674979"/>
              <a:gd name="connsiteY4" fmla="*/ 444 h 189610"/>
              <a:gd name="connsiteX0" fmla="*/ 0 w 8674979"/>
              <a:gd name="connsiteY0" fmla="*/ 444 h 189660"/>
              <a:gd name="connsiteX1" fmla="*/ 8674979 w 8674979"/>
              <a:gd name="connsiteY1" fmla="*/ 0 h 189660"/>
              <a:gd name="connsiteX2" fmla="*/ 8310720 w 8674979"/>
              <a:gd name="connsiteY2" fmla="*/ 189660 h 189660"/>
              <a:gd name="connsiteX3" fmla="*/ 2938 w 8674979"/>
              <a:gd name="connsiteY3" fmla="*/ 189610 h 189660"/>
              <a:gd name="connsiteX4" fmla="*/ 0 w 8674979"/>
              <a:gd name="connsiteY4" fmla="*/ 444 h 189660"/>
              <a:gd name="connsiteX0" fmla="*/ 0 w 10119577"/>
              <a:gd name="connsiteY0" fmla="*/ 0 h 189216"/>
              <a:gd name="connsiteX1" fmla="*/ 10119577 w 10119577"/>
              <a:gd name="connsiteY1" fmla="*/ 686 h 189216"/>
              <a:gd name="connsiteX2" fmla="*/ 8310720 w 10119577"/>
              <a:gd name="connsiteY2" fmla="*/ 189216 h 189216"/>
              <a:gd name="connsiteX3" fmla="*/ 2938 w 10119577"/>
              <a:gd name="connsiteY3" fmla="*/ 189166 h 189216"/>
              <a:gd name="connsiteX4" fmla="*/ 0 w 10119577"/>
              <a:gd name="connsiteY4" fmla="*/ 0 h 189216"/>
              <a:gd name="connsiteX0" fmla="*/ 0 w 10119577"/>
              <a:gd name="connsiteY0" fmla="*/ 173 h 189389"/>
              <a:gd name="connsiteX1" fmla="*/ 10119577 w 10119577"/>
              <a:gd name="connsiteY1" fmla="*/ 0 h 189389"/>
              <a:gd name="connsiteX2" fmla="*/ 8310720 w 10119577"/>
              <a:gd name="connsiteY2" fmla="*/ 189389 h 189389"/>
              <a:gd name="connsiteX3" fmla="*/ 2938 w 10119577"/>
              <a:gd name="connsiteY3" fmla="*/ 189339 h 189389"/>
              <a:gd name="connsiteX4" fmla="*/ 0 w 10119577"/>
              <a:gd name="connsiteY4" fmla="*/ 173 h 189389"/>
              <a:gd name="connsiteX0" fmla="*/ 10004 w 10129581"/>
              <a:gd name="connsiteY0" fmla="*/ 173 h 189389"/>
              <a:gd name="connsiteX1" fmla="*/ 10129581 w 10129581"/>
              <a:gd name="connsiteY1" fmla="*/ 0 h 189389"/>
              <a:gd name="connsiteX2" fmla="*/ 8320724 w 10129581"/>
              <a:gd name="connsiteY2" fmla="*/ 189389 h 189389"/>
              <a:gd name="connsiteX3" fmla="*/ 57 w 10129581"/>
              <a:gd name="connsiteY3" fmla="*/ 189339 h 189389"/>
              <a:gd name="connsiteX4" fmla="*/ 10004 w 10129581"/>
              <a:gd name="connsiteY4" fmla="*/ 173 h 189389"/>
              <a:gd name="connsiteX0" fmla="*/ 9947 w 10129524"/>
              <a:gd name="connsiteY0" fmla="*/ 173 h 189389"/>
              <a:gd name="connsiteX1" fmla="*/ 10129524 w 10129524"/>
              <a:gd name="connsiteY1" fmla="*/ 0 h 189389"/>
              <a:gd name="connsiteX2" fmla="*/ 8320667 w 10129524"/>
              <a:gd name="connsiteY2" fmla="*/ 189389 h 189389"/>
              <a:gd name="connsiteX3" fmla="*/ 0 w 10129524"/>
              <a:gd name="connsiteY3" fmla="*/ 189339 h 189389"/>
              <a:gd name="connsiteX4" fmla="*/ 9947 w 10129524"/>
              <a:gd name="connsiteY4" fmla="*/ 173 h 189389"/>
              <a:gd name="connsiteX0" fmla="*/ 9947 w 10129524"/>
              <a:gd name="connsiteY0" fmla="*/ 173 h 189389"/>
              <a:gd name="connsiteX1" fmla="*/ 10129524 w 10129524"/>
              <a:gd name="connsiteY1" fmla="*/ 0 h 189389"/>
              <a:gd name="connsiteX2" fmla="*/ 8320667 w 10129524"/>
              <a:gd name="connsiteY2" fmla="*/ 189389 h 189389"/>
              <a:gd name="connsiteX3" fmla="*/ 0 w 10129524"/>
              <a:gd name="connsiteY3" fmla="*/ 189339 h 189389"/>
              <a:gd name="connsiteX4" fmla="*/ 9947 w 10129524"/>
              <a:gd name="connsiteY4" fmla="*/ 173 h 189389"/>
              <a:gd name="connsiteX0" fmla="*/ 0 w 10119577"/>
              <a:gd name="connsiteY0" fmla="*/ 173 h 189389"/>
              <a:gd name="connsiteX1" fmla="*/ 10119577 w 10119577"/>
              <a:gd name="connsiteY1" fmla="*/ 0 h 189389"/>
              <a:gd name="connsiteX2" fmla="*/ 8310720 w 10119577"/>
              <a:gd name="connsiteY2" fmla="*/ 189389 h 189389"/>
              <a:gd name="connsiteX3" fmla="*/ 15823 w 10119577"/>
              <a:gd name="connsiteY3" fmla="*/ 189339 h 189389"/>
              <a:gd name="connsiteX4" fmla="*/ 0 w 10119577"/>
              <a:gd name="connsiteY4" fmla="*/ 173 h 189389"/>
              <a:gd name="connsiteX0" fmla="*/ 0 w 10119577"/>
              <a:gd name="connsiteY0" fmla="*/ 173 h 189389"/>
              <a:gd name="connsiteX1" fmla="*/ 10119577 w 10119577"/>
              <a:gd name="connsiteY1" fmla="*/ 0 h 189389"/>
              <a:gd name="connsiteX2" fmla="*/ 8310720 w 10119577"/>
              <a:gd name="connsiteY2" fmla="*/ 189389 h 189389"/>
              <a:gd name="connsiteX3" fmla="*/ 2938 w 10119577"/>
              <a:gd name="connsiteY3" fmla="*/ 189339 h 189389"/>
              <a:gd name="connsiteX4" fmla="*/ 0 w 10119577"/>
              <a:gd name="connsiteY4" fmla="*/ 173 h 189389"/>
              <a:gd name="connsiteX0" fmla="*/ 0 w 21540281"/>
              <a:gd name="connsiteY0" fmla="*/ 9120 h 189389"/>
              <a:gd name="connsiteX1" fmla="*/ 21540281 w 21540281"/>
              <a:gd name="connsiteY1" fmla="*/ 0 h 189389"/>
              <a:gd name="connsiteX2" fmla="*/ 19731424 w 21540281"/>
              <a:gd name="connsiteY2" fmla="*/ 189389 h 189389"/>
              <a:gd name="connsiteX3" fmla="*/ 11423642 w 21540281"/>
              <a:gd name="connsiteY3" fmla="*/ 189339 h 189389"/>
              <a:gd name="connsiteX4" fmla="*/ 0 w 21540281"/>
              <a:gd name="connsiteY4" fmla="*/ 9120 h 189389"/>
              <a:gd name="connsiteX0" fmla="*/ 0 w 21540281"/>
              <a:gd name="connsiteY0" fmla="*/ 9120 h 192321"/>
              <a:gd name="connsiteX1" fmla="*/ 21540281 w 21540281"/>
              <a:gd name="connsiteY1" fmla="*/ 0 h 192321"/>
              <a:gd name="connsiteX2" fmla="*/ 19731424 w 21540281"/>
              <a:gd name="connsiteY2" fmla="*/ 189389 h 192321"/>
              <a:gd name="connsiteX3" fmla="*/ 2942 w 21540281"/>
              <a:gd name="connsiteY3" fmla="*/ 192321 h 192321"/>
              <a:gd name="connsiteX4" fmla="*/ 0 w 21540281"/>
              <a:gd name="connsiteY4" fmla="*/ 9120 h 192321"/>
              <a:gd name="connsiteX0" fmla="*/ 0 w 21540281"/>
              <a:gd name="connsiteY0" fmla="*/ 6138 h 192321"/>
              <a:gd name="connsiteX1" fmla="*/ 21540281 w 21540281"/>
              <a:gd name="connsiteY1" fmla="*/ 0 h 192321"/>
              <a:gd name="connsiteX2" fmla="*/ 19731424 w 21540281"/>
              <a:gd name="connsiteY2" fmla="*/ 189389 h 192321"/>
              <a:gd name="connsiteX3" fmla="*/ 2942 w 21540281"/>
              <a:gd name="connsiteY3" fmla="*/ 192321 h 192321"/>
              <a:gd name="connsiteX4" fmla="*/ 0 w 21540281"/>
              <a:gd name="connsiteY4" fmla="*/ 6138 h 192321"/>
              <a:gd name="connsiteX0" fmla="*/ 2579162 w 24119443"/>
              <a:gd name="connsiteY0" fmla="*/ 6138 h 192321"/>
              <a:gd name="connsiteX1" fmla="*/ 24119443 w 24119443"/>
              <a:gd name="connsiteY1" fmla="*/ 0 h 192321"/>
              <a:gd name="connsiteX2" fmla="*/ 22310586 w 24119443"/>
              <a:gd name="connsiteY2" fmla="*/ 189389 h 192321"/>
              <a:gd name="connsiteX3" fmla="*/ 2582104 w 24119443"/>
              <a:gd name="connsiteY3" fmla="*/ 192321 h 192321"/>
              <a:gd name="connsiteX4" fmla="*/ 2579162 w 24119443"/>
              <a:gd name="connsiteY4" fmla="*/ 6138 h 192321"/>
              <a:gd name="connsiteX0" fmla="*/ 1459081 w 22999362"/>
              <a:gd name="connsiteY0" fmla="*/ 6138 h 192321"/>
              <a:gd name="connsiteX1" fmla="*/ 22999362 w 22999362"/>
              <a:gd name="connsiteY1" fmla="*/ 0 h 192321"/>
              <a:gd name="connsiteX2" fmla="*/ 21190505 w 22999362"/>
              <a:gd name="connsiteY2" fmla="*/ 189389 h 192321"/>
              <a:gd name="connsiteX3" fmla="*/ 1462023 w 22999362"/>
              <a:gd name="connsiteY3" fmla="*/ 192321 h 192321"/>
              <a:gd name="connsiteX4" fmla="*/ 1459081 w 22999362"/>
              <a:gd name="connsiteY4" fmla="*/ 6138 h 192321"/>
              <a:gd name="connsiteX0" fmla="*/ 2579108 w 24119389"/>
              <a:gd name="connsiteY0" fmla="*/ 6138 h 192321"/>
              <a:gd name="connsiteX1" fmla="*/ 24119389 w 24119389"/>
              <a:gd name="connsiteY1" fmla="*/ 0 h 192321"/>
              <a:gd name="connsiteX2" fmla="*/ 22310532 w 24119389"/>
              <a:gd name="connsiteY2" fmla="*/ 189389 h 192321"/>
              <a:gd name="connsiteX3" fmla="*/ 2582050 w 24119389"/>
              <a:gd name="connsiteY3" fmla="*/ 192321 h 192321"/>
              <a:gd name="connsiteX4" fmla="*/ 2579108 w 24119389"/>
              <a:gd name="connsiteY4" fmla="*/ 6138 h 192321"/>
              <a:gd name="connsiteX0" fmla="*/ 1594923 w 23135204"/>
              <a:gd name="connsiteY0" fmla="*/ 6138 h 192321"/>
              <a:gd name="connsiteX1" fmla="*/ 23135204 w 23135204"/>
              <a:gd name="connsiteY1" fmla="*/ 0 h 192321"/>
              <a:gd name="connsiteX2" fmla="*/ 21326347 w 23135204"/>
              <a:gd name="connsiteY2" fmla="*/ 189389 h 192321"/>
              <a:gd name="connsiteX3" fmla="*/ 1597865 w 23135204"/>
              <a:gd name="connsiteY3" fmla="*/ 192321 h 192321"/>
              <a:gd name="connsiteX4" fmla="*/ 1594923 w 23135204"/>
              <a:gd name="connsiteY4" fmla="*/ 6138 h 192321"/>
              <a:gd name="connsiteX0" fmla="*/ 1 w 21540282"/>
              <a:gd name="connsiteY0" fmla="*/ 6138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3 w 21540282"/>
              <a:gd name="connsiteY3" fmla="*/ 192321 h 192321"/>
              <a:gd name="connsiteX4" fmla="*/ 1 w 21540282"/>
              <a:gd name="connsiteY4" fmla="*/ 6138 h 192321"/>
              <a:gd name="connsiteX0" fmla="*/ 0 w 21540282"/>
              <a:gd name="connsiteY0" fmla="*/ 3156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3 w 21540282"/>
              <a:gd name="connsiteY3" fmla="*/ 192321 h 192321"/>
              <a:gd name="connsiteX4" fmla="*/ 0 w 21540282"/>
              <a:gd name="connsiteY4" fmla="*/ 3156 h 192321"/>
              <a:gd name="connsiteX0" fmla="*/ 0 w 21540282"/>
              <a:gd name="connsiteY0" fmla="*/ 347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3 w 21540282"/>
              <a:gd name="connsiteY3" fmla="*/ 192321 h 192321"/>
              <a:gd name="connsiteX4" fmla="*/ 0 w 21540282"/>
              <a:gd name="connsiteY4" fmla="*/ 347 h 192321"/>
              <a:gd name="connsiteX0" fmla="*/ 0 w 21540282"/>
              <a:gd name="connsiteY0" fmla="*/ 347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2 w 21540282"/>
              <a:gd name="connsiteY3" fmla="*/ 192321 h 192321"/>
              <a:gd name="connsiteX4" fmla="*/ 0 w 21540282"/>
              <a:gd name="connsiteY4" fmla="*/ 347 h 192321"/>
              <a:gd name="connsiteX0" fmla="*/ 0 w 21540282"/>
              <a:gd name="connsiteY0" fmla="*/ 347 h 189512"/>
              <a:gd name="connsiteX1" fmla="*/ 21540282 w 21540282"/>
              <a:gd name="connsiteY1" fmla="*/ 0 h 189512"/>
              <a:gd name="connsiteX2" fmla="*/ 19731425 w 21540282"/>
              <a:gd name="connsiteY2" fmla="*/ 189389 h 189512"/>
              <a:gd name="connsiteX3" fmla="*/ 2942 w 21540282"/>
              <a:gd name="connsiteY3" fmla="*/ 189512 h 189512"/>
              <a:gd name="connsiteX4" fmla="*/ 0 w 21540282"/>
              <a:gd name="connsiteY4" fmla="*/ 347 h 189512"/>
              <a:gd name="connsiteX0" fmla="*/ 0 w 20903501"/>
              <a:gd name="connsiteY0" fmla="*/ 347 h 189512"/>
              <a:gd name="connsiteX1" fmla="*/ 20903501 w 20903501"/>
              <a:gd name="connsiteY1" fmla="*/ 0 h 189512"/>
              <a:gd name="connsiteX2" fmla="*/ 19731425 w 20903501"/>
              <a:gd name="connsiteY2" fmla="*/ 189389 h 189512"/>
              <a:gd name="connsiteX3" fmla="*/ 2942 w 20903501"/>
              <a:gd name="connsiteY3" fmla="*/ 189512 h 189512"/>
              <a:gd name="connsiteX4" fmla="*/ 0 w 20903501"/>
              <a:gd name="connsiteY4" fmla="*/ 347 h 189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903501" h="189512">
                <a:moveTo>
                  <a:pt x="0" y="347"/>
                </a:moveTo>
                <a:lnTo>
                  <a:pt x="20903501" y="0"/>
                </a:lnTo>
                <a:lnTo>
                  <a:pt x="19731425" y="189389"/>
                </a:lnTo>
                <a:lnTo>
                  <a:pt x="2942" y="189512"/>
                </a:lnTo>
                <a:cubicBezTo>
                  <a:pt x="1961" y="125521"/>
                  <a:pt x="981" y="64338"/>
                  <a:pt x="0" y="34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8" name="Rectangle 3"/>
          <p:cNvSpPr/>
          <p:nvPr userDrawn="1"/>
        </p:nvSpPr>
        <p:spPr>
          <a:xfrm>
            <a:off x="-16710" y="-3490"/>
            <a:ext cx="11331121" cy="5912962"/>
          </a:xfrm>
          <a:custGeom>
            <a:avLst/>
            <a:gdLst>
              <a:gd name="connsiteX0" fmla="*/ 0 w 6709251"/>
              <a:gd name="connsiteY0" fmla="*/ 0 h 182880"/>
              <a:gd name="connsiteX1" fmla="*/ 6709251 w 6709251"/>
              <a:gd name="connsiteY1" fmla="*/ 0 h 182880"/>
              <a:gd name="connsiteX2" fmla="*/ 6709251 w 6709251"/>
              <a:gd name="connsiteY2" fmla="*/ 182880 h 182880"/>
              <a:gd name="connsiteX3" fmla="*/ 0 w 6709251"/>
              <a:gd name="connsiteY3" fmla="*/ 182880 h 182880"/>
              <a:gd name="connsiteX4" fmla="*/ 0 w 6709251"/>
              <a:gd name="connsiteY4" fmla="*/ 0 h 182880"/>
              <a:gd name="connsiteX0" fmla="*/ 0 w 7073510"/>
              <a:gd name="connsiteY0" fmla="*/ 0 h 182880"/>
              <a:gd name="connsiteX1" fmla="*/ 7073510 w 7073510"/>
              <a:gd name="connsiteY1" fmla="*/ 0 h 182880"/>
              <a:gd name="connsiteX2" fmla="*/ 6709251 w 7073510"/>
              <a:gd name="connsiteY2" fmla="*/ 182880 h 182880"/>
              <a:gd name="connsiteX3" fmla="*/ 0 w 7073510"/>
              <a:gd name="connsiteY3" fmla="*/ 182880 h 182880"/>
              <a:gd name="connsiteX4" fmla="*/ 0 w 7073510"/>
              <a:gd name="connsiteY4" fmla="*/ 0 h 182880"/>
              <a:gd name="connsiteX0" fmla="*/ 0 w 8658720"/>
              <a:gd name="connsiteY0" fmla="*/ 0 h 182880"/>
              <a:gd name="connsiteX1" fmla="*/ 8658720 w 8658720"/>
              <a:gd name="connsiteY1" fmla="*/ 452 h 182880"/>
              <a:gd name="connsiteX2" fmla="*/ 6709251 w 8658720"/>
              <a:gd name="connsiteY2" fmla="*/ 182880 h 182880"/>
              <a:gd name="connsiteX3" fmla="*/ 0 w 8658720"/>
              <a:gd name="connsiteY3" fmla="*/ 182880 h 182880"/>
              <a:gd name="connsiteX4" fmla="*/ 0 w 8658720"/>
              <a:gd name="connsiteY4" fmla="*/ 0 h 182880"/>
              <a:gd name="connsiteX0" fmla="*/ 0 w 8632078"/>
              <a:gd name="connsiteY0" fmla="*/ 0 h 182880"/>
              <a:gd name="connsiteX1" fmla="*/ 8632078 w 8632078"/>
              <a:gd name="connsiteY1" fmla="*/ 58 h 182880"/>
              <a:gd name="connsiteX2" fmla="*/ 6709251 w 8632078"/>
              <a:gd name="connsiteY2" fmla="*/ 182880 h 182880"/>
              <a:gd name="connsiteX3" fmla="*/ 0 w 8632078"/>
              <a:gd name="connsiteY3" fmla="*/ 182880 h 182880"/>
              <a:gd name="connsiteX4" fmla="*/ 0 w 8632078"/>
              <a:gd name="connsiteY4" fmla="*/ 0 h 182880"/>
              <a:gd name="connsiteX0" fmla="*/ 0 w 8632078"/>
              <a:gd name="connsiteY0" fmla="*/ 0 h 182880"/>
              <a:gd name="connsiteX1" fmla="*/ 8632078 w 8632078"/>
              <a:gd name="connsiteY1" fmla="*/ 58 h 182880"/>
              <a:gd name="connsiteX2" fmla="*/ 5989912 w 8632078"/>
              <a:gd name="connsiteY2" fmla="*/ 182880 h 182880"/>
              <a:gd name="connsiteX3" fmla="*/ 0 w 8632078"/>
              <a:gd name="connsiteY3" fmla="*/ 182880 h 182880"/>
              <a:gd name="connsiteX4" fmla="*/ 0 w 8632078"/>
              <a:gd name="connsiteY4" fmla="*/ 0 h 182880"/>
              <a:gd name="connsiteX0" fmla="*/ 0 w 8632078"/>
              <a:gd name="connsiteY0" fmla="*/ 0 h 183536"/>
              <a:gd name="connsiteX1" fmla="*/ 8632078 w 8632078"/>
              <a:gd name="connsiteY1" fmla="*/ 58 h 183536"/>
              <a:gd name="connsiteX2" fmla="*/ 6554022 w 8632078"/>
              <a:gd name="connsiteY2" fmla="*/ 183536 h 183536"/>
              <a:gd name="connsiteX3" fmla="*/ 0 w 8632078"/>
              <a:gd name="connsiteY3" fmla="*/ 182880 h 183536"/>
              <a:gd name="connsiteX4" fmla="*/ 0 w 8632078"/>
              <a:gd name="connsiteY4" fmla="*/ 0 h 183536"/>
              <a:gd name="connsiteX0" fmla="*/ 0 w 9997958"/>
              <a:gd name="connsiteY0" fmla="*/ 0 h 183536"/>
              <a:gd name="connsiteX1" fmla="*/ 8632078 w 9997958"/>
              <a:gd name="connsiteY1" fmla="*/ 58 h 183536"/>
              <a:gd name="connsiteX2" fmla="*/ 9997946 w 9997958"/>
              <a:gd name="connsiteY2" fmla="*/ 365 h 183536"/>
              <a:gd name="connsiteX3" fmla="*/ 6554022 w 9997958"/>
              <a:gd name="connsiteY3" fmla="*/ 183536 h 183536"/>
              <a:gd name="connsiteX4" fmla="*/ 0 w 9997958"/>
              <a:gd name="connsiteY4" fmla="*/ 182880 h 183536"/>
              <a:gd name="connsiteX5" fmla="*/ 0 w 9997958"/>
              <a:gd name="connsiteY5" fmla="*/ 0 h 183536"/>
              <a:gd name="connsiteX0" fmla="*/ 0 w 9997957"/>
              <a:gd name="connsiteY0" fmla="*/ 0 h 183536"/>
              <a:gd name="connsiteX1" fmla="*/ 8524057 w 9997957"/>
              <a:gd name="connsiteY1" fmla="*/ 20709 h 183536"/>
              <a:gd name="connsiteX2" fmla="*/ 9997946 w 9997957"/>
              <a:gd name="connsiteY2" fmla="*/ 365 h 183536"/>
              <a:gd name="connsiteX3" fmla="*/ 6554022 w 9997957"/>
              <a:gd name="connsiteY3" fmla="*/ 183536 h 183536"/>
              <a:gd name="connsiteX4" fmla="*/ 0 w 9997957"/>
              <a:gd name="connsiteY4" fmla="*/ 182880 h 183536"/>
              <a:gd name="connsiteX5" fmla="*/ 0 w 9997957"/>
              <a:gd name="connsiteY5" fmla="*/ 0 h 183536"/>
              <a:gd name="connsiteX0" fmla="*/ 0 w 9997946"/>
              <a:gd name="connsiteY0" fmla="*/ 0 h 183536"/>
              <a:gd name="connsiteX1" fmla="*/ 9997946 w 9997946"/>
              <a:gd name="connsiteY1" fmla="*/ 365 h 183536"/>
              <a:gd name="connsiteX2" fmla="*/ 6554022 w 9997946"/>
              <a:gd name="connsiteY2" fmla="*/ 183536 h 183536"/>
              <a:gd name="connsiteX3" fmla="*/ 0 w 9997946"/>
              <a:gd name="connsiteY3" fmla="*/ 182880 h 183536"/>
              <a:gd name="connsiteX4" fmla="*/ 0 w 9997946"/>
              <a:gd name="connsiteY4" fmla="*/ 0 h 183536"/>
              <a:gd name="connsiteX0" fmla="*/ 0 w 9997946"/>
              <a:gd name="connsiteY0" fmla="*/ 0 h 183536"/>
              <a:gd name="connsiteX1" fmla="*/ 9997946 w 9997946"/>
              <a:gd name="connsiteY1" fmla="*/ 365 h 183536"/>
              <a:gd name="connsiteX2" fmla="*/ 6554022 w 9997946"/>
              <a:gd name="connsiteY2" fmla="*/ 183536 h 183536"/>
              <a:gd name="connsiteX3" fmla="*/ 0 w 9997946"/>
              <a:gd name="connsiteY3" fmla="*/ 182880 h 183536"/>
              <a:gd name="connsiteX4" fmla="*/ 0 w 9997946"/>
              <a:gd name="connsiteY4" fmla="*/ 0 h 183536"/>
              <a:gd name="connsiteX0" fmla="*/ 0 w 9997946"/>
              <a:gd name="connsiteY0" fmla="*/ 0 h 183536"/>
              <a:gd name="connsiteX1" fmla="*/ 9997946 w 9997946"/>
              <a:gd name="connsiteY1" fmla="*/ 365 h 183536"/>
              <a:gd name="connsiteX2" fmla="*/ 6554022 w 9997946"/>
              <a:gd name="connsiteY2" fmla="*/ 183536 h 183536"/>
              <a:gd name="connsiteX3" fmla="*/ 0 w 9997946"/>
              <a:gd name="connsiteY3" fmla="*/ 182880 h 183536"/>
              <a:gd name="connsiteX4" fmla="*/ 0 w 9997946"/>
              <a:gd name="connsiteY4" fmla="*/ 0 h 183536"/>
              <a:gd name="connsiteX0" fmla="*/ 0 w 9997946"/>
              <a:gd name="connsiteY0" fmla="*/ 0 h 182880"/>
              <a:gd name="connsiteX1" fmla="*/ 9997946 w 9997946"/>
              <a:gd name="connsiteY1" fmla="*/ 365 h 182880"/>
              <a:gd name="connsiteX2" fmla="*/ 6573249 w 9997946"/>
              <a:gd name="connsiteY2" fmla="*/ 182258 h 182880"/>
              <a:gd name="connsiteX3" fmla="*/ 0 w 9997946"/>
              <a:gd name="connsiteY3" fmla="*/ 182880 h 182880"/>
              <a:gd name="connsiteX4" fmla="*/ 0 w 9997946"/>
              <a:gd name="connsiteY4" fmla="*/ 0 h 182880"/>
              <a:gd name="connsiteX0" fmla="*/ 0 w 9997946"/>
              <a:gd name="connsiteY0" fmla="*/ 0 h 182880"/>
              <a:gd name="connsiteX1" fmla="*/ 9997946 w 9997946"/>
              <a:gd name="connsiteY1" fmla="*/ 365 h 182880"/>
              <a:gd name="connsiteX2" fmla="*/ 6565558 w 9997946"/>
              <a:gd name="connsiteY2" fmla="*/ 182848 h 182880"/>
              <a:gd name="connsiteX3" fmla="*/ 0 w 9997946"/>
              <a:gd name="connsiteY3" fmla="*/ 182880 h 182880"/>
              <a:gd name="connsiteX4" fmla="*/ 0 w 9997946"/>
              <a:gd name="connsiteY4" fmla="*/ 0 h 182880"/>
              <a:gd name="connsiteX0" fmla="*/ 0 w 9963338"/>
              <a:gd name="connsiteY0" fmla="*/ 0 h 182880"/>
              <a:gd name="connsiteX1" fmla="*/ 9963338 w 9963338"/>
              <a:gd name="connsiteY1" fmla="*/ 2037 h 182880"/>
              <a:gd name="connsiteX2" fmla="*/ 6565558 w 9963338"/>
              <a:gd name="connsiteY2" fmla="*/ 182848 h 182880"/>
              <a:gd name="connsiteX3" fmla="*/ 0 w 9963338"/>
              <a:gd name="connsiteY3" fmla="*/ 182880 h 182880"/>
              <a:gd name="connsiteX4" fmla="*/ 0 w 9963338"/>
              <a:gd name="connsiteY4" fmla="*/ 0 h 182880"/>
              <a:gd name="connsiteX0" fmla="*/ 0 w 9974874"/>
              <a:gd name="connsiteY0" fmla="*/ 0 h 182880"/>
              <a:gd name="connsiteX1" fmla="*/ 9974874 w 9974874"/>
              <a:gd name="connsiteY1" fmla="*/ 365 h 182880"/>
              <a:gd name="connsiteX2" fmla="*/ 6565558 w 9974874"/>
              <a:gd name="connsiteY2" fmla="*/ 182848 h 182880"/>
              <a:gd name="connsiteX3" fmla="*/ 0 w 9974874"/>
              <a:gd name="connsiteY3" fmla="*/ 182880 h 182880"/>
              <a:gd name="connsiteX4" fmla="*/ 0 w 9974874"/>
              <a:gd name="connsiteY4" fmla="*/ 0 h 182880"/>
              <a:gd name="connsiteX0" fmla="*/ 0 w 9974874"/>
              <a:gd name="connsiteY0" fmla="*/ 0 h 182880"/>
              <a:gd name="connsiteX1" fmla="*/ 9974874 w 9974874"/>
              <a:gd name="connsiteY1" fmla="*/ 365 h 182880"/>
              <a:gd name="connsiteX2" fmla="*/ 6334837 w 9974874"/>
              <a:gd name="connsiteY2" fmla="*/ 182848 h 182880"/>
              <a:gd name="connsiteX3" fmla="*/ 0 w 9974874"/>
              <a:gd name="connsiteY3" fmla="*/ 182880 h 182880"/>
              <a:gd name="connsiteX4" fmla="*/ 0 w 9974874"/>
              <a:gd name="connsiteY4" fmla="*/ 0 h 182880"/>
              <a:gd name="connsiteX0" fmla="*/ 0 w 9984894"/>
              <a:gd name="connsiteY0" fmla="*/ 0 h 182880"/>
              <a:gd name="connsiteX1" fmla="*/ 9984894 w 9984894"/>
              <a:gd name="connsiteY1" fmla="*/ 493 h 182880"/>
              <a:gd name="connsiteX2" fmla="*/ 6334837 w 9984894"/>
              <a:gd name="connsiteY2" fmla="*/ 182848 h 182880"/>
              <a:gd name="connsiteX3" fmla="*/ 0 w 9984894"/>
              <a:gd name="connsiteY3" fmla="*/ 182880 h 182880"/>
              <a:gd name="connsiteX4" fmla="*/ 0 w 9984894"/>
              <a:gd name="connsiteY4" fmla="*/ 0 h 182880"/>
              <a:gd name="connsiteX0" fmla="*/ 0 w 10004935"/>
              <a:gd name="connsiteY0" fmla="*/ 276 h 183156"/>
              <a:gd name="connsiteX1" fmla="*/ 10004935 w 10004935"/>
              <a:gd name="connsiteY1" fmla="*/ 0 h 183156"/>
              <a:gd name="connsiteX2" fmla="*/ 6334837 w 10004935"/>
              <a:gd name="connsiteY2" fmla="*/ 183124 h 183156"/>
              <a:gd name="connsiteX3" fmla="*/ 0 w 10004935"/>
              <a:gd name="connsiteY3" fmla="*/ 183156 h 183156"/>
              <a:gd name="connsiteX4" fmla="*/ 0 w 10004935"/>
              <a:gd name="connsiteY4" fmla="*/ 276 h 183156"/>
              <a:gd name="connsiteX0" fmla="*/ 0 w 10009945"/>
              <a:gd name="connsiteY0" fmla="*/ 0 h 182880"/>
              <a:gd name="connsiteX1" fmla="*/ 10009945 w 10009945"/>
              <a:gd name="connsiteY1" fmla="*/ 5618 h 182880"/>
              <a:gd name="connsiteX2" fmla="*/ 6334837 w 10009945"/>
              <a:gd name="connsiteY2" fmla="*/ 182848 h 182880"/>
              <a:gd name="connsiteX3" fmla="*/ 0 w 10009945"/>
              <a:gd name="connsiteY3" fmla="*/ 182880 h 182880"/>
              <a:gd name="connsiteX4" fmla="*/ 0 w 10009945"/>
              <a:gd name="connsiteY4" fmla="*/ 0 h 182880"/>
              <a:gd name="connsiteX0" fmla="*/ 0 w 10029986"/>
              <a:gd name="connsiteY0" fmla="*/ 20 h 182900"/>
              <a:gd name="connsiteX1" fmla="*/ 10029986 w 10029986"/>
              <a:gd name="connsiteY1" fmla="*/ 0 h 182900"/>
              <a:gd name="connsiteX2" fmla="*/ 6334837 w 10029986"/>
              <a:gd name="connsiteY2" fmla="*/ 182868 h 182900"/>
              <a:gd name="connsiteX3" fmla="*/ 0 w 10029986"/>
              <a:gd name="connsiteY3" fmla="*/ 182900 h 182900"/>
              <a:gd name="connsiteX4" fmla="*/ 0 w 10029986"/>
              <a:gd name="connsiteY4" fmla="*/ 20 h 182900"/>
              <a:gd name="connsiteX0" fmla="*/ 0 w 10029986"/>
              <a:gd name="connsiteY0" fmla="*/ 20 h 182966"/>
              <a:gd name="connsiteX1" fmla="*/ 10029986 w 10029986"/>
              <a:gd name="connsiteY1" fmla="*/ 0 h 182966"/>
              <a:gd name="connsiteX2" fmla="*/ 6454043 w 10029986"/>
              <a:gd name="connsiteY2" fmla="*/ 182966 h 182966"/>
              <a:gd name="connsiteX3" fmla="*/ 0 w 10029986"/>
              <a:gd name="connsiteY3" fmla="*/ 182900 h 182966"/>
              <a:gd name="connsiteX4" fmla="*/ 0 w 10029986"/>
              <a:gd name="connsiteY4" fmla="*/ 20 h 182966"/>
              <a:gd name="connsiteX0" fmla="*/ 0 w 9532583"/>
              <a:gd name="connsiteY0" fmla="*/ 359 h 183305"/>
              <a:gd name="connsiteX1" fmla="*/ 9532583 w 9532583"/>
              <a:gd name="connsiteY1" fmla="*/ 0 h 183305"/>
              <a:gd name="connsiteX2" fmla="*/ 6454043 w 9532583"/>
              <a:gd name="connsiteY2" fmla="*/ 183305 h 183305"/>
              <a:gd name="connsiteX3" fmla="*/ 0 w 9532583"/>
              <a:gd name="connsiteY3" fmla="*/ 183239 h 183305"/>
              <a:gd name="connsiteX4" fmla="*/ 0 w 9532583"/>
              <a:gd name="connsiteY4" fmla="*/ 359 h 183305"/>
              <a:gd name="connsiteX0" fmla="*/ 0 w 9532583"/>
              <a:gd name="connsiteY0" fmla="*/ 359 h 183239"/>
              <a:gd name="connsiteX1" fmla="*/ 9532583 w 9532583"/>
              <a:gd name="connsiteY1" fmla="*/ 0 h 183239"/>
              <a:gd name="connsiteX2" fmla="*/ 6861912 w 9532583"/>
              <a:gd name="connsiteY2" fmla="*/ 182966 h 183239"/>
              <a:gd name="connsiteX3" fmla="*/ 0 w 9532583"/>
              <a:gd name="connsiteY3" fmla="*/ 183239 h 183239"/>
              <a:gd name="connsiteX4" fmla="*/ 0 w 9532583"/>
              <a:gd name="connsiteY4" fmla="*/ 359 h 183239"/>
              <a:gd name="connsiteX0" fmla="*/ 0 w 9532583"/>
              <a:gd name="connsiteY0" fmla="*/ 359 h 183239"/>
              <a:gd name="connsiteX1" fmla="*/ 9532583 w 9532583"/>
              <a:gd name="connsiteY1" fmla="*/ 0 h 183239"/>
              <a:gd name="connsiteX2" fmla="*/ 7090717 w 9532583"/>
              <a:gd name="connsiteY2" fmla="*/ 174149 h 183239"/>
              <a:gd name="connsiteX3" fmla="*/ 0 w 9532583"/>
              <a:gd name="connsiteY3" fmla="*/ 183239 h 183239"/>
              <a:gd name="connsiteX4" fmla="*/ 0 w 9532583"/>
              <a:gd name="connsiteY4" fmla="*/ 359 h 183239"/>
              <a:gd name="connsiteX0" fmla="*/ 0 w 9532583"/>
              <a:gd name="connsiteY0" fmla="*/ 359 h 183305"/>
              <a:gd name="connsiteX1" fmla="*/ 9532583 w 9532583"/>
              <a:gd name="connsiteY1" fmla="*/ 0 h 183305"/>
              <a:gd name="connsiteX2" fmla="*/ 6842017 w 9532583"/>
              <a:gd name="connsiteY2" fmla="*/ 183305 h 183305"/>
              <a:gd name="connsiteX3" fmla="*/ 0 w 9532583"/>
              <a:gd name="connsiteY3" fmla="*/ 183239 h 183305"/>
              <a:gd name="connsiteX4" fmla="*/ 0 w 9532583"/>
              <a:gd name="connsiteY4" fmla="*/ 359 h 183305"/>
              <a:gd name="connsiteX0" fmla="*/ 0 w 9532583"/>
              <a:gd name="connsiteY0" fmla="*/ 359 h 183239"/>
              <a:gd name="connsiteX1" fmla="*/ 9532583 w 9532583"/>
              <a:gd name="connsiteY1" fmla="*/ 0 h 183239"/>
              <a:gd name="connsiteX2" fmla="*/ 6886781 w 9532583"/>
              <a:gd name="connsiteY2" fmla="*/ 180083 h 183239"/>
              <a:gd name="connsiteX3" fmla="*/ 0 w 9532583"/>
              <a:gd name="connsiteY3" fmla="*/ 183239 h 183239"/>
              <a:gd name="connsiteX4" fmla="*/ 0 w 9532583"/>
              <a:gd name="connsiteY4" fmla="*/ 359 h 183239"/>
              <a:gd name="connsiteX0" fmla="*/ 0 w 9532583"/>
              <a:gd name="connsiteY0" fmla="*/ 359 h 183305"/>
              <a:gd name="connsiteX1" fmla="*/ 9532583 w 9532583"/>
              <a:gd name="connsiteY1" fmla="*/ 0 h 183305"/>
              <a:gd name="connsiteX2" fmla="*/ 6837043 w 9532583"/>
              <a:gd name="connsiteY2" fmla="*/ 183305 h 183305"/>
              <a:gd name="connsiteX3" fmla="*/ 0 w 9532583"/>
              <a:gd name="connsiteY3" fmla="*/ 183239 h 183305"/>
              <a:gd name="connsiteX4" fmla="*/ 0 w 9532583"/>
              <a:gd name="connsiteY4" fmla="*/ 359 h 183305"/>
              <a:gd name="connsiteX0" fmla="*/ 0 w 9509505"/>
              <a:gd name="connsiteY0" fmla="*/ 0 h 182946"/>
              <a:gd name="connsiteX1" fmla="*/ 9509505 w 9509505"/>
              <a:gd name="connsiteY1" fmla="*/ 34 h 182946"/>
              <a:gd name="connsiteX2" fmla="*/ 6837043 w 9509505"/>
              <a:gd name="connsiteY2" fmla="*/ 182946 h 182946"/>
              <a:gd name="connsiteX3" fmla="*/ 0 w 9509505"/>
              <a:gd name="connsiteY3" fmla="*/ 182880 h 182946"/>
              <a:gd name="connsiteX4" fmla="*/ 0 w 9509505"/>
              <a:gd name="connsiteY4" fmla="*/ 0 h 182946"/>
              <a:gd name="connsiteX0" fmla="*/ 0 w 10261036"/>
              <a:gd name="connsiteY0" fmla="*/ 225 h 182912"/>
              <a:gd name="connsiteX1" fmla="*/ 10261036 w 10261036"/>
              <a:gd name="connsiteY1" fmla="*/ 0 h 182912"/>
              <a:gd name="connsiteX2" fmla="*/ 7588574 w 10261036"/>
              <a:gd name="connsiteY2" fmla="*/ 182912 h 182912"/>
              <a:gd name="connsiteX3" fmla="*/ 751531 w 10261036"/>
              <a:gd name="connsiteY3" fmla="*/ 182846 h 182912"/>
              <a:gd name="connsiteX4" fmla="*/ 0 w 10261036"/>
              <a:gd name="connsiteY4" fmla="*/ 225 h 182912"/>
              <a:gd name="connsiteX0" fmla="*/ 0 w 10261036"/>
              <a:gd name="connsiteY0" fmla="*/ 225 h 182912"/>
              <a:gd name="connsiteX1" fmla="*/ 10261036 w 10261036"/>
              <a:gd name="connsiteY1" fmla="*/ 0 h 182912"/>
              <a:gd name="connsiteX2" fmla="*/ 7588574 w 10261036"/>
              <a:gd name="connsiteY2" fmla="*/ 182912 h 182912"/>
              <a:gd name="connsiteX3" fmla="*/ 91094 w 10261036"/>
              <a:gd name="connsiteY3" fmla="*/ 177411 h 182912"/>
              <a:gd name="connsiteX4" fmla="*/ 0 w 10261036"/>
              <a:gd name="connsiteY4" fmla="*/ 225 h 182912"/>
              <a:gd name="connsiteX0" fmla="*/ 7591 w 10268627"/>
              <a:gd name="connsiteY0" fmla="*/ 225 h 183105"/>
              <a:gd name="connsiteX1" fmla="*/ 10268627 w 10268627"/>
              <a:gd name="connsiteY1" fmla="*/ 0 h 183105"/>
              <a:gd name="connsiteX2" fmla="*/ 7596165 w 10268627"/>
              <a:gd name="connsiteY2" fmla="*/ 182912 h 183105"/>
              <a:gd name="connsiteX3" fmla="*/ 0 w 10268627"/>
              <a:gd name="connsiteY3" fmla="*/ 183105 h 183105"/>
              <a:gd name="connsiteX4" fmla="*/ 7591 w 10268627"/>
              <a:gd name="connsiteY4" fmla="*/ 225 h 183105"/>
              <a:gd name="connsiteX0" fmla="*/ 630072 w 10268627"/>
              <a:gd name="connsiteY0" fmla="*/ 15494 h 183105"/>
              <a:gd name="connsiteX1" fmla="*/ 10268627 w 10268627"/>
              <a:gd name="connsiteY1" fmla="*/ 0 h 183105"/>
              <a:gd name="connsiteX2" fmla="*/ 7596165 w 10268627"/>
              <a:gd name="connsiteY2" fmla="*/ 182912 h 183105"/>
              <a:gd name="connsiteX3" fmla="*/ 0 w 10268627"/>
              <a:gd name="connsiteY3" fmla="*/ 183105 h 183105"/>
              <a:gd name="connsiteX4" fmla="*/ 630072 w 10268627"/>
              <a:gd name="connsiteY4" fmla="*/ 15494 h 183105"/>
              <a:gd name="connsiteX0" fmla="*/ 0 w 10268627"/>
              <a:gd name="connsiteY0" fmla="*/ 0 h 183139"/>
              <a:gd name="connsiteX1" fmla="*/ 10268627 w 10268627"/>
              <a:gd name="connsiteY1" fmla="*/ 34 h 183139"/>
              <a:gd name="connsiteX2" fmla="*/ 7596165 w 10268627"/>
              <a:gd name="connsiteY2" fmla="*/ 182946 h 183139"/>
              <a:gd name="connsiteX3" fmla="*/ 0 w 10268627"/>
              <a:gd name="connsiteY3" fmla="*/ 183139 h 183139"/>
              <a:gd name="connsiteX4" fmla="*/ 0 w 10268627"/>
              <a:gd name="connsiteY4" fmla="*/ 0 h 183139"/>
              <a:gd name="connsiteX0" fmla="*/ 0 w 10292666"/>
              <a:gd name="connsiteY0" fmla="*/ 0 h 183139"/>
              <a:gd name="connsiteX1" fmla="*/ 10292666 w 10292666"/>
              <a:gd name="connsiteY1" fmla="*/ 34 h 183139"/>
              <a:gd name="connsiteX2" fmla="*/ 7596165 w 10292666"/>
              <a:gd name="connsiteY2" fmla="*/ 182946 h 183139"/>
              <a:gd name="connsiteX3" fmla="*/ 0 w 10292666"/>
              <a:gd name="connsiteY3" fmla="*/ 183139 h 183139"/>
              <a:gd name="connsiteX4" fmla="*/ 0 w 10292666"/>
              <a:gd name="connsiteY4" fmla="*/ 0 h 183139"/>
              <a:gd name="connsiteX0" fmla="*/ 0 w 10292666"/>
              <a:gd name="connsiteY0" fmla="*/ 0 h 183139"/>
              <a:gd name="connsiteX1" fmla="*/ 10292666 w 10292666"/>
              <a:gd name="connsiteY1" fmla="*/ 34 h 183139"/>
              <a:gd name="connsiteX2" fmla="*/ 7590396 w 10292666"/>
              <a:gd name="connsiteY2" fmla="*/ 182848 h 183139"/>
              <a:gd name="connsiteX3" fmla="*/ 0 w 10292666"/>
              <a:gd name="connsiteY3" fmla="*/ 183139 h 183139"/>
              <a:gd name="connsiteX4" fmla="*/ 0 w 10292666"/>
              <a:gd name="connsiteY4" fmla="*/ 0 h 1831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2666" h="183139">
                <a:moveTo>
                  <a:pt x="0" y="0"/>
                </a:moveTo>
                <a:lnTo>
                  <a:pt x="10292666" y="34"/>
                </a:lnTo>
                <a:lnTo>
                  <a:pt x="7590396" y="182848"/>
                </a:lnTo>
                <a:lnTo>
                  <a:pt x="0" y="18313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87686" y="6129358"/>
            <a:ext cx="647072" cy="5016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377157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2" y="0"/>
            <a:ext cx="12192000" cy="6858000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0 w 9144000"/>
              <a:gd name="connsiteY3" fmla="*/ 6858000 h 6858000"/>
              <a:gd name="connsiteX4" fmla="*/ 0 w 9144000"/>
              <a:gd name="connsiteY4" fmla="*/ 0 h 6858000"/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3885840 h 6858000"/>
              <a:gd name="connsiteX3" fmla="*/ 0 w 9144000"/>
              <a:gd name="connsiteY3" fmla="*/ 6858000 h 6858000"/>
              <a:gd name="connsiteX4" fmla="*/ 0 w 9144000"/>
              <a:gd name="connsiteY4" fmla="*/ 0 h 6858000"/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2884010 h 6858000"/>
              <a:gd name="connsiteX3" fmla="*/ 0 w 9144000"/>
              <a:gd name="connsiteY3" fmla="*/ 6858000 h 6858000"/>
              <a:gd name="connsiteX4" fmla="*/ 0 w 9144000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44000" h="6858000">
                <a:moveTo>
                  <a:pt x="0" y="0"/>
                </a:moveTo>
                <a:lnTo>
                  <a:pt x="9144000" y="0"/>
                </a:lnTo>
                <a:lnTo>
                  <a:pt x="9144000" y="288401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200"/>
            <a:endParaRPr lang="en-US" sz="1799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65245" y="365760"/>
            <a:ext cx="11669513" cy="1096062"/>
          </a:xfrm>
        </p:spPr>
        <p:txBody>
          <a:bodyPr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65245" y="1461822"/>
            <a:ext cx="11669513" cy="847633"/>
          </a:xfrm>
        </p:spPr>
        <p:txBody>
          <a:bodyPr>
            <a:normAutofit/>
          </a:bodyPr>
          <a:lstStyle>
            <a:lvl1pPr marL="0" indent="0" algn="l">
              <a:buNone/>
              <a:defRPr sz="1999">
                <a:solidFill>
                  <a:srgbClr val="FFFFFF"/>
                </a:solidFill>
              </a:defRPr>
            </a:lvl1pPr>
            <a:lvl2pPr marL="4570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265245" y="2309463"/>
            <a:ext cx="3303862" cy="3651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1000">
                <a:solidFill>
                  <a:srgbClr val="FFFFFF"/>
                </a:solidFill>
                <a:latin typeface="+mn-lt"/>
                <a:cs typeface="Arial"/>
              </a:defRPr>
            </a:lvl1pPr>
          </a:lstStyle>
          <a:p>
            <a:pPr defTabSz="45720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362047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64599"/>
            <a:ext cx="12183572" cy="6353561"/>
          </a:xfrm>
          <a:prstGeom prst="rect">
            <a:avLst/>
          </a:prstGeom>
          <a:ln>
            <a:noFill/>
          </a:ln>
        </p:spPr>
      </p:pic>
      <p:sp>
        <p:nvSpPr>
          <p:cNvPr id="7" name="Rectangle 7"/>
          <p:cNvSpPr/>
          <p:nvPr userDrawn="1"/>
        </p:nvSpPr>
        <p:spPr>
          <a:xfrm>
            <a:off x="1" y="-7059"/>
            <a:ext cx="12198397" cy="2802770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0 w 9144000"/>
              <a:gd name="connsiteY3" fmla="*/ 6858000 h 6858000"/>
              <a:gd name="connsiteX4" fmla="*/ 0 w 9144000"/>
              <a:gd name="connsiteY4" fmla="*/ 0 h 6858000"/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3885840 h 6858000"/>
              <a:gd name="connsiteX3" fmla="*/ 0 w 9144000"/>
              <a:gd name="connsiteY3" fmla="*/ 6858000 h 6858000"/>
              <a:gd name="connsiteX4" fmla="*/ 0 w 9144000"/>
              <a:gd name="connsiteY4" fmla="*/ 0 h 6858000"/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0 w 9144000"/>
              <a:gd name="connsiteY2" fmla="*/ 6858000 h 6858000"/>
              <a:gd name="connsiteX3" fmla="*/ 0 w 9144000"/>
              <a:gd name="connsiteY3" fmla="*/ 0 h 6858000"/>
              <a:gd name="connsiteX0" fmla="*/ 0 w 9144000"/>
              <a:gd name="connsiteY0" fmla="*/ 0 h 13876421"/>
              <a:gd name="connsiteX1" fmla="*/ 9144000 w 9144000"/>
              <a:gd name="connsiteY1" fmla="*/ 0 h 13876421"/>
              <a:gd name="connsiteX2" fmla="*/ 8640 w 9144000"/>
              <a:gd name="connsiteY2" fmla="*/ 13876421 h 13876421"/>
              <a:gd name="connsiteX3" fmla="*/ 0 w 9144000"/>
              <a:gd name="connsiteY3" fmla="*/ 0 h 13876421"/>
              <a:gd name="connsiteX0" fmla="*/ 0 w 9144000"/>
              <a:gd name="connsiteY0" fmla="*/ 0 h 13635789"/>
              <a:gd name="connsiteX1" fmla="*/ 9144000 w 9144000"/>
              <a:gd name="connsiteY1" fmla="*/ 0 h 13635789"/>
              <a:gd name="connsiteX2" fmla="*/ 155514 w 9144000"/>
              <a:gd name="connsiteY2" fmla="*/ 13635789 h 13635789"/>
              <a:gd name="connsiteX3" fmla="*/ 0 w 9144000"/>
              <a:gd name="connsiteY3" fmla="*/ 0 h 13635789"/>
              <a:gd name="connsiteX0" fmla="*/ 0 w 9144000"/>
              <a:gd name="connsiteY0" fmla="*/ 0 h 12673263"/>
              <a:gd name="connsiteX1" fmla="*/ 9144000 w 9144000"/>
              <a:gd name="connsiteY1" fmla="*/ 0 h 12673263"/>
              <a:gd name="connsiteX2" fmla="*/ 112315 w 9144000"/>
              <a:gd name="connsiteY2" fmla="*/ 12673263 h 12673263"/>
              <a:gd name="connsiteX3" fmla="*/ 0 w 9144000"/>
              <a:gd name="connsiteY3" fmla="*/ 0 h 12673263"/>
              <a:gd name="connsiteX0" fmla="*/ 0 w 9144000"/>
              <a:gd name="connsiteY0" fmla="*/ 0 h 13796210"/>
              <a:gd name="connsiteX1" fmla="*/ 9144000 w 9144000"/>
              <a:gd name="connsiteY1" fmla="*/ 0 h 13796210"/>
              <a:gd name="connsiteX2" fmla="*/ 8639 w 9144000"/>
              <a:gd name="connsiteY2" fmla="*/ 13796210 h 13796210"/>
              <a:gd name="connsiteX3" fmla="*/ 0 w 9144000"/>
              <a:gd name="connsiteY3" fmla="*/ 0 h 13796210"/>
              <a:gd name="connsiteX0" fmla="*/ 831 w 9144831"/>
              <a:gd name="connsiteY0" fmla="*/ 0 h 13796210"/>
              <a:gd name="connsiteX1" fmla="*/ 9144831 w 9144831"/>
              <a:gd name="connsiteY1" fmla="*/ 0 h 13796210"/>
              <a:gd name="connsiteX2" fmla="*/ 831 w 9144831"/>
              <a:gd name="connsiteY2" fmla="*/ 13796210 h 13796210"/>
              <a:gd name="connsiteX3" fmla="*/ 831 w 9144831"/>
              <a:gd name="connsiteY3" fmla="*/ 0 h 13796210"/>
              <a:gd name="connsiteX0" fmla="*/ 831 w 9144831"/>
              <a:gd name="connsiteY0" fmla="*/ 0 h 13796210"/>
              <a:gd name="connsiteX1" fmla="*/ 9144831 w 9144831"/>
              <a:gd name="connsiteY1" fmla="*/ 0 h 13796210"/>
              <a:gd name="connsiteX2" fmla="*/ 8799806 w 9144831"/>
              <a:gd name="connsiteY2" fmla="*/ 469194 h 13796210"/>
              <a:gd name="connsiteX3" fmla="*/ 831 w 9144831"/>
              <a:gd name="connsiteY3" fmla="*/ 13796210 h 13796210"/>
              <a:gd name="connsiteX4" fmla="*/ 831 w 9144831"/>
              <a:gd name="connsiteY4" fmla="*/ 0 h 13796210"/>
              <a:gd name="connsiteX0" fmla="*/ 831 w 9144831"/>
              <a:gd name="connsiteY0" fmla="*/ 0 h 13796210"/>
              <a:gd name="connsiteX1" fmla="*/ 9144831 w 9144831"/>
              <a:gd name="connsiteY1" fmla="*/ 0 h 13796210"/>
              <a:gd name="connsiteX2" fmla="*/ 9097856 w 9144831"/>
              <a:gd name="connsiteY2" fmla="*/ 950439 h 13796210"/>
              <a:gd name="connsiteX3" fmla="*/ 831 w 9144831"/>
              <a:gd name="connsiteY3" fmla="*/ 13796210 h 13796210"/>
              <a:gd name="connsiteX4" fmla="*/ 831 w 9144831"/>
              <a:gd name="connsiteY4" fmla="*/ 0 h 13796210"/>
              <a:gd name="connsiteX0" fmla="*/ 831 w 9144831"/>
              <a:gd name="connsiteY0" fmla="*/ 0 h 13796210"/>
              <a:gd name="connsiteX1" fmla="*/ 9144831 w 9144831"/>
              <a:gd name="connsiteY1" fmla="*/ 0 h 13796210"/>
              <a:gd name="connsiteX2" fmla="*/ 9053406 w 9144831"/>
              <a:gd name="connsiteY2" fmla="*/ 788324 h 13796210"/>
              <a:gd name="connsiteX3" fmla="*/ 831 w 9144831"/>
              <a:gd name="connsiteY3" fmla="*/ 13796210 h 13796210"/>
              <a:gd name="connsiteX4" fmla="*/ 831 w 9144831"/>
              <a:gd name="connsiteY4" fmla="*/ 0 h 13796210"/>
              <a:gd name="connsiteX0" fmla="*/ 831 w 9145481"/>
              <a:gd name="connsiteY0" fmla="*/ 0 h 13796210"/>
              <a:gd name="connsiteX1" fmla="*/ 9144831 w 9145481"/>
              <a:gd name="connsiteY1" fmla="*/ 0 h 13796210"/>
              <a:gd name="connsiteX2" fmla="*/ 9145481 w 9145481"/>
              <a:gd name="connsiteY2" fmla="*/ 1053603 h 13796210"/>
              <a:gd name="connsiteX3" fmla="*/ 831 w 9145481"/>
              <a:gd name="connsiteY3" fmla="*/ 13796210 h 13796210"/>
              <a:gd name="connsiteX4" fmla="*/ 831 w 9145481"/>
              <a:gd name="connsiteY4" fmla="*/ 0 h 13796210"/>
              <a:gd name="connsiteX0" fmla="*/ 831 w 9145481"/>
              <a:gd name="connsiteY0" fmla="*/ 0 h 14842591"/>
              <a:gd name="connsiteX1" fmla="*/ 9144831 w 9145481"/>
              <a:gd name="connsiteY1" fmla="*/ 0 h 14842591"/>
              <a:gd name="connsiteX2" fmla="*/ 9145481 w 9145481"/>
              <a:gd name="connsiteY2" fmla="*/ 1053603 h 14842591"/>
              <a:gd name="connsiteX3" fmla="*/ 831 w 9145481"/>
              <a:gd name="connsiteY3" fmla="*/ 14842591 h 14842591"/>
              <a:gd name="connsiteX4" fmla="*/ 831 w 9145481"/>
              <a:gd name="connsiteY4" fmla="*/ 0 h 14842591"/>
              <a:gd name="connsiteX0" fmla="*/ 831 w 9145481"/>
              <a:gd name="connsiteY0" fmla="*/ 0 h 14842591"/>
              <a:gd name="connsiteX1" fmla="*/ 9144831 w 9145481"/>
              <a:gd name="connsiteY1" fmla="*/ 0 h 14842591"/>
              <a:gd name="connsiteX2" fmla="*/ 9145481 w 9145481"/>
              <a:gd name="connsiteY2" fmla="*/ 1749318 h 14842591"/>
              <a:gd name="connsiteX3" fmla="*/ 831 w 9145481"/>
              <a:gd name="connsiteY3" fmla="*/ 14842591 h 14842591"/>
              <a:gd name="connsiteX4" fmla="*/ 831 w 9145481"/>
              <a:gd name="connsiteY4" fmla="*/ 0 h 14842591"/>
              <a:gd name="connsiteX0" fmla="*/ 0 w 9144650"/>
              <a:gd name="connsiteY0" fmla="*/ 0 h 12975143"/>
              <a:gd name="connsiteX1" fmla="*/ 9144000 w 9144650"/>
              <a:gd name="connsiteY1" fmla="*/ 0 h 12975143"/>
              <a:gd name="connsiteX2" fmla="*/ 9144650 w 9144650"/>
              <a:gd name="connsiteY2" fmla="*/ 1749318 h 12975143"/>
              <a:gd name="connsiteX3" fmla="*/ 5918 w 9144650"/>
              <a:gd name="connsiteY3" fmla="*/ 12975143 h 12975143"/>
              <a:gd name="connsiteX4" fmla="*/ 0 w 9144650"/>
              <a:gd name="connsiteY4" fmla="*/ 0 h 12975143"/>
              <a:gd name="connsiteX0" fmla="*/ 0 w 9144650"/>
              <a:gd name="connsiteY0" fmla="*/ 0 h 12975143"/>
              <a:gd name="connsiteX1" fmla="*/ 9144000 w 9144650"/>
              <a:gd name="connsiteY1" fmla="*/ 0 h 12975143"/>
              <a:gd name="connsiteX2" fmla="*/ 9144650 w 9144650"/>
              <a:gd name="connsiteY2" fmla="*/ 2884432 h 12975143"/>
              <a:gd name="connsiteX3" fmla="*/ 5918 w 9144650"/>
              <a:gd name="connsiteY3" fmla="*/ 12975143 h 12975143"/>
              <a:gd name="connsiteX4" fmla="*/ 0 w 9144650"/>
              <a:gd name="connsiteY4" fmla="*/ 0 h 12975143"/>
              <a:gd name="connsiteX0" fmla="*/ 0 w 9144650"/>
              <a:gd name="connsiteY0" fmla="*/ 0 h 12975143"/>
              <a:gd name="connsiteX1" fmla="*/ 9144000 w 9144650"/>
              <a:gd name="connsiteY1" fmla="*/ 0 h 12975143"/>
              <a:gd name="connsiteX2" fmla="*/ 9144650 w 9144650"/>
              <a:gd name="connsiteY2" fmla="*/ 2884432 h 12975143"/>
              <a:gd name="connsiteX3" fmla="*/ 5918 w 9144650"/>
              <a:gd name="connsiteY3" fmla="*/ 12975143 h 12975143"/>
              <a:gd name="connsiteX4" fmla="*/ 0 w 9144650"/>
              <a:gd name="connsiteY4" fmla="*/ 0 h 12975143"/>
              <a:gd name="connsiteX0" fmla="*/ 0 w 9144650"/>
              <a:gd name="connsiteY0" fmla="*/ 0 h 12975143"/>
              <a:gd name="connsiteX1" fmla="*/ 9144000 w 9144650"/>
              <a:gd name="connsiteY1" fmla="*/ 0 h 12975143"/>
              <a:gd name="connsiteX2" fmla="*/ 9144650 w 9144650"/>
              <a:gd name="connsiteY2" fmla="*/ 2884432 h 12975143"/>
              <a:gd name="connsiteX3" fmla="*/ 5918 w 9144650"/>
              <a:gd name="connsiteY3" fmla="*/ 12975143 h 12975143"/>
              <a:gd name="connsiteX4" fmla="*/ 0 w 9144650"/>
              <a:gd name="connsiteY4" fmla="*/ 0 h 12975143"/>
              <a:gd name="connsiteX0" fmla="*/ 0 w 9144650"/>
              <a:gd name="connsiteY0" fmla="*/ 0 h 12975143"/>
              <a:gd name="connsiteX1" fmla="*/ 9144000 w 9144650"/>
              <a:gd name="connsiteY1" fmla="*/ 0 h 12975143"/>
              <a:gd name="connsiteX2" fmla="*/ 9144650 w 9144650"/>
              <a:gd name="connsiteY2" fmla="*/ 3873077 h 12975143"/>
              <a:gd name="connsiteX3" fmla="*/ 5918 w 9144650"/>
              <a:gd name="connsiteY3" fmla="*/ 12975143 h 12975143"/>
              <a:gd name="connsiteX4" fmla="*/ 0 w 9144650"/>
              <a:gd name="connsiteY4" fmla="*/ 0 h 12975143"/>
              <a:gd name="connsiteX0" fmla="*/ 0 w 9144650"/>
              <a:gd name="connsiteY0" fmla="*/ 0 h 12975143"/>
              <a:gd name="connsiteX1" fmla="*/ 9144000 w 9144650"/>
              <a:gd name="connsiteY1" fmla="*/ 0 h 12975143"/>
              <a:gd name="connsiteX2" fmla="*/ 9144650 w 9144650"/>
              <a:gd name="connsiteY2" fmla="*/ 3873077 h 12975143"/>
              <a:gd name="connsiteX3" fmla="*/ 5918 w 9144650"/>
              <a:gd name="connsiteY3" fmla="*/ 12975143 h 12975143"/>
              <a:gd name="connsiteX4" fmla="*/ 0 w 9144650"/>
              <a:gd name="connsiteY4" fmla="*/ 0 h 12975143"/>
              <a:gd name="connsiteX0" fmla="*/ 0 w 9144650"/>
              <a:gd name="connsiteY0" fmla="*/ 0 h 12975143"/>
              <a:gd name="connsiteX1" fmla="*/ 9144000 w 9144650"/>
              <a:gd name="connsiteY1" fmla="*/ 0 h 12975143"/>
              <a:gd name="connsiteX2" fmla="*/ 9144650 w 9144650"/>
              <a:gd name="connsiteY2" fmla="*/ 4056160 h 12975143"/>
              <a:gd name="connsiteX3" fmla="*/ 5918 w 9144650"/>
              <a:gd name="connsiteY3" fmla="*/ 12975143 h 12975143"/>
              <a:gd name="connsiteX4" fmla="*/ 0 w 9144650"/>
              <a:gd name="connsiteY4" fmla="*/ 0 h 12975143"/>
              <a:gd name="connsiteX0" fmla="*/ 0 w 9145005"/>
              <a:gd name="connsiteY0" fmla="*/ 0 h 12975143"/>
              <a:gd name="connsiteX1" fmla="*/ 9144000 w 9145005"/>
              <a:gd name="connsiteY1" fmla="*/ 0 h 12975143"/>
              <a:gd name="connsiteX2" fmla="*/ 9144650 w 9145005"/>
              <a:gd name="connsiteY2" fmla="*/ 4056160 h 12975143"/>
              <a:gd name="connsiteX3" fmla="*/ 5918 w 9145005"/>
              <a:gd name="connsiteY3" fmla="*/ 12975143 h 12975143"/>
              <a:gd name="connsiteX4" fmla="*/ 0 w 9145005"/>
              <a:gd name="connsiteY4" fmla="*/ 0 h 12975143"/>
              <a:gd name="connsiteX0" fmla="*/ 1334 w 9146339"/>
              <a:gd name="connsiteY0" fmla="*/ 0 h 12995196"/>
              <a:gd name="connsiteX1" fmla="*/ 9145334 w 9146339"/>
              <a:gd name="connsiteY1" fmla="*/ 0 h 12995196"/>
              <a:gd name="connsiteX2" fmla="*/ 9145984 w 9146339"/>
              <a:gd name="connsiteY2" fmla="*/ 4056160 h 12995196"/>
              <a:gd name="connsiteX3" fmla="*/ 771 w 9146339"/>
              <a:gd name="connsiteY3" fmla="*/ 12995196 h 12995196"/>
              <a:gd name="connsiteX4" fmla="*/ 1334 w 9146339"/>
              <a:gd name="connsiteY4" fmla="*/ 0 h 12995196"/>
              <a:gd name="connsiteX0" fmla="*/ 1334 w 9145335"/>
              <a:gd name="connsiteY0" fmla="*/ 0 h 12995196"/>
              <a:gd name="connsiteX1" fmla="*/ 9145334 w 9145335"/>
              <a:gd name="connsiteY1" fmla="*/ 0 h 12995196"/>
              <a:gd name="connsiteX2" fmla="*/ 9126929 w 9145335"/>
              <a:gd name="connsiteY2" fmla="*/ 3864569 h 12995196"/>
              <a:gd name="connsiteX3" fmla="*/ 771 w 9145335"/>
              <a:gd name="connsiteY3" fmla="*/ 12995196 h 12995196"/>
              <a:gd name="connsiteX4" fmla="*/ 1334 w 9145335"/>
              <a:gd name="connsiteY4" fmla="*/ 0 h 12995196"/>
              <a:gd name="connsiteX0" fmla="*/ 1334 w 9148536"/>
              <a:gd name="connsiteY0" fmla="*/ 0 h 12995196"/>
              <a:gd name="connsiteX1" fmla="*/ 9145334 w 9148536"/>
              <a:gd name="connsiteY1" fmla="*/ 0 h 12995196"/>
              <a:gd name="connsiteX2" fmla="*/ 9148366 w 9148536"/>
              <a:gd name="connsiteY2" fmla="*/ 4011947 h 12995196"/>
              <a:gd name="connsiteX3" fmla="*/ 771 w 9148536"/>
              <a:gd name="connsiteY3" fmla="*/ 12995196 h 12995196"/>
              <a:gd name="connsiteX4" fmla="*/ 1334 w 9148536"/>
              <a:gd name="connsiteY4" fmla="*/ 0 h 12995196"/>
              <a:gd name="connsiteX0" fmla="*/ 1334 w 9148395"/>
              <a:gd name="connsiteY0" fmla="*/ 0 h 12995196"/>
              <a:gd name="connsiteX1" fmla="*/ 9123897 w 9148395"/>
              <a:gd name="connsiteY1" fmla="*/ 147378 h 12995196"/>
              <a:gd name="connsiteX2" fmla="*/ 9148366 w 9148395"/>
              <a:gd name="connsiteY2" fmla="*/ 4011947 h 12995196"/>
              <a:gd name="connsiteX3" fmla="*/ 771 w 9148395"/>
              <a:gd name="connsiteY3" fmla="*/ 12995196 h 12995196"/>
              <a:gd name="connsiteX4" fmla="*/ 1334 w 9148395"/>
              <a:gd name="connsiteY4" fmla="*/ 0 h 12995196"/>
              <a:gd name="connsiteX0" fmla="*/ 1334 w 9150129"/>
              <a:gd name="connsiteY0" fmla="*/ 14738 h 13009934"/>
              <a:gd name="connsiteX1" fmla="*/ 9150098 w 9150129"/>
              <a:gd name="connsiteY1" fmla="*/ 0 h 13009934"/>
              <a:gd name="connsiteX2" fmla="*/ 9148366 w 9150129"/>
              <a:gd name="connsiteY2" fmla="*/ 4026685 h 13009934"/>
              <a:gd name="connsiteX3" fmla="*/ 771 w 9150129"/>
              <a:gd name="connsiteY3" fmla="*/ 13009934 h 13009934"/>
              <a:gd name="connsiteX4" fmla="*/ 1334 w 9150129"/>
              <a:gd name="connsiteY4" fmla="*/ 14738 h 13009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50129" h="13009934">
                <a:moveTo>
                  <a:pt x="1334" y="14738"/>
                </a:moveTo>
                <a:lnTo>
                  <a:pt x="9150098" y="0"/>
                </a:lnTo>
                <a:cubicBezTo>
                  <a:pt x="9150315" y="351201"/>
                  <a:pt x="9149378" y="2536723"/>
                  <a:pt x="9148366" y="4026685"/>
                </a:cubicBezTo>
                <a:lnTo>
                  <a:pt x="771" y="13009934"/>
                </a:lnTo>
                <a:cubicBezTo>
                  <a:pt x="-2109" y="8411197"/>
                  <a:pt x="4214" y="4613475"/>
                  <a:pt x="1334" y="1473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200"/>
            <a:endParaRPr lang="en-US" sz="1799">
              <a:solidFill>
                <a:prstClr val="white"/>
              </a:solidFill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265245" y="357099"/>
            <a:ext cx="11653082" cy="969616"/>
          </a:xfrm>
          <a:custGeom>
            <a:avLst/>
            <a:gdLst>
              <a:gd name="connsiteX0" fmla="*/ 0 w 7743085"/>
              <a:gd name="connsiteY0" fmla="*/ 0 h 952042"/>
              <a:gd name="connsiteX1" fmla="*/ 7743085 w 7743085"/>
              <a:gd name="connsiteY1" fmla="*/ 0 h 952042"/>
              <a:gd name="connsiteX2" fmla="*/ 7743085 w 7743085"/>
              <a:gd name="connsiteY2" fmla="*/ 952042 h 952042"/>
              <a:gd name="connsiteX3" fmla="*/ 0 w 7743085"/>
              <a:gd name="connsiteY3" fmla="*/ 952042 h 952042"/>
              <a:gd name="connsiteX4" fmla="*/ 0 w 7743085"/>
              <a:gd name="connsiteY4" fmla="*/ 0 h 952042"/>
              <a:gd name="connsiteX0" fmla="*/ 0 w 7743085"/>
              <a:gd name="connsiteY0" fmla="*/ 0 h 970627"/>
              <a:gd name="connsiteX1" fmla="*/ 7743085 w 7743085"/>
              <a:gd name="connsiteY1" fmla="*/ 0 h 970627"/>
              <a:gd name="connsiteX2" fmla="*/ 3864938 w 7743085"/>
              <a:gd name="connsiteY2" fmla="*/ 970627 h 970627"/>
              <a:gd name="connsiteX3" fmla="*/ 0 w 7743085"/>
              <a:gd name="connsiteY3" fmla="*/ 952042 h 970627"/>
              <a:gd name="connsiteX4" fmla="*/ 0 w 7743085"/>
              <a:gd name="connsiteY4" fmla="*/ 0 h 970627"/>
              <a:gd name="connsiteX0" fmla="*/ 0 w 6764255"/>
              <a:gd name="connsiteY0" fmla="*/ 0 h 970627"/>
              <a:gd name="connsiteX1" fmla="*/ 6764255 w 6764255"/>
              <a:gd name="connsiteY1" fmla="*/ 0 h 970627"/>
              <a:gd name="connsiteX2" fmla="*/ 3864938 w 6764255"/>
              <a:gd name="connsiteY2" fmla="*/ 970627 h 970627"/>
              <a:gd name="connsiteX3" fmla="*/ 0 w 6764255"/>
              <a:gd name="connsiteY3" fmla="*/ 952042 h 970627"/>
              <a:gd name="connsiteX4" fmla="*/ 0 w 6764255"/>
              <a:gd name="connsiteY4" fmla="*/ 0 h 970627"/>
              <a:gd name="connsiteX0" fmla="*/ 0 w 6764255"/>
              <a:gd name="connsiteY0" fmla="*/ 0 h 954387"/>
              <a:gd name="connsiteX1" fmla="*/ 6764255 w 6764255"/>
              <a:gd name="connsiteY1" fmla="*/ 0 h 954387"/>
              <a:gd name="connsiteX2" fmla="*/ 3886981 w 6764255"/>
              <a:gd name="connsiteY2" fmla="*/ 954387 h 954387"/>
              <a:gd name="connsiteX3" fmla="*/ 0 w 6764255"/>
              <a:gd name="connsiteY3" fmla="*/ 952042 h 954387"/>
              <a:gd name="connsiteX4" fmla="*/ 0 w 6764255"/>
              <a:gd name="connsiteY4" fmla="*/ 0 h 954387"/>
              <a:gd name="connsiteX0" fmla="*/ 0 w 6764255"/>
              <a:gd name="connsiteY0" fmla="*/ 0 h 952042"/>
              <a:gd name="connsiteX1" fmla="*/ 6764255 w 6764255"/>
              <a:gd name="connsiteY1" fmla="*/ 0 h 952042"/>
              <a:gd name="connsiteX2" fmla="*/ 3899577 w 6764255"/>
              <a:gd name="connsiteY2" fmla="*/ 908913 h 952042"/>
              <a:gd name="connsiteX3" fmla="*/ 0 w 6764255"/>
              <a:gd name="connsiteY3" fmla="*/ 952042 h 952042"/>
              <a:gd name="connsiteX4" fmla="*/ 0 w 6764255"/>
              <a:gd name="connsiteY4" fmla="*/ 0 h 952042"/>
              <a:gd name="connsiteX0" fmla="*/ 0 w 6764255"/>
              <a:gd name="connsiteY0" fmla="*/ 0 h 952042"/>
              <a:gd name="connsiteX1" fmla="*/ 6764255 w 6764255"/>
              <a:gd name="connsiteY1" fmla="*/ 0 h 952042"/>
              <a:gd name="connsiteX2" fmla="*/ 3886981 w 6764255"/>
              <a:gd name="connsiteY2" fmla="*/ 951138 h 952042"/>
              <a:gd name="connsiteX3" fmla="*/ 0 w 6764255"/>
              <a:gd name="connsiteY3" fmla="*/ 952042 h 952042"/>
              <a:gd name="connsiteX4" fmla="*/ 0 w 6764255"/>
              <a:gd name="connsiteY4" fmla="*/ 0 h 952042"/>
              <a:gd name="connsiteX0" fmla="*/ 0 w 7344064"/>
              <a:gd name="connsiteY0" fmla="*/ 3360 h 955402"/>
              <a:gd name="connsiteX1" fmla="*/ 7344064 w 7344064"/>
              <a:gd name="connsiteY1" fmla="*/ 0 h 955402"/>
              <a:gd name="connsiteX2" fmla="*/ 3886981 w 7344064"/>
              <a:gd name="connsiteY2" fmla="*/ 954498 h 955402"/>
              <a:gd name="connsiteX3" fmla="*/ 0 w 7344064"/>
              <a:gd name="connsiteY3" fmla="*/ 955402 h 955402"/>
              <a:gd name="connsiteX4" fmla="*/ 0 w 7344064"/>
              <a:gd name="connsiteY4" fmla="*/ 3360 h 955402"/>
              <a:gd name="connsiteX0" fmla="*/ 0 w 7344064"/>
              <a:gd name="connsiteY0" fmla="*/ 3360 h 957858"/>
              <a:gd name="connsiteX1" fmla="*/ 7344064 w 7344064"/>
              <a:gd name="connsiteY1" fmla="*/ 0 h 957858"/>
              <a:gd name="connsiteX2" fmla="*/ 4470045 w 7344064"/>
              <a:gd name="connsiteY2" fmla="*/ 957858 h 957858"/>
              <a:gd name="connsiteX3" fmla="*/ 0 w 7344064"/>
              <a:gd name="connsiteY3" fmla="*/ 955402 h 957858"/>
              <a:gd name="connsiteX4" fmla="*/ 0 w 7344064"/>
              <a:gd name="connsiteY4" fmla="*/ 3360 h 957858"/>
              <a:gd name="connsiteX0" fmla="*/ 0 w 8473072"/>
              <a:gd name="connsiteY0" fmla="*/ 3360 h 957858"/>
              <a:gd name="connsiteX1" fmla="*/ 8473072 w 8473072"/>
              <a:gd name="connsiteY1" fmla="*/ 0 h 957858"/>
              <a:gd name="connsiteX2" fmla="*/ 4470045 w 8473072"/>
              <a:gd name="connsiteY2" fmla="*/ 957858 h 957858"/>
              <a:gd name="connsiteX3" fmla="*/ 0 w 8473072"/>
              <a:gd name="connsiteY3" fmla="*/ 955402 h 957858"/>
              <a:gd name="connsiteX4" fmla="*/ 0 w 8473072"/>
              <a:gd name="connsiteY4" fmla="*/ 3360 h 957858"/>
              <a:gd name="connsiteX0" fmla="*/ 0 w 8473072"/>
              <a:gd name="connsiteY0" fmla="*/ 3360 h 969616"/>
              <a:gd name="connsiteX1" fmla="*/ 8473072 w 8473072"/>
              <a:gd name="connsiteY1" fmla="*/ 0 h 969616"/>
              <a:gd name="connsiteX2" fmla="*/ 5513523 w 8473072"/>
              <a:gd name="connsiteY2" fmla="*/ 969616 h 969616"/>
              <a:gd name="connsiteX3" fmla="*/ 0 w 8473072"/>
              <a:gd name="connsiteY3" fmla="*/ 955402 h 969616"/>
              <a:gd name="connsiteX4" fmla="*/ 0 w 8473072"/>
              <a:gd name="connsiteY4" fmla="*/ 3360 h 969616"/>
              <a:gd name="connsiteX0" fmla="*/ 0 w 8473072"/>
              <a:gd name="connsiteY0" fmla="*/ 3360 h 969616"/>
              <a:gd name="connsiteX1" fmla="*/ 8473072 w 8473072"/>
              <a:gd name="connsiteY1" fmla="*/ 0 h 969616"/>
              <a:gd name="connsiteX2" fmla="*/ 7875733 w 8473072"/>
              <a:gd name="connsiteY2" fmla="*/ 195725 h 969616"/>
              <a:gd name="connsiteX3" fmla="*/ 5513523 w 8473072"/>
              <a:gd name="connsiteY3" fmla="*/ 969616 h 969616"/>
              <a:gd name="connsiteX4" fmla="*/ 0 w 8473072"/>
              <a:gd name="connsiteY4" fmla="*/ 955402 h 969616"/>
              <a:gd name="connsiteX5" fmla="*/ 0 w 8473072"/>
              <a:gd name="connsiteY5" fmla="*/ 3360 h 969616"/>
              <a:gd name="connsiteX0" fmla="*/ 0 w 8473407"/>
              <a:gd name="connsiteY0" fmla="*/ 3360 h 969616"/>
              <a:gd name="connsiteX1" fmla="*/ 8473072 w 8473407"/>
              <a:gd name="connsiteY1" fmla="*/ 0 h 969616"/>
              <a:gd name="connsiteX2" fmla="*/ 8473407 w 8473407"/>
              <a:gd name="connsiteY2" fmla="*/ 330195 h 969616"/>
              <a:gd name="connsiteX3" fmla="*/ 5513523 w 8473407"/>
              <a:gd name="connsiteY3" fmla="*/ 969616 h 969616"/>
              <a:gd name="connsiteX4" fmla="*/ 0 w 8473407"/>
              <a:gd name="connsiteY4" fmla="*/ 955402 h 969616"/>
              <a:gd name="connsiteX5" fmla="*/ 0 w 8473407"/>
              <a:gd name="connsiteY5" fmla="*/ 3360 h 9696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73407" h="969616">
                <a:moveTo>
                  <a:pt x="0" y="3360"/>
                </a:moveTo>
                <a:lnTo>
                  <a:pt x="8473072" y="0"/>
                </a:lnTo>
                <a:cubicBezTo>
                  <a:pt x="8473184" y="110065"/>
                  <a:pt x="8473295" y="220130"/>
                  <a:pt x="8473407" y="330195"/>
                </a:cubicBezTo>
                <a:lnTo>
                  <a:pt x="5513523" y="969616"/>
                </a:lnTo>
                <a:lnTo>
                  <a:pt x="0" y="955402"/>
                </a:lnTo>
                <a:lnTo>
                  <a:pt x="0" y="3360"/>
                </a:lnTo>
                <a:close/>
              </a:path>
            </a:pathLst>
          </a:custGeom>
        </p:spPr>
        <p:txBody>
          <a:bodyPr rIns="1828800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265246" y="1312504"/>
            <a:ext cx="7540970" cy="854788"/>
          </a:xfrm>
          <a:custGeom>
            <a:avLst/>
            <a:gdLst>
              <a:gd name="connsiteX0" fmla="*/ 0 w 3736951"/>
              <a:gd name="connsiteY0" fmla="*/ 0 h 847633"/>
              <a:gd name="connsiteX1" fmla="*/ 3736951 w 3736951"/>
              <a:gd name="connsiteY1" fmla="*/ 0 h 847633"/>
              <a:gd name="connsiteX2" fmla="*/ 3736951 w 3736951"/>
              <a:gd name="connsiteY2" fmla="*/ 847633 h 847633"/>
              <a:gd name="connsiteX3" fmla="*/ 0 w 3736951"/>
              <a:gd name="connsiteY3" fmla="*/ 847633 h 847633"/>
              <a:gd name="connsiteX4" fmla="*/ 0 w 3736951"/>
              <a:gd name="connsiteY4" fmla="*/ 0 h 847633"/>
              <a:gd name="connsiteX0" fmla="*/ 0 w 3736951"/>
              <a:gd name="connsiteY0" fmla="*/ 0 h 847633"/>
              <a:gd name="connsiteX1" fmla="*/ 3736951 w 3736951"/>
              <a:gd name="connsiteY1" fmla="*/ 0 h 847633"/>
              <a:gd name="connsiteX2" fmla="*/ 2188170 w 3736951"/>
              <a:gd name="connsiteY2" fmla="*/ 847633 h 847633"/>
              <a:gd name="connsiteX3" fmla="*/ 0 w 3736951"/>
              <a:gd name="connsiteY3" fmla="*/ 847633 h 847633"/>
              <a:gd name="connsiteX4" fmla="*/ 0 w 3736951"/>
              <a:gd name="connsiteY4" fmla="*/ 0 h 847633"/>
              <a:gd name="connsiteX0" fmla="*/ 0 w 3736951"/>
              <a:gd name="connsiteY0" fmla="*/ 0 h 847633"/>
              <a:gd name="connsiteX1" fmla="*/ 3736951 w 3736951"/>
              <a:gd name="connsiteY1" fmla="*/ 0 h 847633"/>
              <a:gd name="connsiteX2" fmla="*/ 3090466 w 3736951"/>
              <a:gd name="connsiteY2" fmla="*/ 353987 h 847633"/>
              <a:gd name="connsiteX3" fmla="*/ 2188170 w 3736951"/>
              <a:gd name="connsiteY3" fmla="*/ 847633 h 847633"/>
              <a:gd name="connsiteX4" fmla="*/ 0 w 3736951"/>
              <a:gd name="connsiteY4" fmla="*/ 847633 h 847633"/>
              <a:gd name="connsiteX5" fmla="*/ 0 w 3736951"/>
              <a:gd name="connsiteY5" fmla="*/ 0 h 847633"/>
              <a:gd name="connsiteX0" fmla="*/ 0 w 3736951"/>
              <a:gd name="connsiteY0" fmla="*/ 0 h 847633"/>
              <a:gd name="connsiteX1" fmla="*/ 3736951 w 3736951"/>
              <a:gd name="connsiteY1" fmla="*/ 0 h 847633"/>
              <a:gd name="connsiteX2" fmla="*/ 3728564 w 3736951"/>
              <a:gd name="connsiteY2" fmla="*/ 353987 h 847633"/>
              <a:gd name="connsiteX3" fmla="*/ 2188170 w 3736951"/>
              <a:gd name="connsiteY3" fmla="*/ 847633 h 847633"/>
              <a:gd name="connsiteX4" fmla="*/ 0 w 3736951"/>
              <a:gd name="connsiteY4" fmla="*/ 847633 h 847633"/>
              <a:gd name="connsiteX5" fmla="*/ 0 w 3736951"/>
              <a:gd name="connsiteY5" fmla="*/ 0 h 847633"/>
              <a:gd name="connsiteX0" fmla="*/ 0 w 3736951"/>
              <a:gd name="connsiteY0" fmla="*/ 0 h 847633"/>
              <a:gd name="connsiteX1" fmla="*/ 3736951 w 3736951"/>
              <a:gd name="connsiteY1" fmla="*/ 0 h 847633"/>
              <a:gd name="connsiteX2" fmla="*/ 2188170 w 3736951"/>
              <a:gd name="connsiteY2" fmla="*/ 847633 h 847633"/>
              <a:gd name="connsiteX3" fmla="*/ 0 w 3736951"/>
              <a:gd name="connsiteY3" fmla="*/ 847633 h 847633"/>
              <a:gd name="connsiteX4" fmla="*/ 0 w 3736951"/>
              <a:gd name="connsiteY4" fmla="*/ 0 h 847633"/>
              <a:gd name="connsiteX0" fmla="*/ 0 w 3928999"/>
              <a:gd name="connsiteY0" fmla="*/ 0 h 847633"/>
              <a:gd name="connsiteX1" fmla="*/ 3928999 w 3928999"/>
              <a:gd name="connsiteY1" fmla="*/ 0 h 847633"/>
              <a:gd name="connsiteX2" fmla="*/ 2188170 w 3928999"/>
              <a:gd name="connsiteY2" fmla="*/ 847633 h 847633"/>
              <a:gd name="connsiteX3" fmla="*/ 0 w 3928999"/>
              <a:gd name="connsiteY3" fmla="*/ 847633 h 847633"/>
              <a:gd name="connsiteX4" fmla="*/ 0 w 3928999"/>
              <a:gd name="connsiteY4" fmla="*/ 0 h 847633"/>
              <a:gd name="connsiteX0" fmla="*/ 0 w 3928999"/>
              <a:gd name="connsiteY0" fmla="*/ 0 h 853829"/>
              <a:gd name="connsiteX1" fmla="*/ 3928999 w 3928999"/>
              <a:gd name="connsiteY1" fmla="*/ 0 h 853829"/>
              <a:gd name="connsiteX2" fmla="*/ 1779292 w 3928999"/>
              <a:gd name="connsiteY2" fmla="*/ 853829 h 853829"/>
              <a:gd name="connsiteX3" fmla="*/ 0 w 3928999"/>
              <a:gd name="connsiteY3" fmla="*/ 847633 h 853829"/>
              <a:gd name="connsiteX4" fmla="*/ 0 w 3928999"/>
              <a:gd name="connsiteY4" fmla="*/ 0 h 853829"/>
              <a:gd name="connsiteX0" fmla="*/ 0 w 3928999"/>
              <a:gd name="connsiteY0" fmla="*/ 0 h 866219"/>
              <a:gd name="connsiteX1" fmla="*/ 3928999 w 3928999"/>
              <a:gd name="connsiteY1" fmla="*/ 0 h 866219"/>
              <a:gd name="connsiteX2" fmla="*/ 1680170 w 3928999"/>
              <a:gd name="connsiteY2" fmla="*/ 866219 h 866219"/>
              <a:gd name="connsiteX3" fmla="*/ 0 w 3928999"/>
              <a:gd name="connsiteY3" fmla="*/ 847633 h 866219"/>
              <a:gd name="connsiteX4" fmla="*/ 0 w 3928999"/>
              <a:gd name="connsiteY4" fmla="*/ 0 h 866219"/>
              <a:gd name="connsiteX0" fmla="*/ 0 w 3928999"/>
              <a:gd name="connsiteY0" fmla="*/ 0 h 860024"/>
              <a:gd name="connsiteX1" fmla="*/ 3928999 w 3928999"/>
              <a:gd name="connsiteY1" fmla="*/ 0 h 860024"/>
              <a:gd name="connsiteX2" fmla="*/ 1531487 w 3928999"/>
              <a:gd name="connsiteY2" fmla="*/ 860024 h 860024"/>
              <a:gd name="connsiteX3" fmla="*/ 0 w 3928999"/>
              <a:gd name="connsiteY3" fmla="*/ 847633 h 860024"/>
              <a:gd name="connsiteX4" fmla="*/ 0 w 3928999"/>
              <a:gd name="connsiteY4" fmla="*/ 0 h 860024"/>
              <a:gd name="connsiteX0" fmla="*/ 0 w 3928999"/>
              <a:gd name="connsiteY0" fmla="*/ 0 h 860024"/>
              <a:gd name="connsiteX1" fmla="*/ 3928999 w 3928999"/>
              <a:gd name="connsiteY1" fmla="*/ 0 h 860024"/>
              <a:gd name="connsiteX2" fmla="*/ 1333243 w 3928999"/>
              <a:gd name="connsiteY2" fmla="*/ 860024 h 860024"/>
              <a:gd name="connsiteX3" fmla="*/ 0 w 3928999"/>
              <a:gd name="connsiteY3" fmla="*/ 847633 h 860024"/>
              <a:gd name="connsiteX4" fmla="*/ 0 w 3928999"/>
              <a:gd name="connsiteY4" fmla="*/ 0 h 860024"/>
              <a:gd name="connsiteX0" fmla="*/ 0 w 3928999"/>
              <a:gd name="connsiteY0" fmla="*/ 0 h 847633"/>
              <a:gd name="connsiteX1" fmla="*/ 3928999 w 3928999"/>
              <a:gd name="connsiteY1" fmla="*/ 0 h 847633"/>
              <a:gd name="connsiteX2" fmla="*/ 1351828 w 3928999"/>
              <a:gd name="connsiteY2" fmla="*/ 773292 h 847633"/>
              <a:gd name="connsiteX3" fmla="*/ 0 w 3928999"/>
              <a:gd name="connsiteY3" fmla="*/ 847633 h 847633"/>
              <a:gd name="connsiteX4" fmla="*/ 0 w 3928999"/>
              <a:gd name="connsiteY4" fmla="*/ 0 h 847633"/>
              <a:gd name="connsiteX0" fmla="*/ 0 w 3928999"/>
              <a:gd name="connsiteY0" fmla="*/ 0 h 853829"/>
              <a:gd name="connsiteX1" fmla="*/ 3928999 w 3928999"/>
              <a:gd name="connsiteY1" fmla="*/ 0 h 853829"/>
              <a:gd name="connsiteX2" fmla="*/ 1358023 w 3928999"/>
              <a:gd name="connsiteY2" fmla="*/ 853829 h 853829"/>
              <a:gd name="connsiteX3" fmla="*/ 0 w 3928999"/>
              <a:gd name="connsiteY3" fmla="*/ 847633 h 853829"/>
              <a:gd name="connsiteX4" fmla="*/ 0 w 3928999"/>
              <a:gd name="connsiteY4" fmla="*/ 0 h 853829"/>
              <a:gd name="connsiteX0" fmla="*/ 0 w 3809600"/>
              <a:gd name="connsiteY0" fmla="*/ 0 h 853829"/>
              <a:gd name="connsiteX1" fmla="*/ 3809600 w 3809600"/>
              <a:gd name="connsiteY1" fmla="*/ 61511 h 853829"/>
              <a:gd name="connsiteX2" fmla="*/ 1358023 w 3809600"/>
              <a:gd name="connsiteY2" fmla="*/ 853829 h 853829"/>
              <a:gd name="connsiteX3" fmla="*/ 0 w 3809600"/>
              <a:gd name="connsiteY3" fmla="*/ 847633 h 853829"/>
              <a:gd name="connsiteX4" fmla="*/ 0 w 3809600"/>
              <a:gd name="connsiteY4" fmla="*/ 0 h 853829"/>
              <a:gd name="connsiteX0" fmla="*/ 0 w 3860254"/>
              <a:gd name="connsiteY0" fmla="*/ 0 h 853829"/>
              <a:gd name="connsiteX1" fmla="*/ 3860254 w 3860254"/>
              <a:gd name="connsiteY1" fmla="*/ 21710 h 853829"/>
              <a:gd name="connsiteX2" fmla="*/ 1358023 w 3860254"/>
              <a:gd name="connsiteY2" fmla="*/ 853829 h 853829"/>
              <a:gd name="connsiteX3" fmla="*/ 0 w 3860254"/>
              <a:gd name="connsiteY3" fmla="*/ 847633 h 853829"/>
              <a:gd name="connsiteX4" fmla="*/ 0 w 3860254"/>
              <a:gd name="connsiteY4" fmla="*/ 0 h 853829"/>
              <a:gd name="connsiteX0" fmla="*/ 0 w 3872808"/>
              <a:gd name="connsiteY0" fmla="*/ 0 h 853829"/>
              <a:gd name="connsiteX1" fmla="*/ 3872808 w 3872808"/>
              <a:gd name="connsiteY1" fmla="*/ 2222 h 853829"/>
              <a:gd name="connsiteX2" fmla="*/ 1358023 w 3872808"/>
              <a:gd name="connsiteY2" fmla="*/ 853829 h 853829"/>
              <a:gd name="connsiteX3" fmla="*/ 0 w 3872808"/>
              <a:gd name="connsiteY3" fmla="*/ 847633 h 853829"/>
              <a:gd name="connsiteX4" fmla="*/ 0 w 3872808"/>
              <a:gd name="connsiteY4" fmla="*/ 0 h 853829"/>
              <a:gd name="connsiteX0" fmla="*/ 0 w 4444188"/>
              <a:gd name="connsiteY0" fmla="*/ 0 h 853829"/>
              <a:gd name="connsiteX1" fmla="*/ 4444188 w 4444188"/>
              <a:gd name="connsiteY1" fmla="*/ 5581 h 853829"/>
              <a:gd name="connsiteX2" fmla="*/ 1358023 w 4444188"/>
              <a:gd name="connsiteY2" fmla="*/ 853829 h 853829"/>
              <a:gd name="connsiteX3" fmla="*/ 0 w 4444188"/>
              <a:gd name="connsiteY3" fmla="*/ 847633 h 853829"/>
              <a:gd name="connsiteX4" fmla="*/ 0 w 4444188"/>
              <a:gd name="connsiteY4" fmla="*/ 0 h 853829"/>
              <a:gd name="connsiteX0" fmla="*/ 0 w 4444188"/>
              <a:gd name="connsiteY0" fmla="*/ 0 h 857188"/>
              <a:gd name="connsiteX1" fmla="*/ 4444188 w 4444188"/>
              <a:gd name="connsiteY1" fmla="*/ 5581 h 857188"/>
              <a:gd name="connsiteX2" fmla="*/ 1903430 w 4444188"/>
              <a:gd name="connsiteY2" fmla="*/ 857188 h 857188"/>
              <a:gd name="connsiteX3" fmla="*/ 0 w 4444188"/>
              <a:gd name="connsiteY3" fmla="*/ 847633 h 857188"/>
              <a:gd name="connsiteX4" fmla="*/ 0 w 4444188"/>
              <a:gd name="connsiteY4" fmla="*/ 0 h 857188"/>
              <a:gd name="connsiteX0" fmla="*/ 0 w 4444188"/>
              <a:gd name="connsiteY0" fmla="*/ 0 h 847633"/>
              <a:gd name="connsiteX1" fmla="*/ 4444188 w 4444188"/>
              <a:gd name="connsiteY1" fmla="*/ 5581 h 847633"/>
              <a:gd name="connsiteX2" fmla="*/ 1799544 w 4444188"/>
              <a:gd name="connsiteY2" fmla="*/ 789994 h 847633"/>
              <a:gd name="connsiteX3" fmla="*/ 0 w 4444188"/>
              <a:gd name="connsiteY3" fmla="*/ 847633 h 847633"/>
              <a:gd name="connsiteX4" fmla="*/ 0 w 4444188"/>
              <a:gd name="connsiteY4" fmla="*/ 0 h 847633"/>
              <a:gd name="connsiteX0" fmla="*/ 0 w 4444188"/>
              <a:gd name="connsiteY0" fmla="*/ 0 h 850469"/>
              <a:gd name="connsiteX1" fmla="*/ 4444188 w 4444188"/>
              <a:gd name="connsiteY1" fmla="*/ 5581 h 850469"/>
              <a:gd name="connsiteX2" fmla="*/ 1919664 w 4444188"/>
              <a:gd name="connsiteY2" fmla="*/ 850469 h 850469"/>
              <a:gd name="connsiteX3" fmla="*/ 0 w 4444188"/>
              <a:gd name="connsiteY3" fmla="*/ 847633 h 850469"/>
              <a:gd name="connsiteX4" fmla="*/ 0 w 4444188"/>
              <a:gd name="connsiteY4" fmla="*/ 0 h 850469"/>
              <a:gd name="connsiteX0" fmla="*/ 0 w 5465030"/>
              <a:gd name="connsiteY0" fmla="*/ 0 h 850469"/>
              <a:gd name="connsiteX1" fmla="*/ 5465030 w 5465030"/>
              <a:gd name="connsiteY1" fmla="*/ 18540 h 850469"/>
              <a:gd name="connsiteX2" fmla="*/ 1919664 w 5465030"/>
              <a:gd name="connsiteY2" fmla="*/ 850469 h 850469"/>
              <a:gd name="connsiteX3" fmla="*/ 0 w 5465030"/>
              <a:gd name="connsiteY3" fmla="*/ 847633 h 850469"/>
              <a:gd name="connsiteX4" fmla="*/ 0 w 5465030"/>
              <a:gd name="connsiteY4" fmla="*/ 0 h 850469"/>
              <a:gd name="connsiteX0" fmla="*/ 0 w 5465030"/>
              <a:gd name="connsiteY0" fmla="*/ 0 h 854788"/>
              <a:gd name="connsiteX1" fmla="*/ 5465030 w 5465030"/>
              <a:gd name="connsiteY1" fmla="*/ 18540 h 854788"/>
              <a:gd name="connsiteX2" fmla="*/ 1637837 w 5465030"/>
              <a:gd name="connsiteY2" fmla="*/ 854788 h 854788"/>
              <a:gd name="connsiteX3" fmla="*/ 0 w 5465030"/>
              <a:gd name="connsiteY3" fmla="*/ 847633 h 854788"/>
              <a:gd name="connsiteX4" fmla="*/ 0 w 5465030"/>
              <a:gd name="connsiteY4" fmla="*/ 0 h 854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65030" h="854788">
                <a:moveTo>
                  <a:pt x="0" y="0"/>
                </a:moveTo>
                <a:lnTo>
                  <a:pt x="5465030" y="18540"/>
                </a:lnTo>
                <a:lnTo>
                  <a:pt x="1637837" y="854788"/>
                </a:lnTo>
                <a:lnTo>
                  <a:pt x="0" y="847633"/>
                </a:lnTo>
                <a:lnTo>
                  <a:pt x="0" y="0"/>
                </a:lnTo>
                <a:close/>
              </a:path>
            </a:pathLst>
          </a:custGeom>
        </p:spPr>
        <p:txBody>
          <a:bodyPr rIns="1005840">
            <a:normAutofit/>
          </a:bodyPr>
          <a:lstStyle>
            <a:lvl1pPr marL="0" indent="0" algn="l">
              <a:buNone/>
              <a:defRPr sz="1999">
                <a:solidFill>
                  <a:srgbClr val="FFFFFF"/>
                </a:solidFill>
              </a:defRPr>
            </a:lvl1pPr>
            <a:lvl2pPr marL="4570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12"/>
          </p:nvPr>
        </p:nvSpPr>
        <p:spPr>
          <a:xfrm>
            <a:off x="265247" y="2165669"/>
            <a:ext cx="2209310" cy="365125"/>
          </a:xfrm>
          <a:custGeom>
            <a:avLst/>
            <a:gdLst>
              <a:gd name="connsiteX0" fmla="*/ 0 w 2161741"/>
              <a:gd name="connsiteY0" fmla="*/ 0 h 365125"/>
              <a:gd name="connsiteX1" fmla="*/ 2161741 w 2161741"/>
              <a:gd name="connsiteY1" fmla="*/ 0 h 365125"/>
              <a:gd name="connsiteX2" fmla="*/ 2161741 w 2161741"/>
              <a:gd name="connsiteY2" fmla="*/ 365125 h 365125"/>
              <a:gd name="connsiteX3" fmla="*/ 0 w 2161741"/>
              <a:gd name="connsiteY3" fmla="*/ 365125 h 365125"/>
              <a:gd name="connsiteX4" fmla="*/ 0 w 2161741"/>
              <a:gd name="connsiteY4" fmla="*/ 0 h 365125"/>
              <a:gd name="connsiteX0" fmla="*/ 0 w 2161741"/>
              <a:gd name="connsiteY0" fmla="*/ 0 h 365125"/>
              <a:gd name="connsiteX1" fmla="*/ 1362570 w 2161741"/>
              <a:gd name="connsiteY1" fmla="*/ 6195 h 365125"/>
              <a:gd name="connsiteX2" fmla="*/ 2161741 w 2161741"/>
              <a:gd name="connsiteY2" fmla="*/ 365125 h 365125"/>
              <a:gd name="connsiteX3" fmla="*/ 0 w 2161741"/>
              <a:gd name="connsiteY3" fmla="*/ 365125 h 365125"/>
              <a:gd name="connsiteX4" fmla="*/ 0 w 2161741"/>
              <a:gd name="connsiteY4" fmla="*/ 0 h 365125"/>
              <a:gd name="connsiteX0" fmla="*/ 0 w 1362570"/>
              <a:gd name="connsiteY0" fmla="*/ 0 h 371320"/>
              <a:gd name="connsiteX1" fmla="*/ 1362570 w 1362570"/>
              <a:gd name="connsiteY1" fmla="*/ 6195 h 371320"/>
              <a:gd name="connsiteX2" fmla="*/ 321790 w 1362570"/>
              <a:gd name="connsiteY2" fmla="*/ 371320 h 371320"/>
              <a:gd name="connsiteX3" fmla="*/ 0 w 1362570"/>
              <a:gd name="connsiteY3" fmla="*/ 365125 h 371320"/>
              <a:gd name="connsiteX4" fmla="*/ 0 w 1362570"/>
              <a:gd name="connsiteY4" fmla="*/ 0 h 371320"/>
              <a:gd name="connsiteX0" fmla="*/ 0 w 1368765"/>
              <a:gd name="connsiteY0" fmla="*/ 0 h 371320"/>
              <a:gd name="connsiteX1" fmla="*/ 1368765 w 1368765"/>
              <a:gd name="connsiteY1" fmla="*/ 80536 h 371320"/>
              <a:gd name="connsiteX2" fmla="*/ 321790 w 1368765"/>
              <a:gd name="connsiteY2" fmla="*/ 371320 h 371320"/>
              <a:gd name="connsiteX3" fmla="*/ 0 w 1368765"/>
              <a:gd name="connsiteY3" fmla="*/ 365125 h 371320"/>
              <a:gd name="connsiteX4" fmla="*/ 0 w 1368765"/>
              <a:gd name="connsiteY4" fmla="*/ 0 h 371320"/>
              <a:gd name="connsiteX0" fmla="*/ 0 w 1381155"/>
              <a:gd name="connsiteY0" fmla="*/ 0 h 371320"/>
              <a:gd name="connsiteX1" fmla="*/ 1381155 w 1381155"/>
              <a:gd name="connsiteY1" fmla="*/ 6195 h 371320"/>
              <a:gd name="connsiteX2" fmla="*/ 321790 w 1381155"/>
              <a:gd name="connsiteY2" fmla="*/ 371320 h 371320"/>
              <a:gd name="connsiteX3" fmla="*/ 0 w 1381155"/>
              <a:gd name="connsiteY3" fmla="*/ 365125 h 371320"/>
              <a:gd name="connsiteX4" fmla="*/ 0 w 1381155"/>
              <a:gd name="connsiteY4" fmla="*/ 0 h 371320"/>
              <a:gd name="connsiteX0" fmla="*/ 0 w 1381155"/>
              <a:gd name="connsiteY0" fmla="*/ 0 h 365125"/>
              <a:gd name="connsiteX1" fmla="*/ 1381155 w 1381155"/>
              <a:gd name="connsiteY1" fmla="*/ 6195 h 365125"/>
              <a:gd name="connsiteX2" fmla="*/ 340375 w 1381155"/>
              <a:gd name="connsiteY2" fmla="*/ 346540 h 365125"/>
              <a:gd name="connsiteX3" fmla="*/ 0 w 1381155"/>
              <a:gd name="connsiteY3" fmla="*/ 365125 h 365125"/>
              <a:gd name="connsiteX4" fmla="*/ 0 w 1381155"/>
              <a:gd name="connsiteY4" fmla="*/ 0 h 365125"/>
              <a:gd name="connsiteX0" fmla="*/ 0 w 1381155"/>
              <a:gd name="connsiteY0" fmla="*/ 0 h 371320"/>
              <a:gd name="connsiteX1" fmla="*/ 1381155 w 1381155"/>
              <a:gd name="connsiteY1" fmla="*/ 6195 h 371320"/>
              <a:gd name="connsiteX2" fmla="*/ 340375 w 1381155"/>
              <a:gd name="connsiteY2" fmla="*/ 371320 h 371320"/>
              <a:gd name="connsiteX3" fmla="*/ 0 w 1381155"/>
              <a:gd name="connsiteY3" fmla="*/ 365125 h 371320"/>
              <a:gd name="connsiteX4" fmla="*/ 0 w 1381155"/>
              <a:gd name="connsiteY4" fmla="*/ 0 h 371320"/>
              <a:gd name="connsiteX0" fmla="*/ 0 w 1381155"/>
              <a:gd name="connsiteY0" fmla="*/ 0 h 365125"/>
              <a:gd name="connsiteX1" fmla="*/ 1381155 w 1381155"/>
              <a:gd name="connsiteY1" fmla="*/ 6195 h 365125"/>
              <a:gd name="connsiteX2" fmla="*/ 340375 w 1381155"/>
              <a:gd name="connsiteY2" fmla="*/ 352735 h 365125"/>
              <a:gd name="connsiteX3" fmla="*/ 0 w 1381155"/>
              <a:gd name="connsiteY3" fmla="*/ 365125 h 365125"/>
              <a:gd name="connsiteX4" fmla="*/ 0 w 1381155"/>
              <a:gd name="connsiteY4" fmla="*/ 0 h 365125"/>
              <a:gd name="connsiteX0" fmla="*/ 0 w 1381155"/>
              <a:gd name="connsiteY0" fmla="*/ 0 h 370827"/>
              <a:gd name="connsiteX1" fmla="*/ 1381155 w 1381155"/>
              <a:gd name="connsiteY1" fmla="*/ 6195 h 370827"/>
              <a:gd name="connsiteX2" fmla="*/ 336757 w 1381155"/>
              <a:gd name="connsiteY2" fmla="*/ 370827 h 370827"/>
              <a:gd name="connsiteX3" fmla="*/ 0 w 1381155"/>
              <a:gd name="connsiteY3" fmla="*/ 365125 h 370827"/>
              <a:gd name="connsiteX4" fmla="*/ 0 w 1381155"/>
              <a:gd name="connsiteY4" fmla="*/ 0 h 370827"/>
              <a:gd name="connsiteX0" fmla="*/ 0 w 1381155"/>
              <a:gd name="connsiteY0" fmla="*/ 0 h 365125"/>
              <a:gd name="connsiteX1" fmla="*/ 1381155 w 1381155"/>
              <a:gd name="connsiteY1" fmla="*/ 6195 h 365125"/>
              <a:gd name="connsiteX2" fmla="*/ 340463 w 1381155"/>
              <a:gd name="connsiteY2" fmla="*/ 356353 h 365125"/>
              <a:gd name="connsiteX3" fmla="*/ 0 w 1381155"/>
              <a:gd name="connsiteY3" fmla="*/ 365125 h 365125"/>
              <a:gd name="connsiteX4" fmla="*/ 0 w 1381155"/>
              <a:gd name="connsiteY4" fmla="*/ 0 h 365125"/>
              <a:gd name="connsiteX0" fmla="*/ 0 w 1381155"/>
              <a:gd name="connsiteY0" fmla="*/ 0 h 367207"/>
              <a:gd name="connsiteX1" fmla="*/ 1381155 w 1381155"/>
              <a:gd name="connsiteY1" fmla="*/ 6195 h 367207"/>
              <a:gd name="connsiteX2" fmla="*/ 340463 w 1381155"/>
              <a:gd name="connsiteY2" fmla="*/ 367207 h 367207"/>
              <a:gd name="connsiteX3" fmla="*/ 0 w 1381155"/>
              <a:gd name="connsiteY3" fmla="*/ 365125 h 367207"/>
              <a:gd name="connsiteX4" fmla="*/ 0 w 1381155"/>
              <a:gd name="connsiteY4" fmla="*/ 0 h 367207"/>
              <a:gd name="connsiteX0" fmla="*/ 0 w 1444360"/>
              <a:gd name="connsiteY0" fmla="*/ 6798 h 374005"/>
              <a:gd name="connsiteX1" fmla="*/ 1444360 w 1444360"/>
              <a:gd name="connsiteY1" fmla="*/ 0 h 374005"/>
              <a:gd name="connsiteX2" fmla="*/ 340463 w 1444360"/>
              <a:gd name="connsiteY2" fmla="*/ 374005 h 374005"/>
              <a:gd name="connsiteX3" fmla="*/ 0 w 1444360"/>
              <a:gd name="connsiteY3" fmla="*/ 371923 h 374005"/>
              <a:gd name="connsiteX4" fmla="*/ 0 w 1444360"/>
              <a:gd name="connsiteY4" fmla="*/ 6798 h 374005"/>
              <a:gd name="connsiteX0" fmla="*/ 0 w 1397788"/>
              <a:gd name="connsiteY0" fmla="*/ 0 h 367207"/>
              <a:gd name="connsiteX1" fmla="*/ 1397788 w 1397788"/>
              <a:gd name="connsiteY1" fmla="*/ 93894 h 367207"/>
              <a:gd name="connsiteX2" fmla="*/ 340463 w 1397788"/>
              <a:gd name="connsiteY2" fmla="*/ 367207 h 367207"/>
              <a:gd name="connsiteX3" fmla="*/ 0 w 1397788"/>
              <a:gd name="connsiteY3" fmla="*/ 365125 h 367207"/>
              <a:gd name="connsiteX4" fmla="*/ 0 w 1397788"/>
              <a:gd name="connsiteY4" fmla="*/ 0 h 367207"/>
              <a:gd name="connsiteX0" fmla="*/ 0 w 1451014"/>
              <a:gd name="connsiteY0" fmla="*/ 0 h 367207"/>
              <a:gd name="connsiteX1" fmla="*/ 1451014 w 1451014"/>
              <a:gd name="connsiteY1" fmla="*/ 2946 h 367207"/>
              <a:gd name="connsiteX2" fmla="*/ 340463 w 1451014"/>
              <a:gd name="connsiteY2" fmla="*/ 367207 h 367207"/>
              <a:gd name="connsiteX3" fmla="*/ 0 w 1451014"/>
              <a:gd name="connsiteY3" fmla="*/ 365125 h 367207"/>
              <a:gd name="connsiteX4" fmla="*/ 0 w 1451014"/>
              <a:gd name="connsiteY4" fmla="*/ 0 h 367207"/>
              <a:gd name="connsiteX0" fmla="*/ 0 w 1451014"/>
              <a:gd name="connsiteY0" fmla="*/ 0 h 370455"/>
              <a:gd name="connsiteX1" fmla="*/ 1451014 w 1451014"/>
              <a:gd name="connsiteY1" fmla="*/ 2946 h 370455"/>
              <a:gd name="connsiteX2" fmla="*/ 287237 w 1451014"/>
              <a:gd name="connsiteY2" fmla="*/ 370455 h 370455"/>
              <a:gd name="connsiteX3" fmla="*/ 0 w 1451014"/>
              <a:gd name="connsiteY3" fmla="*/ 365125 h 370455"/>
              <a:gd name="connsiteX4" fmla="*/ 0 w 1451014"/>
              <a:gd name="connsiteY4" fmla="*/ 0 h 370455"/>
              <a:gd name="connsiteX0" fmla="*/ 0 w 1846735"/>
              <a:gd name="connsiteY0" fmla="*/ 0 h 370455"/>
              <a:gd name="connsiteX1" fmla="*/ 1846735 w 1846735"/>
              <a:gd name="connsiteY1" fmla="*/ 117176 h 370455"/>
              <a:gd name="connsiteX2" fmla="*/ 287237 w 1846735"/>
              <a:gd name="connsiteY2" fmla="*/ 370455 h 370455"/>
              <a:gd name="connsiteX3" fmla="*/ 0 w 1846735"/>
              <a:gd name="connsiteY3" fmla="*/ 365125 h 370455"/>
              <a:gd name="connsiteX4" fmla="*/ 0 w 1846735"/>
              <a:gd name="connsiteY4" fmla="*/ 0 h 370455"/>
              <a:gd name="connsiteX0" fmla="*/ 0 w 2025670"/>
              <a:gd name="connsiteY0" fmla="*/ 413 h 370868"/>
              <a:gd name="connsiteX1" fmla="*/ 2025670 w 2025670"/>
              <a:gd name="connsiteY1" fmla="*/ 0 h 370868"/>
              <a:gd name="connsiteX2" fmla="*/ 287237 w 2025670"/>
              <a:gd name="connsiteY2" fmla="*/ 370868 h 370868"/>
              <a:gd name="connsiteX3" fmla="*/ 0 w 2025670"/>
              <a:gd name="connsiteY3" fmla="*/ 365538 h 370868"/>
              <a:gd name="connsiteX4" fmla="*/ 0 w 2025670"/>
              <a:gd name="connsiteY4" fmla="*/ 413 h 370868"/>
              <a:gd name="connsiteX0" fmla="*/ 0 w 2025670"/>
              <a:gd name="connsiteY0" fmla="*/ 413 h 374227"/>
              <a:gd name="connsiteX1" fmla="*/ 2025670 w 2025670"/>
              <a:gd name="connsiteY1" fmla="*/ 0 h 374227"/>
              <a:gd name="connsiteX2" fmla="*/ 844689 w 2025670"/>
              <a:gd name="connsiteY2" fmla="*/ 374227 h 374227"/>
              <a:gd name="connsiteX3" fmla="*/ 0 w 2025670"/>
              <a:gd name="connsiteY3" fmla="*/ 365538 h 374227"/>
              <a:gd name="connsiteX4" fmla="*/ 0 w 2025670"/>
              <a:gd name="connsiteY4" fmla="*/ 413 h 374227"/>
              <a:gd name="connsiteX0" fmla="*/ 0 w 1697078"/>
              <a:gd name="connsiteY0" fmla="*/ 0 h 373814"/>
              <a:gd name="connsiteX1" fmla="*/ 1697078 w 1697078"/>
              <a:gd name="connsiteY1" fmla="*/ 8226 h 373814"/>
              <a:gd name="connsiteX2" fmla="*/ 844689 w 1697078"/>
              <a:gd name="connsiteY2" fmla="*/ 373814 h 373814"/>
              <a:gd name="connsiteX3" fmla="*/ 0 w 1697078"/>
              <a:gd name="connsiteY3" fmla="*/ 365125 h 373814"/>
              <a:gd name="connsiteX4" fmla="*/ 0 w 1697078"/>
              <a:gd name="connsiteY4" fmla="*/ 0 h 373814"/>
              <a:gd name="connsiteX0" fmla="*/ 0 w 1697078"/>
              <a:gd name="connsiteY0" fmla="*/ 0 h 365125"/>
              <a:gd name="connsiteX1" fmla="*/ 1697078 w 1697078"/>
              <a:gd name="connsiteY1" fmla="*/ 8226 h 365125"/>
              <a:gd name="connsiteX2" fmla="*/ 864604 w 1697078"/>
              <a:gd name="connsiteY2" fmla="*/ 296060 h 365125"/>
              <a:gd name="connsiteX3" fmla="*/ 0 w 1697078"/>
              <a:gd name="connsiteY3" fmla="*/ 365125 h 365125"/>
              <a:gd name="connsiteX4" fmla="*/ 0 w 1697078"/>
              <a:gd name="connsiteY4" fmla="*/ 0 h 365125"/>
              <a:gd name="connsiteX0" fmla="*/ 0 w 1697078"/>
              <a:gd name="connsiteY0" fmla="*/ 0 h 412691"/>
              <a:gd name="connsiteX1" fmla="*/ 1697078 w 1697078"/>
              <a:gd name="connsiteY1" fmla="*/ 8226 h 412691"/>
              <a:gd name="connsiteX2" fmla="*/ 326909 w 1697078"/>
              <a:gd name="connsiteY2" fmla="*/ 412691 h 412691"/>
              <a:gd name="connsiteX3" fmla="*/ 0 w 1697078"/>
              <a:gd name="connsiteY3" fmla="*/ 365125 h 412691"/>
              <a:gd name="connsiteX4" fmla="*/ 0 w 1697078"/>
              <a:gd name="connsiteY4" fmla="*/ 0 h 412691"/>
              <a:gd name="connsiteX0" fmla="*/ 0 w 1697078"/>
              <a:gd name="connsiteY0" fmla="*/ 0 h 365125"/>
              <a:gd name="connsiteX1" fmla="*/ 1697078 w 1697078"/>
              <a:gd name="connsiteY1" fmla="*/ 8226 h 365125"/>
              <a:gd name="connsiteX2" fmla="*/ 0 w 1697078"/>
              <a:gd name="connsiteY2" fmla="*/ 365125 h 365125"/>
              <a:gd name="connsiteX3" fmla="*/ 0 w 1697078"/>
              <a:gd name="connsiteY3" fmla="*/ 0 h 365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97078" h="365125">
                <a:moveTo>
                  <a:pt x="0" y="0"/>
                </a:moveTo>
                <a:lnTo>
                  <a:pt x="1697078" y="8226"/>
                </a:lnTo>
                <a:lnTo>
                  <a:pt x="0" y="365125"/>
                </a:lnTo>
                <a:lnTo>
                  <a:pt x="0" y="0"/>
                </a:lnTo>
                <a:close/>
              </a:path>
            </a:pathLst>
          </a:custGeom>
        </p:spPr>
        <p:txBody>
          <a:bodyPr lIns="0" tIns="0" rIns="0" bIns="0">
            <a:normAutofit/>
          </a:bodyPr>
          <a:lstStyle>
            <a:lvl1pPr>
              <a:defRPr sz="1000">
                <a:solidFill>
                  <a:srgbClr val="FFFFFF"/>
                </a:solidFill>
                <a:latin typeface="+mn-lt"/>
                <a:cs typeface="Arial"/>
              </a:defRPr>
            </a:lvl1pPr>
          </a:lstStyle>
          <a:p>
            <a:pPr defTabSz="457200"/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87687" y="6129360"/>
            <a:ext cx="647072" cy="501631"/>
          </a:xfrm>
          <a:prstGeom prst="rect">
            <a:avLst/>
          </a:prstGeom>
        </p:spPr>
      </p:pic>
      <p:sp>
        <p:nvSpPr>
          <p:cNvPr id="17" name="Isosceles Triangle 16"/>
          <p:cNvSpPr/>
          <p:nvPr userDrawn="1"/>
        </p:nvSpPr>
        <p:spPr>
          <a:xfrm rot="10313277">
            <a:off x="65413" y="6012272"/>
            <a:ext cx="12325668" cy="1801133"/>
          </a:xfrm>
          <a:prstGeom prst="triangle">
            <a:avLst>
              <a:gd name="adj" fmla="val 2117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sz="1799">
              <a:solidFill>
                <a:prstClr val="white"/>
              </a:solidFill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07735" y="6281760"/>
            <a:ext cx="647072" cy="5016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047808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3"/>
          <p:cNvSpPr/>
          <p:nvPr userDrawn="1"/>
        </p:nvSpPr>
        <p:spPr>
          <a:xfrm>
            <a:off x="-16709" y="-3490"/>
            <a:ext cx="11331121" cy="5912962"/>
          </a:xfrm>
          <a:custGeom>
            <a:avLst/>
            <a:gdLst>
              <a:gd name="connsiteX0" fmla="*/ 0 w 6709251"/>
              <a:gd name="connsiteY0" fmla="*/ 0 h 182880"/>
              <a:gd name="connsiteX1" fmla="*/ 6709251 w 6709251"/>
              <a:gd name="connsiteY1" fmla="*/ 0 h 182880"/>
              <a:gd name="connsiteX2" fmla="*/ 6709251 w 6709251"/>
              <a:gd name="connsiteY2" fmla="*/ 182880 h 182880"/>
              <a:gd name="connsiteX3" fmla="*/ 0 w 6709251"/>
              <a:gd name="connsiteY3" fmla="*/ 182880 h 182880"/>
              <a:gd name="connsiteX4" fmla="*/ 0 w 6709251"/>
              <a:gd name="connsiteY4" fmla="*/ 0 h 182880"/>
              <a:gd name="connsiteX0" fmla="*/ 0 w 7073510"/>
              <a:gd name="connsiteY0" fmla="*/ 0 h 182880"/>
              <a:gd name="connsiteX1" fmla="*/ 7073510 w 7073510"/>
              <a:gd name="connsiteY1" fmla="*/ 0 h 182880"/>
              <a:gd name="connsiteX2" fmla="*/ 6709251 w 7073510"/>
              <a:gd name="connsiteY2" fmla="*/ 182880 h 182880"/>
              <a:gd name="connsiteX3" fmla="*/ 0 w 7073510"/>
              <a:gd name="connsiteY3" fmla="*/ 182880 h 182880"/>
              <a:gd name="connsiteX4" fmla="*/ 0 w 7073510"/>
              <a:gd name="connsiteY4" fmla="*/ 0 h 182880"/>
              <a:gd name="connsiteX0" fmla="*/ 0 w 8658720"/>
              <a:gd name="connsiteY0" fmla="*/ 0 h 182880"/>
              <a:gd name="connsiteX1" fmla="*/ 8658720 w 8658720"/>
              <a:gd name="connsiteY1" fmla="*/ 452 h 182880"/>
              <a:gd name="connsiteX2" fmla="*/ 6709251 w 8658720"/>
              <a:gd name="connsiteY2" fmla="*/ 182880 h 182880"/>
              <a:gd name="connsiteX3" fmla="*/ 0 w 8658720"/>
              <a:gd name="connsiteY3" fmla="*/ 182880 h 182880"/>
              <a:gd name="connsiteX4" fmla="*/ 0 w 8658720"/>
              <a:gd name="connsiteY4" fmla="*/ 0 h 182880"/>
              <a:gd name="connsiteX0" fmla="*/ 0 w 8632078"/>
              <a:gd name="connsiteY0" fmla="*/ 0 h 182880"/>
              <a:gd name="connsiteX1" fmla="*/ 8632078 w 8632078"/>
              <a:gd name="connsiteY1" fmla="*/ 58 h 182880"/>
              <a:gd name="connsiteX2" fmla="*/ 6709251 w 8632078"/>
              <a:gd name="connsiteY2" fmla="*/ 182880 h 182880"/>
              <a:gd name="connsiteX3" fmla="*/ 0 w 8632078"/>
              <a:gd name="connsiteY3" fmla="*/ 182880 h 182880"/>
              <a:gd name="connsiteX4" fmla="*/ 0 w 8632078"/>
              <a:gd name="connsiteY4" fmla="*/ 0 h 182880"/>
              <a:gd name="connsiteX0" fmla="*/ 0 w 8632078"/>
              <a:gd name="connsiteY0" fmla="*/ 0 h 182880"/>
              <a:gd name="connsiteX1" fmla="*/ 8632078 w 8632078"/>
              <a:gd name="connsiteY1" fmla="*/ 58 h 182880"/>
              <a:gd name="connsiteX2" fmla="*/ 5989912 w 8632078"/>
              <a:gd name="connsiteY2" fmla="*/ 182880 h 182880"/>
              <a:gd name="connsiteX3" fmla="*/ 0 w 8632078"/>
              <a:gd name="connsiteY3" fmla="*/ 182880 h 182880"/>
              <a:gd name="connsiteX4" fmla="*/ 0 w 8632078"/>
              <a:gd name="connsiteY4" fmla="*/ 0 h 182880"/>
              <a:gd name="connsiteX0" fmla="*/ 0 w 8632078"/>
              <a:gd name="connsiteY0" fmla="*/ 0 h 183536"/>
              <a:gd name="connsiteX1" fmla="*/ 8632078 w 8632078"/>
              <a:gd name="connsiteY1" fmla="*/ 58 h 183536"/>
              <a:gd name="connsiteX2" fmla="*/ 6554022 w 8632078"/>
              <a:gd name="connsiteY2" fmla="*/ 183536 h 183536"/>
              <a:gd name="connsiteX3" fmla="*/ 0 w 8632078"/>
              <a:gd name="connsiteY3" fmla="*/ 182880 h 183536"/>
              <a:gd name="connsiteX4" fmla="*/ 0 w 8632078"/>
              <a:gd name="connsiteY4" fmla="*/ 0 h 183536"/>
              <a:gd name="connsiteX0" fmla="*/ 0 w 9997958"/>
              <a:gd name="connsiteY0" fmla="*/ 0 h 183536"/>
              <a:gd name="connsiteX1" fmla="*/ 8632078 w 9997958"/>
              <a:gd name="connsiteY1" fmla="*/ 58 h 183536"/>
              <a:gd name="connsiteX2" fmla="*/ 9997946 w 9997958"/>
              <a:gd name="connsiteY2" fmla="*/ 365 h 183536"/>
              <a:gd name="connsiteX3" fmla="*/ 6554022 w 9997958"/>
              <a:gd name="connsiteY3" fmla="*/ 183536 h 183536"/>
              <a:gd name="connsiteX4" fmla="*/ 0 w 9997958"/>
              <a:gd name="connsiteY4" fmla="*/ 182880 h 183536"/>
              <a:gd name="connsiteX5" fmla="*/ 0 w 9997958"/>
              <a:gd name="connsiteY5" fmla="*/ 0 h 183536"/>
              <a:gd name="connsiteX0" fmla="*/ 0 w 9997957"/>
              <a:gd name="connsiteY0" fmla="*/ 0 h 183536"/>
              <a:gd name="connsiteX1" fmla="*/ 8524057 w 9997957"/>
              <a:gd name="connsiteY1" fmla="*/ 20709 h 183536"/>
              <a:gd name="connsiteX2" fmla="*/ 9997946 w 9997957"/>
              <a:gd name="connsiteY2" fmla="*/ 365 h 183536"/>
              <a:gd name="connsiteX3" fmla="*/ 6554022 w 9997957"/>
              <a:gd name="connsiteY3" fmla="*/ 183536 h 183536"/>
              <a:gd name="connsiteX4" fmla="*/ 0 w 9997957"/>
              <a:gd name="connsiteY4" fmla="*/ 182880 h 183536"/>
              <a:gd name="connsiteX5" fmla="*/ 0 w 9997957"/>
              <a:gd name="connsiteY5" fmla="*/ 0 h 183536"/>
              <a:gd name="connsiteX0" fmla="*/ 0 w 9997946"/>
              <a:gd name="connsiteY0" fmla="*/ 0 h 183536"/>
              <a:gd name="connsiteX1" fmla="*/ 9997946 w 9997946"/>
              <a:gd name="connsiteY1" fmla="*/ 365 h 183536"/>
              <a:gd name="connsiteX2" fmla="*/ 6554022 w 9997946"/>
              <a:gd name="connsiteY2" fmla="*/ 183536 h 183536"/>
              <a:gd name="connsiteX3" fmla="*/ 0 w 9997946"/>
              <a:gd name="connsiteY3" fmla="*/ 182880 h 183536"/>
              <a:gd name="connsiteX4" fmla="*/ 0 w 9997946"/>
              <a:gd name="connsiteY4" fmla="*/ 0 h 183536"/>
              <a:gd name="connsiteX0" fmla="*/ 0 w 9997946"/>
              <a:gd name="connsiteY0" fmla="*/ 0 h 183536"/>
              <a:gd name="connsiteX1" fmla="*/ 9997946 w 9997946"/>
              <a:gd name="connsiteY1" fmla="*/ 365 h 183536"/>
              <a:gd name="connsiteX2" fmla="*/ 6554022 w 9997946"/>
              <a:gd name="connsiteY2" fmla="*/ 183536 h 183536"/>
              <a:gd name="connsiteX3" fmla="*/ 0 w 9997946"/>
              <a:gd name="connsiteY3" fmla="*/ 182880 h 183536"/>
              <a:gd name="connsiteX4" fmla="*/ 0 w 9997946"/>
              <a:gd name="connsiteY4" fmla="*/ 0 h 183536"/>
              <a:gd name="connsiteX0" fmla="*/ 0 w 9997946"/>
              <a:gd name="connsiteY0" fmla="*/ 0 h 183536"/>
              <a:gd name="connsiteX1" fmla="*/ 9997946 w 9997946"/>
              <a:gd name="connsiteY1" fmla="*/ 365 h 183536"/>
              <a:gd name="connsiteX2" fmla="*/ 6554022 w 9997946"/>
              <a:gd name="connsiteY2" fmla="*/ 183536 h 183536"/>
              <a:gd name="connsiteX3" fmla="*/ 0 w 9997946"/>
              <a:gd name="connsiteY3" fmla="*/ 182880 h 183536"/>
              <a:gd name="connsiteX4" fmla="*/ 0 w 9997946"/>
              <a:gd name="connsiteY4" fmla="*/ 0 h 183536"/>
              <a:gd name="connsiteX0" fmla="*/ 0 w 9997946"/>
              <a:gd name="connsiteY0" fmla="*/ 0 h 182880"/>
              <a:gd name="connsiteX1" fmla="*/ 9997946 w 9997946"/>
              <a:gd name="connsiteY1" fmla="*/ 365 h 182880"/>
              <a:gd name="connsiteX2" fmla="*/ 6573249 w 9997946"/>
              <a:gd name="connsiteY2" fmla="*/ 182258 h 182880"/>
              <a:gd name="connsiteX3" fmla="*/ 0 w 9997946"/>
              <a:gd name="connsiteY3" fmla="*/ 182880 h 182880"/>
              <a:gd name="connsiteX4" fmla="*/ 0 w 9997946"/>
              <a:gd name="connsiteY4" fmla="*/ 0 h 182880"/>
              <a:gd name="connsiteX0" fmla="*/ 0 w 9997946"/>
              <a:gd name="connsiteY0" fmla="*/ 0 h 182880"/>
              <a:gd name="connsiteX1" fmla="*/ 9997946 w 9997946"/>
              <a:gd name="connsiteY1" fmla="*/ 365 h 182880"/>
              <a:gd name="connsiteX2" fmla="*/ 6565558 w 9997946"/>
              <a:gd name="connsiteY2" fmla="*/ 182848 h 182880"/>
              <a:gd name="connsiteX3" fmla="*/ 0 w 9997946"/>
              <a:gd name="connsiteY3" fmla="*/ 182880 h 182880"/>
              <a:gd name="connsiteX4" fmla="*/ 0 w 9997946"/>
              <a:gd name="connsiteY4" fmla="*/ 0 h 182880"/>
              <a:gd name="connsiteX0" fmla="*/ 0 w 9963338"/>
              <a:gd name="connsiteY0" fmla="*/ 0 h 182880"/>
              <a:gd name="connsiteX1" fmla="*/ 9963338 w 9963338"/>
              <a:gd name="connsiteY1" fmla="*/ 2037 h 182880"/>
              <a:gd name="connsiteX2" fmla="*/ 6565558 w 9963338"/>
              <a:gd name="connsiteY2" fmla="*/ 182848 h 182880"/>
              <a:gd name="connsiteX3" fmla="*/ 0 w 9963338"/>
              <a:gd name="connsiteY3" fmla="*/ 182880 h 182880"/>
              <a:gd name="connsiteX4" fmla="*/ 0 w 9963338"/>
              <a:gd name="connsiteY4" fmla="*/ 0 h 182880"/>
              <a:gd name="connsiteX0" fmla="*/ 0 w 9974874"/>
              <a:gd name="connsiteY0" fmla="*/ 0 h 182880"/>
              <a:gd name="connsiteX1" fmla="*/ 9974874 w 9974874"/>
              <a:gd name="connsiteY1" fmla="*/ 365 h 182880"/>
              <a:gd name="connsiteX2" fmla="*/ 6565558 w 9974874"/>
              <a:gd name="connsiteY2" fmla="*/ 182848 h 182880"/>
              <a:gd name="connsiteX3" fmla="*/ 0 w 9974874"/>
              <a:gd name="connsiteY3" fmla="*/ 182880 h 182880"/>
              <a:gd name="connsiteX4" fmla="*/ 0 w 9974874"/>
              <a:gd name="connsiteY4" fmla="*/ 0 h 182880"/>
              <a:gd name="connsiteX0" fmla="*/ 0 w 9974874"/>
              <a:gd name="connsiteY0" fmla="*/ 0 h 182880"/>
              <a:gd name="connsiteX1" fmla="*/ 9974874 w 9974874"/>
              <a:gd name="connsiteY1" fmla="*/ 365 h 182880"/>
              <a:gd name="connsiteX2" fmla="*/ 6334837 w 9974874"/>
              <a:gd name="connsiteY2" fmla="*/ 182848 h 182880"/>
              <a:gd name="connsiteX3" fmla="*/ 0 w 9974874"/>
              <a:gd name="connsiteY3" fmla="*/ 182880 h 182880"/>
              <a:gd name="connsiteX4" fmla="*/ 0 w 9974874"/>
              <a:gd name="connsiteY4" fmla="*/ 0 h 182880"/>
              <a:gd name="connsiteX0" fmla="*/ 0 w 9984894"/>
              <a:gd name="connsiteY0" fmla="*/ 0 h 182880"/>
              <a:gd name="connsiteX1" fmla="*/ 9984894 w 9984894"/>
              <a:gd name="connsiteY1" fmla="*/ 493 h 182880"/>
              <a:gd name="connsiteX2" fmla="*/ 6334837 w 9984894"/>
              <a:gd name="connsiteY2" fmla="*/ 182848 h 182880"/>
              <a:gd name="connsiteX3" fmla="*/ 0 w 9984894"/>
              <a:gd name="connsiteY3" fmla="*/ 182880 h 182880"/>
              <a:gd name="connsiteX4" fmla="*/ 0 w 9984894"/>
              <a:gd name="connsiteY4" fmla="*/ 0 h 182880"/>
              <a:gd name="connsiteX0" fmla="*/ 0 w 10004935"/>
              <a:gd name="connsiteY0" fmla="*/ 276 h 183156"/>
              <a:gd name="connsiteX1" fmla="*/ 10004935 w 10004935"/>
              <a:gd name="connsiteY1" fmla="*/ 0 h 183156"/>
              <a:gd name="connsiteX2" fmla="*/ 6334837 w 10004935"/>
              <a:gd name="connsiteY2" fmla="*/ 183124 h 183156"/>
              <a:gd name="connsiteX3" fmla="*/ 0 w 10004935"/>
              <a:gd name="connsiteY3" fmla="*/ 183156 h 183156"/>
              <a:gd name="connsiteX4" fmla="*/ 0 w 10004935"/>
              <a:gd name="connsiteY4" fmla="*/ 276 h 183156"/>
              <a:gd name="connsiteX0" fmla="*/ 0 w 10009945"/>
              <a:gd name="connsiteY0" fmla="*/ 0 h 182880"/>
              <a:gd name="connsiteX1" fmla="*/ 10009945 w 10009945"/>
              <a:gd name="connsiteY1" fmla="*/ 5618 h 182880"/>
              <a:gd name="connsiteX2" fmla="*/ 6334837 w 10009945"/>
              <a:gd name="connsiteY2" fmla="*/ 182848 h 182880"/>
              <a:gd name="connsiteX3" fmla="*/ 0 w 10009945"/>
              <a:gd name="connsiteY3" fmla="*/ 182880 h 182880"/>
              <a:gd name="connsiteX4" fmla="*/ 0 w 10009945"/>
              <a:gd name="connsiteY4" fmla="*/ 0 h 182880"/>
              <a:gd name="connsiteX0" fmla="*/ 0 w 10029986"/>
              <a:gd name="connsiteY0" fmla="*/ 20 h 182900"/>
              <a:gd name="connsiteX1" fmla="*/ 10029986 w 10029986"/>
              <a:gd name="connsiteY1" fmla="*/ 0 h 182900"/>
              <a:gd name="connsiteX2" fmla="*/ 6334837 w 10029986"/>
              <a:gd name="connsiteY2" fmla="*/ 182868 h 182900"/>
              <a:gd name="connsiteX3" fmla="*/ 0 w 10029986"/>
              <a:gd name="connsiteY3" fmla="*/ 182900 h 182900"/>
              <a:gd name="connsiteX4" fmla="*/ 0 w 10029986"/>
              <a:gd name="connsiteY4" fmla="*/ 20 h 182900"/>
              <a:gd name="connsiteX0" fmla="*/ 0 w 10029986"/>
              <a:gd name="connsiteY0" fmla="*/ 20 h 182966"/>
              <a:gd name="connsiteX1" fmla="*/ 10029986 w 10029986"/>
              <a:gd name="connsiteY1" fmla="*/ 0 h 182966"/>
              <a:gd name="connsiteX2" fmla="*/ 6454043 w 10029986"/>
              <a:gd name="connsiteY2" fmla="*/ 182966 h 182966"/>
              <a:gd name="connsiteX3" fmla="*/ 0 w 10029986"/>
              <a:gd name="connsiteY3" fmla="*/ 182900 h 182966"/>
              <a:gd name="connsiteX4" fmla="*/ 0 w 10029986"/>
              <a:gd name="connsiteY4" fmla="*/ 20 h 182966"/>
              <a:gd name="connsiteX0" fmla="*/ 0 w 9532583"/>
              <a:gd name="connsiteY0" fmla="*/ 359 h 183305"/>
              <a:gd name="connsiteX1" fmla="*/ 9532583 w 9532583"/>
              <a:gd name="connsiteY1" fmla="*/ 0 h 183305"/>
              <a:gd name="connsiteX2" fmla="*/ 6454043 w 9532583"/>
              <a:gd name="connsiteY2" fmla="*/ 183305 h 183305"/>
              <a:gd name="connsiteX3" fmla="*/ 0 w 9532583"/>
              <a:gd name="connsiteY3" fmla="*/ 183239 h 183305"/>
              <a:gd name="connsiteX4" fmla="*/ 0 w 9532583"/>
              <a:gd name="connsiteY4" fmla="*/ 359 h 183305"/>
              <a:gd name="connsiteX0" fmla="*/ 0 w 9532583"/>
              <a:gd name="connsiteY0" fmla="*/ 359 h 183239"/>
              <a:gd name="connsiteX1" fmla="*/ 9532583 w 9532583"/>
              <a:gd name="connsiteY1" fmla="*/ 0 h 183239"/>
              <a:gd name="connsiteX2" fmla="*/ 6861912 w 9532583"/>
              <a:gd name="connsiteY2" fmla="*/ 182966 h 183239"/>
              <a:gd name="connsiteX3" fmla="*/ 0 w 9532583"/>
              <a:gd name="connsiteY3" fmla="*/ 183239 h 183239"/>
              <a:gd name="connsiteX4" fmla="*/ 0 w 9532583"/>
              <a:gd name="connsiteY4" fmla="*/ 359 h 183239"/>
              <a:gd name="connsiteX0" fmla="*/ 0 w 9532583"/>
              <a:gd name="connsiteY0" fmla="*/ 359 h 183239"/>
              <a:gd name="connsiteX1" fmla="*/ 9532583 w 9532583"/>
              <a:gd name="connsiteY1" fmla="*/ 0 h 183239"/>
              <a:gd name="connsiteX2" fmla="*/ 7090717 w 9532583"/>
              <a:gd name="connsiteY2" fmla="*/ 174149 h 183239"/>
              <a:gd name="connsiteX3" fmla="*/ 0 w 9532583"/>
              <a:gd name="connsiteY3" fmla="*/ 183239 h 183239"/>
              <a:gd name="connsiteX4" fmla="*/ 0 w 9532583"/>
              <a:gd name="connsiteY4" fmla="*/ 359 h 183239"/>
              <a:gd name="connsiteX0" fmla="*/ 0 w 9532583"/>
              <a:gd name="connsiteY0" fmla="*/ 359 h 183305"/>
              <a:gd name="connsiteX1" fmla="*/ 9532583 w 9532583"/>
              <a:gd name="connsiteY1" fmla="*/ 0 h 183305"/>
              <a:gd name="connsiteX2" fmla="*/ 6842017 w 9532583"/>
              <a:gd name="connsiteY2" fmla="*/ 183305 h 183305"/>
              <a:gd name="connsiteX3" fmla="*/ 0 w 9532583"/>
              <a:gd name="connsiteY3" fmla="*/ 183239 h 183305"/>
              <a:gd name="connsiteX4" fmla="*/ 0 w 9532583"/>
              <a:gd name="connsiteY4" fmla="*/ 359 h 183305"/>
              <a:gd name="connsiteX0" fmla="*/ 0 w 9532583"/>
              <a:gd name="connsiteY0" fmla="*/ 359 h 183239"/>
              <a:gd name="connsiteX1" fmla="*/ 9532583 w 9532583"/>
              <a:gd name="connsiteY1" fmla="*/ 0 h 183239"/>
              <a:gd name="connsiteX2" fmla="*/ 6886781 w 9532583"/>
              <a:gd name="connsiteY2" fmla="*/ 180083 h 183239"/>
              <a:gd name="connsiteX3" fmla="*/ 0 w 9532583"/>
              <a:gd name="connsiteY3" fmla="*/ 183239 h 183239"/>
              <a:gd name="connsiteX4" fmla="*/ 0 w 9532583"/>
              <a:gd name="connsiteY4" fmla="*/ 359 h 183239"/>
              <a:gd name="connsiteX0" fmla="*/ 0 w 9532583"/>
              <a:gd name="connsiteY0" fmla="*/ 359 h 183305"/>
              <a:gd name="connsiteX1" fmla="*/ 9532583 w 9532583"/>
              <a:gd name="connsiteY1" fmla="*/ 0 h 183305"/>
              <a:gd name="connsiteX2" fmla="*/ 6837043 w 9532583"/>
              <a:gd name="connsiteY2" fmla="*/ 183305 h 183305"/>
              <a:gd name="connsiteX3" fmla="*/ 0 w 9532583"/>
              <a:gd name="connsiteY3" fmla="*/ 183239 h 183305"/>
              <a:gd name="connsiteX4" fmla="*/ 0 w 9532583"/>
              <a:gd name="connsiteY4" fmla="*/ 359 h 183305"/>
              <a:gd name="connsiteX0" fmla="*/ 0 w 9509505"/>
              <a:gd name="connsiteY0" fmla="*/ 0 h 182946"/>
              <a:gd name="connsiteX1" fmla="*/ 9509505 w 9509505"/>
              <a:gd name="connsiteY1" fmla="*/ 34 h 182946"/>
              <a:gd name="connsiteX2" fmla="*/ 6837043 w 9509505"/>
              <a:gd name="connsiteY2" fmla="*/ 182946 h 182946"/>
              <a:gd name="connsiteX3" fmla="*/ 0 w 9509505"/>
              <a:gd name="connsiteY3" fmla="*/ 182880 h 182946"/>
              <a:gd name="connsiteX4" fmla="*/ 0 w 9509505"/>
              <a:gd name="connsiteY4" fmla="*/ 0 h 182946"/>
              <a:gd name="connsiteX0" fmla="*/ 0 w 10261036"/>
              <a:gd name="connsiteY0" fmla="*/ 225 h 182912"/>
              <a:gd name="connsiteX1" fmla="*/ 10261036 w 10261036"/>
              <a:gd name="connsiteY1" fmla="*/ 0 h 182912"/>
              <a:gd name="connsiteX2" fmla="*/ 7588574 w 10261036"/>
              <a:gd name="connsiteY2" fmla="*/ 182912 h 182912"/>
              <a:gd name="connsiteX3" fmla="*/ 751531 w 10261036"/>
              <a:gd name="connsiteY3" fmla="*/ 182846 h 182912"/>
              <a:gd name="connsiteX4" fmla="*/ 0 w 10261036"/>
              <a:gd name="connsiteY4" fmla="*/ 225 h 182912"/>
              <a:gd name="connsiteX0" fmla="*/ 0 w 10261036"/>
              <a:gd name="connsiteY0" fmla="*/ 225 h 182912"/>
              <a:gd name="connsiteX1" fmla="*/ 10261036 w 10261036"/>
              <a:gd name="connsiteY1" fmla="*/ 0 h 182912"/>
              <a:gd name="connsiteX2" fmla="*/ 7588574 w 10261036"/>
              <a:gd name="connsiteY2" fmla="*/ 182912 h 182912"/>
              <a:gd name="connsiteX3" fmla="*/ 91094 w 10261036"/>
              <a:gd name="connsiteY3" fmla="*/ 177411 h 182912"/>
              <a:gd name="connsiteX4" fmla="*/ 0 w 10261036"/>
              <a:gd name="connsiteY4" fmla="*/ 225 h 182912"/>
              <a:gd name="connsiteX0" fmla="*/ 7591 w 10268627"/>
              <a:gd name="connsiteY0" fmla="*/ 225 h 183105"/>
              <a:gd name="connsiteX1" fmla="*/ 10268627 w 10268627"/>
              <a:gd name="connsiteY1" fmla="*/ 0 h 183105"/>
              <a:gd name="connsiteX2" fmla="*/ 7596165 w 10268627"/>
              <a:gd name="connsiteY2" fmla="*/ 182912 h 183105"/>
              <a:gd name="connsiteX3" fmla="*/ 0 w 10268627"/>
              <a:gd name="connsiteY3" fmla="*/ 183105 h 183105"/>
              <a:gd name="connsiteX4" fmla="*/ 7591 w 10268627"/>
              <a:gd name="connsiteY4" fmla="*/ 225 h 183105"/>
              <a:gd name="connsiteX0" fmla="*/ 630072 w 10268627"/>
              <a:gd name="connsiteY0" fmla="*/ 15494 h 183105"/>
              <a:gd name="connsiteX1" fmla="*/ 10268627 w 10268627"/>
              <a:gd name="connsiteY1" fmla="*/ 0 h 183105"/>
              <a:gd name="connsiteX2" fmla="*/ 7596165 w 10268627"/>
              <a:gd name="connsiteY2" fmla="*/ 182912 h 183105"/>
              <a:gd name="connsiteX3" fmla="*/ 0 w 10268627"/>
              <a:gd name="connsiteY3" fmla="*/ 183105 h 183105"/>
              <a:gd name="connsiteX4" fmla="*/ 630072 w 10268627"/>
              <a:gd name="connsiteY4" fmla="*/ 15494 h 183105"/>
              <a:gd name="connsiteX0" fmla="*/ 0 w 10268627"/>
              <a:gd name="connsiteY0" fmla="*/ 0 h 183139"/>
              <a:gd name="connsiteX1" fmla="*/ 10268627 w 10268627"/>
              <a:gd name="connsiteY1" fmla="*/ 34 h 183139"/>
              <a:gd name="connsiteX2" fmla="*/ 7596165 w 10268627"/>
              <a:gd name="connsiteY2" fmla="*/ 182946 h 183139"/>
              <a:gd name="connsiteX3" fmla="*/ 0 w 10268627"/>
              <a:gd name="connsiteY3" fmla="*/ 183139 h 183139"/>
              <a:gd name="connsiteX4" fmla="*/ 0 w 10268627"/>
              <a:gd name="connsiteY4" fmla="*/ 0 h 183139"/>
              <a:gd name="connsiteX0" fmla="*/ 0 w 10292666"/>
              <a:gd name="connsiteY0" fmla="*/ 0 h 183139"/>
              <a:gd name="connsiteX1" fmla="*/ 10292666 w 10292666"/>
              <a:gd name="connsiteY1" fmla="*/ 34 h 183139"/>
              <a:gd name="connsiteX2" fmla="*/ 7596165 w 10292666"/>
              <a:gd name="connsiteY2" fmla="*/ 182946 h 183139"/>
              <a:gd name="connsiteX3" fmla="*/ 0 w 10292666"/>
              <a:gd name="connsiteY3" fmla="*/ 183139 h 183139"/>
              <a:gd name="connsiteX4" fmla="*/ 0 w 10292666"/>
              <a:gd name="connsiteY4" fmla="*/ 0 h 183139"/>
              <a:gd name="connsiteX0" fmla="*/ 0 w 10292666"/>
              <a:gd name="connsiteY0" fmla="*/ 0 h 183139"/>
              <a:gd name="connsiteX1" fmla="*/ 10292666 w 10292666"/>
              <a:gd name="connsiteY1" fmla="*/ 34 h 183139"/>
              <a:gd name="connsiteX2" fmla="*/ 7590396 w 10292666"/>
              <a:gd name="connsiteY2" fmla="*/ 182848 h 183139"/>
              <a:gd name="connsiteX3" fmla="*/ 0 w 10292666"/>
              <a:gd name="connsiteY3" fmla="*/ 183139 h 183139"/>
              <a:gd name="connsiteX4" fmla="*/ 0 w 10292666"/>
              <a:gd name="connsiteY4" fmla="*/ 0 h 1831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2666" h="183139">
                <a:moveTo>
                  <a:pt x="0" y="0"/>
                </a:moveTo>
                <a:lnTo>
                  <a:pt x="10292666" y="34"/>
                </a:lnTo>
                <a:lnTo>
                  <a:pt x="7590396" y="182848"/>
                </a:lnTo>
                <a:lnTo>
                  <a:pt x="0" y="18313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sz="1799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666666"/>
                </a:solidFill>
              </a:rPr>
              <a:t>PPG Confidential</a:t>
            </a:r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9C4343-C115-504A-8D4F-0B17318D4A48}" type="slidenum">
              <a:rPr lang="en-US" smtClean="0">
                <a:solidFill>
                  <a:srgbClr val="666666"/>
                </a:solidFill>
              </a:rPr>
              <a:pPr/>
              <a:t>‹#›</a:t>
            </a:fld>
            <a:endParaRPr lang="en-US">
              <a:solidFill>
                <a:srgbClr val="666666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265244" y="1820863"/>
            <a:ext cx="9194694" cy="1096062"/>
          </a:xfrm>
        </p:spPr>
        <p:txBody>
          <a:bodyPr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265245" y="2923522"/>
            <a:ext cx="8746355" cy="847633"/>
          </a:xfrm>
        </p:spPr>
        <p:txBody>
          <a:bodyPr>
            <a:normAutofit/>
          </a:bodyPr>
          <a:lstStyle>
            <a:lvl1pPr marL="0" indent="0" algn="l">
              <a:buNone/>
              <a:defRPr sz="1999">
                <a:solidFill>
                  <a:srgbClr val="FFFFFF"/>
                </a:solidFill>
              </a:defRPr>
            </a:lvl1pPr>
            <a:lvl2pPr marL="4570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Rectangle 3"/>
          <p:cNvSpPr/>
          <p:nvPr userDrawn="1"/>
        </p:nvSpPr>
        <p:spPr>
          <a:xfrm flipH="1">
            <a:off x="8289051" y="-7526"/>
            <a:ext cx="3911308" cy="5909088"/>
          </a:xfrm>
          <a:custGeom>
            <a:avLst/>
            <a:gdLst>
              <a:gd name="connsiteX0" fmla="*/ 0 w 6709251"/>
              <a:gd name="connsiteY0" fmla="*/ 0 h 182880"/>
              <a:gd name="connsiteX1" fmla="*/ 6709251 w 6709251"/>
              <a:gd name="connsiteY1" fmla="*/ 0 h 182880"/>
              <a:gd name="connsiteX2" fmla="*/ 6709251 w 6709251"/>
              <a:gd name="connsiteY2" fmla="*/ 182880 h 182880"/>
              <a:gd name="connsiteX3" fmla="*/ 0 w 6709251"/>
              <a:gd name="connsiteY3" fmla="*/ 182880 h 182880"/>
              <a:gd name="connsiteX4" fmla="*/ 0 w 6709251"/>
              <a:gd name="connsiteY4" fmla="*/ 0 h 182880"/>
              <a:gd name="connsiteX0" fmla="*/ 0 w 7073510"/>
              <a:gd name="connsiteY0" fmla="*/ 0 h 182880"/>
              <a:gd name="connsiteX1" fmla="*/ 7073510 w 7073510"/>
              <a:gd name="connsiteY1" fmla="*/ 0 h 182880"/>
              <a:gd name="connsiteX2" fmla="*/ 6709251 w 7073510"/>
              <a:gd name="connsiteY2" fmla="*/ 182880 h 182880"/>
              <a:gd name="connsiteX3" fmla="*/ 0 w 7073510"/>
              <a:gd name="connsiteY3" fmla="*/ 182880 h 182880"/>
              <a:gd name="connsiteX4" fmla="*/ 0 w 7073510"/>
              <a:gd name="connsiteY4" fmla="*/ 0 h 182880"/>
              <a:gd name="connsiteX0" fmla="*/ 0 w 8658720"/>
              <a:gd name="connsiteY0" fmla="*/ 0 h 182880"/>
              <a:gd name="connsiteX1" fmla="*/ 8658720 w 8658720"/>
              <a:gd name="connsiteY1" fmla="*/ 452 h 182880"/>
              <a:gd name="connsiteX2" fmla="*/ 6709251 w 8658720"/>
              <a:gd name="connsiteY2" fmla="*/ 182880 h 182880"/>
              <a:gd name="connsiteX3" fmla="*/ 0 w 8658720"/>
              <a:gd name="connsiteY3" fmla="*/ 182880 h 182880"/>
              <a:gd name="connsiteX4" fmla="*/ 0 w 8658720"/>
              <a:gd name="connsiteY4" fmla="*/ 0 h 182880"/>
              <a:gd name="connsiteX0" fmla="*/ 0 w 8632078"/>
              <a:gd name="connsiteY0" fmla="*/ 0 h 182880"/>
              <a:gd name="connsiteX1" fmla="*/ 8632078 w 8632078"/>
              <a:gd name="connsiteY1" fmla="*/ 58 h 182880"/>
              <a:gd name="connsiteX2" fmla="*/ 6709251 w 8632078"/>
              <a:gd name="connsiteY2" fmla="*/ 182880 h 182880"/>
              <a:gd name="connsiteX3" fmla="*/ 0 w 8632078"/>
              <a:gd name="connsiteY3" fmla="*/ 182880 h 182880"/>
              <a:gd name="connsiteX4" fmla="*/ 0 w 8632078"/>
              <a:gd name="connsiteY4" fmla="*/ 0 h 182880"/>
              <a:gd name="connsiteX0" fmla="*/ 0 w 8632078"/>
              <a:gd name="connsiteY0" fmla="*/ 0 h 182880"/>
              <a:gd name="connsiteX1" fmla="*/ 8632078 w 8632078"/>
              <a:gd name="connsiteY1" fmla="*/ 58 h 182880"/>
              <a:gd name="connsiteX2" fmla="*/ 5989912 w 8632078"/>
              <a:gd name="connsiteY2" fmla="*/ 182880 h 182880"/>
              <a:gd name="connsiteX3" fmla="*/ 0 w 8632078"/>
              <a:gd name="connsiteY3" fmla="*/ 182880 h 182880"/>
              <a:gd name="connsiteX4" fmla="*/ 0 w 8632078"/>
              <a:gd name="connsiteY4" fmla="*/ 0 h 182880"/>
              <a:gd name="connsiteX0" fmla="*/ 0 w 8632078"/>
              <a:gd name="connsiteY0" fmla="*/ 0 h 183536"/>
              <a:gd name="connsiteX1" fmla="*/ 8632078 w 8632078"/>
              <a:gd name="connsiteY1" fmla="*/ 58 h 183536"/>
              <a:gd name="connsiteX2" fmla="*/ 6554022 w 8632078"/>
              <a:gd name="connsiteY2" fmla="*/ 183536 h 183536"/>
              <a:gd name="connsiteX3" fmla="*/ 0 w 8632078"/>
              <a:gd name="connsiteY3" fmla="*/ 182880 h 183536"/>
              <a:gd name="connsiteX4" fmla="*/ 0 w 8632078"/>
              <a:gd name="connsiteY4" fmla="*/ 0 h 183536"/>
              <a:gd name="connsiteX0" fmla="*/ 0 w 9997958"/>
              <a:gd name="connsiteY0" fmla="*/ 0 h 183536"/>
              <a:gd name="connsiteX1" fmla="*/ 8632078 w 9997958"/>
              <a:gd name="connsiteY1" fmla="*/ 58 h 183536"/>
              <a:gd name="connsiteX2" fmla="*/ 9997946 w 9997958"/>
              <a:gd name="connsiteY2" fmla="*/ 365 h 183536"/>
              <a:gd name="connsiteX3" fmla="*/ 6554022 w 9997958"/>
              <a:gd name="connsiteY3" fmla="*/ 183536 h 183536"/>
              <a:gd name="connsiteX4" fmla="*/ 0 w 9997958"/>
              <a:gd name="connsiteY4" fmla="*/ 182880 h 183536"/>
              <a:gd name="connsiteX5" fmla="*/ 0 w 9997958"/>
              <a:gd name="connsiteY5" fmla="*/ 0 h 183536"/>
              <a:gd name="connsiteX0" fmla="*/ 0 w 9997957"/>
              <a:gd name="connsiteY0" fmla="*/ 0 h 183536"/>
              <a:gd name="connsiteX1" fmla="*/ 8524057 w 9997957"/>
              <a:gd name="connsiteY1" fmla="*/ 20709 h 183536"/>
              <a:gd name="connsiteX2" fmla="*/ 9997946 w 9997957"/>
              <a:gd name="connsiteY2" fmla="*/ 365 h 183536"/>
              <a:gd name="connsiteX3" fmla="*/ 6554022 w 9997957"/>
              <a:gd name="connsiteY3" fmla="*/ 183536 h 183536"/>
              <a:gd name="connsiteX4" fmla="*/ 0 w 9997957"/>
              <a:gd name="connsiteY4" fmla="*/ 182880 h 183536"/>
              <a:gd name="connsiteX5" fmla="*/ 0 w 9997957"/>
              <a:gd name="connsiteY5" fmla="*/ 0 h 183536"/>
              <a:gd name="connsiteX0" fmla="*/ 0 w 9997946"/>
              <a:gd name="connsiteY0" fmla="*/ 0 h 183536"/>
              <a:gd name="connsiteX1" fmla="*/ 9997946 w 9997946"/>
              <a:gd name="connsiteY1" fmla="*/ 365 h 183536"/>
              <a:gd name="connsiteX2" fmla="*/ 6554022 w 9997946"/>
              <a:gd name="connsiteY2" fmla="*/ 183536 h 183536"/>
              <a:gd name="connsiteX3" fmla="*/ 0 w 9997946"/>
              <a:gd name="connsiteY3" fmla="*/ 182880 h 183536"/>
              <a:gd name="connsiteX4" fmla="*/ 0 w 9997946"/>
              <a:gd name="connsiteY4" fmla="*/ 0 h 183536"/>
              <a:gd name="connsiteX0" fmla="*/ 0 w 9997946"/>
              <a:gd name="connsiteY0" fmla="*/ 0 h 183536"/>
              <a:gd name="connsiteX1" fmla="*/ 9997946 w 9997946"/>
              <a:gd name="connsiteY1" fmla="*/ 365 h 183536"/>
              <a:gd name="connsiteX2" fmla="*/ 6554022 w 9997946"/>
              <a:gd name="connsiteY2" fmla="*/ 183536 h 183536"/>
              <a:gd name="connsiteX3" fmla="*/ 0 w 9997946"/>
              <a:gd name="connsiteY3" fmla="*/ 182880 h 183536"/>
              <a:gd name="connsiteX4" fmla="*/ 0 w 9997946"/>
              <a:gd name="connsiteY4" fmla="*/ 0 h 183536"/>
              <a:gd name="connsiteX0" fmla="*/ 0 w 9997946"/>
              <a:gd name="connsiteY0" fmla="*/ 0 h 183536"/>
              <a:gd name="connsiteX1" fmla="*/ 9997946 w 9997946"/>
              <a:gd name="connsiteY1" fmla="*/ 365 h 183536"/>
              <a:gd name="connsiteX2" fmla="*/ 6554022 w 9997946"/>
              <a:gd name="connsiteY2" fmla="*/ 183536 h 183536"/>
              <a:gd name="connsiteX3" fmla="*/ 0 w 9997946"/>
              <a:gd name="connsiteY3" fmla="*/ 182880 h 183536"/>
              <a:gd name="connsiteX4" fmla="*/ 0 w 9997946"/>
              <a:gd name="connsiteY4" fmla="*/ 0 h 183536"/>
              <a:gd name="connsiteX0" fmla="*/ 0 w 9997946"/>
              <a:gd name="connsiteY0" fmla="*/ 0 h 182880"/>
              <a:gd name="connsiteX1" fmla="*/ 9997946 w 9997946"/>
              <a:gd name="connsiteY1" fmla="*/ 365 h 182880"/>
              <a:gd name="connsiteX2" fmla="*/ 6573249 w 9997946"/>
              <a:gd name="connsiteY2" fmla="*/ 182258 h 182880"/>
              <a:gd name="connsiteX3" fmla="*/ 0 w 9997946"/>
              <a:gd name="connsiteY3" fmla="*/ 182880 h 182880"/>
              <a:gd name="connsiteX4" fmla="*/ 0 w 9997946"/>
              <a:gd name="connsiteY4" fmla="*/ 0 h 182880"/>
              <a:gd name="connsiteX0" fmla="*/ 0 w 9997946"/>
              <a:gd name="connsiteY0" fmla="*/ 0 h 182880"/>
              <a:gd name="connsiteX1" fmla="*/ 9997946 w 9997946"/>
              <a:gd name="connsiteY1" fmla="*/ 365 h 182880"/>
              <a:gd name="connsiteX2" fmla="*/ 6565558 w 9997946"/>
              <a:gd name="connsiteY2" fmla="*/ 182848 h 182880"/>
              <a:gd name="connsiteX3" fmla="*/ 0 w 9997946"/>
              <a:gd name="connsiteY3" fmla="*/ 182880 h 182880"/>
              <a:gd name="connsiteX4" fmla="*/ 0 w 9997946"/>
              <a:gd name="connsiteY4" fmla="*/ 0 h 182880"/>
              <a:gd name="connsiteX0" fmla="*/ 0 w 9963338"/>
              <a:gd name="connsiteY0" fmla="*/ 0 h 182880"/>
              <a:gd name="connsiteX1" fmla="*/ 9963338 w 9963338"/>
              <a:gd name="connsiteY1" fmla="*/ 2037 h 182880"/>
              <a:gd name="connsiteX2" fmla="*/ 6565558 w 9963338"/>
              <a:gd name="connsiteY2" fmla="*/ 182848 h 182880"/>
              <a:gd name="connsiteX3" fmla="*/ 0 w 9963338"/>
              <a:gd name="connsiteY3" fmla="*/ 182880 h 182880"/>
              <a:gd name="connsiteX4" fmla="*/ 0 w 9963338"/>
              <a:gd name="connsiteY4" fmla="*/ 0 h 182880"/>
              <a:gd name="connsiteX0" fmla="*/ 0 w 9974874"/>
              <a:gd name="connsiteY0" fmla="*/ 0 h 182880"/>
              <a:gd name="connsiteX1" fmla="*/ 9974874 w 9974874"/>
              <a:gd name="connsiteY1" fmla="*/ 365 h 182880"/>
              <a:gd name="connsiteX2" fmla="*/ 6565558 w 9974874"/>
              <a:gd name="connsiteY2" fmla="*/ 182848 h 182880"/>
              <a:gd name="connsiteX3" fmla="*/ 0 w 9974874"/>
              <a:gd name="connsiteY3" fmla="*/ 182880 h 182880"/>
              <a:gd name="connsiteX4" fmla="*/ 0 w 9974874"/>
              <a:gd name="connsiteY4" fmla="*/ 0 h 182880"/>
              <a:gd name="connsiteX0" fmla="*/ 0 w 9974874"/>
              <a:gd name="connsiteY0" fmla="*/ 0 h 182880"/>
              <a:gd name="connsiteX1" fmla="*/ 9974874 w 9974874"/>
              <a:gd name="connsiteY1" fmla="*/ 365 h 182880"/>
              <a:gd name="connsiteX2" fmla="*/ 6334837 w 9974874"/>
              <a:gd name="connsiteY2" fmla="*/ 182848 h 182880"/>
              <a:gd name="connsiteX3" fmla="*/ 0 w 9974874"/>
              <a:gd name="connsiteY3" fmla="*/ 182880 h 182880"/>
              <a:gd name="connsiteX4" fmla="*/ 0 w 9974874"/>
              <a:gd name="connsiteY4" fmla="*/ 0 h 182880"/>
              <a:gd name="connsiteX0" fmla="*/ 0 w 9984894"/>
              <a:gd name="connsiteY0" fmla="*/ 0 h 182880"/>
              <a:gd name="connsiteX1" fmla="*/ 9984894 w 9984894"/>
              <a:gd name="connsiteY1" fmla="*/ 493 h 182880"/>
              <a:gd name="connsiteX2" fmla="*/ 6334837 w 9984894"/>
              <a:gd name="connsiteY2" fmla="*/ 182848 h 182880"/>
              <a:gd name="connsiteX3" fmla="*/ 0 w 9984894"/>
              <a:gd name="connsiteY3" fmla="*/ 182880 h 182880"/>
              <a:gd name="connsiteX4" fmla="*/ 0 w 9984894"/>
              <a:gd name="connsiteY4" fmla="*/ 0 h 182880"/>
              <a:gd name="connsiteX0" fmla="*/ 0 w 10004935"/>
              <a:gd name="connsiteY0" fmla="*/ 276 h 183156"/>
              <a:gd name="connsiteX1" fmla="*/ 10004935 w 10004935"/>
              <a:gd name="connsiteY1" fmla="*/ 0 h 183156"/>
              <a:gd name="connsiteX2" fmla="*/ 6334837 w 10004935"/>
              <a:gd name="connsiteY2" fmla="*/ 183124 h 183156"/>
              <a:gd name="connsiteX3" fmla="*/ 0 w 10004935"/>
              <a:gd name="connsiteY3" fmla="*/ 183156 h 183156"/>
              <a:gd name="connsiteX4" fmla="*/ 0 w 10004935"/>
              <a:gd name="connsiteY4" fmla="*/ 276 h 183156"/>
              <a:gd name="connsiteX0" fmla="*/ 0 w 10009945"/>
              <a:gd name="connsiteY0" fmla="*/ 0 h 182880"/>
              <a:gd name="connsiteX1" fmla="*/ 10009945 w 10009945"/>
              <a:gd name="connsiteY1" fmla="*/ 5618 h 182880"/>
              <a:gd name="connsiteX2" fmla="*/ 6334837 w 10009945"/>
              <a:gd name="connsiteY2" fmla="*/ 182848 h 182880"/>
              <a:gd name="connsiteX3" fmla="*/ 0 w 10009945"/>
              <a:gd name="connsiteY3" fmla="*/ 182880 h 182880"/>
              <a:gd name="connsiteX4" fmla="*/ 0 w 10009945"/>
              <a:gd name="connsiteY4" fmla="*/ 0 h 182880"/>
              <a:gd name="connsiteX0" fmla="*/ 0 w 10029986"/>
              <a:gd name="connsiteY0" fmla="*/ 20 h 182900"/>
              <a:gd name="connsiteX1" fmla="*/ 10029986 w 10029986"/>
              <a:gd name="connsiteY1" fmla="*/ 0 h 182900"/>
              <a:gd name="connsiteX2" fmla="*/ 6334837 w 10029986"/>
              <a:gd name="connsiteY2" fmla="*/ 182868 h 182900"/>
              <a:gd name="connsiteX3" fmla="*/ 0 w 10029986"/>
              <a:gd name="connsiteY3" fmla="*/ 182900 h 182900"/>
              <a:gd name="connsiteX4" fmla="*/ 0 w 10029986"/>
              <a:gd name="connsiteY4" fmla="*/ 20 h 182900"/>
              <a:gd name="connsiteX0" fmla="*/ 0 w 119726974"/>
              <a:gd name="connsiteY0" fmla="*/ 20 h 183143"/>
              <a:gd name="connsiteX1" fmla="*/ 10029986 w 119726974"/>
              <a:gd name="connsiteY1" fmla="*/ 0 h 183143"/>
              <a:gd name="connsiteX2" fmla="*/ 119726974 w 119726974"/>
              <a:gd name="connsiteY2" fmla="*/ 183143 h 183143"/>
              <a:gd name="connsiteX3" fmla="*/ 0 w 119726974"/>
              <a:gd name="connsiteY3" fmla="*/ 182900 h 183143"/>
              <a:gd name="connsiteX4" fmla="*/ 0 w 119726974"/>
              <a:gd name="connsiteY4" fmla="*/ 20 h 183143"/>
              <a:gd name="connsiteX0" fmla="*/ 0 w 119726974"/>
              <a:gd name="connsiteY0" fmla="*/ 118 h 183241"/>
              <a:gd name="connsiteX1" fmla="*/ 26380906 w 119726974"/>
              <a:gd name="connsiteY1" fmla="*/ 0 h 183241"/>
              <a:gd name="connsiteX2" fmla="*/ 119726974 w 119726974"/>
              <a:gd name="connsiteY2" fmla="*/ 183241 h 183241"/>
              <a:gd name="connsiteX3" fmla="*/ 0 w 119726974"/>
              <a:gd name="connsiteY3" fmla="*/ 182998 h 183241"/>
              <a:gd name="connsiteX4" fmla="*/ 0 w 119726974"/>
              <a:gd name="connsiteY4" fmla="*/ 118 h 183241"/>
              <a:gd name="connsiteX0" fmla="*/ 0 w 119243219"/>
              <a:gd name="connsiteY0" fmla="*/ 118 h 182998"/>
              <a:gd name="connsiteX1" fmla="*/ 26380906 w 119243219"/>
              <a:gd name="connsiteY1" fmla="*/ 0 h 182998"/>
              <a:gd name="connsiteX2" fmla="*/ 119243219 w 119243219"/>
              <a:gd name="connsiteY2" fmla="*/ 182356 h 182998"/>
              <a:gd name="connsiteX3" fmla="*/ 0 w 119243219"/>
              <a:gd name="connsiteY3" fmla="*/ 182998 h 182998"/>
              <a:gd name="connsiteX4" fmla="*/ 0 w 119243219"/>
              <a:gd name="connsiteY4" fmla="*/ 118 h 182998"/>
              <a:gd name="connsiteX0" fmla="*/ 0 w 118952966"/>
              <a:gd name="connsiteY0" fmla="*/ 118 h 182998"/>
              <a:gd name="connsiteX1" fmla="*/ 26380906 w 118952966"/>
              <a:gd name="connsiteY1" fmla="*/ 0 h 182998"/>
              <a:gd name="connsiteX2" fmla="*/ 118952966 w 118952966"/>
              <a:gd name="connsiteY2" fmla="*/ 180881 h 182998"/>
              <a:gd name="connsiteX3" fmla="*/ 0 w 118952966"/>
              <a:gd name="connsiteY3" fmla="*/ 182998 h 182998"/>
              <a:gd name="connsiteX4" fmla="*/ 0 w 118952966"/>
              <a:gd name="connsiteY4" fmla="*/ 118 h 182998"/>
              <a:gd name="connsiteX0" fmla="*/ 0 w 119436721"/>
              <a:gd name="connsiteY0" fmla="*/ 118 h 183044"/>
              <a:gd name="connsiteX1" fmla="*/ 26380906 w 119436721"/>
              <a:gd name="connsiteY1" fmla="*/ 0 h 183044"/>
              <a:gd name="connsiteX2" fmla="*/ 119436721 w 119436721"/>
              <a:gd name="connsiteY2" fmla="*/ 183044 h 183044"/>
              <a:gd name="connsiteX3" fmla="*/ 0 w 119436721"/>
              <a:gd name="connsiteY3" fmla="*/ 182998 h 183044"/>
              <a:gd name="connsiteX4" fmla="*/ 0 w 119436721"/>
              <a:gd name="connsiteY4" fmla="*/ 118 h 183044"/>
              <a:gd name="connsiteX0" fmla="*/ 0 w 119436721"/>
              <a:gd name="connsiteY0" fmla="*/ 0 h 182926"/>
              <a:gd name="connsiteX1" fmla="*/ 40647838 w 119436721"/>
              <a:gd name="connsiteY1" fmla="*/ 899 h 182926"/>
              <a:gd name="connsiteX2" fmla="*/ 119436721 w 119436721"/>
              <a:gd name="connsiteY2" fmla="*/ 182926 h 182926"/>
              <a:gd name="connsiteX3" fmla="*/ 0 w 119436721"/>
              <a:gd name="connsiteY3" fmla="*/ 182880 h 182926"/>
              <a:gd name="connsiteX4" fmla="*/ 0 w 119436721"/>
              <a:gd name="connsiteY4" fmla="*/ 0 h 182926"/>
              <a:gd name="connsiteX0" fmla="*/ 0 w 92654956"/>
              <a:gd name="connsiteY0" fmla="*/ 0 h 182880"/>
              <a:gd name="connsiteX1" fmla="*/ 40647838 w 92654956"/>
              <a:gd name="connsiteY1" fmla="*/ 899 h 182880"/>
              <a:gd name="connsiteX2" fmla="*/ 92654956 w 92654956"/>
              <a:gd name="connsiteY2" fmla="*/ 182587 h 182880"/>
              <a:gd name="connsiteX3" fmla="*/ 0 w 92654956"/>
              <a:gd name="connsiteY3" fmla="*/ 182880 h 182880"/>
              <a:gd name="connsiteX4" fmla="*/ 0 w 92654956"/>
              <a:gd name="connsiteY4" fmla="*/ 0 h 182880"/>
              <a:gd name="connsiteX0" fmla="*/ 0 w 91153180"/>
              <a:gd name="connsiteY0" fmla="*/ 0 h 182880"/>
              <a:gd name="connsiteX1" fmla="*/ 40647838 w 91153180"/>
              <a:gd name="connsiteY1" fmla="*/ 899 h 182880"/>
              <a:gd name="connsiteX2" fmla="*/ 91153180 w 91153180"/>
              <a:gd name="connsiteY2" fmla="*/ 176144 h 182880"/>
              <a:gd name="connsiteX3" fmla="*/ 0 w 91153180"/>
              <a:gd name="connsiteY3" fmla="*/ 182880 h 182880"/>
              <a:gd name="connsiteX4" fmla="*/ 0 w 91153180"/>
              <a:gd name="connsiteY4" fmla="*/ 0 h 182880"/>
              <a:gd name="connsiteX0" fmla="*/ 0 w 107672788"/>
              <a:gd name="connsiteY0" fmla="*/ 0 h 183265"/>
              <a:gd name="connsiteX1" fmla="*/ 40647838 w 107672788"/>
              <a:gd name="connsiteY1" fmla="*/ 899 h 183265"/>
              <a:gd name="connsiteX2" fmla="*/ 107672788 w 107672788"/>
              <a:gd name="connsiteY2" fmla="*/ 183265 h 183265"/>
              <a:gd name="connsiteX3" fmla="*/ 0 w 107672788"/>
              <a:gd name="connsiteY3" fmla="*/ 182880 h 183265"/>
              <a:gd name="connsiteX4" fmla="*/ 0 w 107672788"/>
              <a:gd name="connsiteY4" fmla="*/ 0 h 183265"/>
              <a:gd name="connsiteX0" fmla="*/ 0 w 102166580"/>
              <a:gd name="connsiteY0" fmla="*/ 0 h 182880"/>
              <a:gd name="connsiteX1" fmla="*/ 40647838 w 102166580"/>
              <a:gd name="connsiteY1" fmla="*/ 899 h 182880"/>
              <a:gd name="connsiteX2" fmla="*/ 102166580 w 102166580"/>
              <a:gd name="connsiteY2" fmla="*/ 179535 h 182880"/>
              <a:gd name="connsiteX3" fmla="*/ 0 w 102166580"/>
              <a:gd name="connsiteY3" fmla="*/ 182880 h 182880"/>
              <a:gd name="connsiteX4" fmla="*/ 0 w 102166580"/>
              <a:gd name="connsiteY4" fmla="*/ 0 h 182880"/>
              <a:gd name="connsiteX0" fmla="*/ 0 w 107047096"/>
              <a:gd name="connsiteY0" fmla="*/ 0 h 182926"/>
              <a:gd name="connsiteX1" fmla="*/ 40647838 w 107047096"/>
              <a:gd name="connsiteY1" fmla="*/ 899 h 182926"/>
              <a:gd name="connsiteX2" fmla="*/ 107047096 w 107047096"/>
              <a:gd name="connsiteY2" fmla="*/ 182926 h 182926"/>
              <a:gd name="connsiteX3" fmla="*/ 0 w 107047096"/>
              <a:gd name="connsiteY3" fmla="*/ 182880 h 182926"/>
              <a:gd name="connsiteX4" fmla="*/ 0 w 107047096"/>
              <a:gd name="connsiteY4" fmla="*/ 0 h 182926"/>
              <a:gd name="connsiteX0" fmla="*/ 0 w 107047096"/>
              <a:gd name="connsiteY0" fmla="*/ 0 h 182926"/>
              <a:gd name="connsiteX1" fmla="*/ 39994599 w 107047096"/>
              <a:gd name="connsiteY1" fmla="*/ 211 h 182926"/>
              <a:gd name="connsiteX2" fmla="*/ 107047096 w 107047096"/>
              <a:gd name="connsiteY2" fmla="*/ 182926 h 182926"/>
              <a:gd name="connsiteX3" fmla="*/ 0 w 107047096"/>
              <a:gd name="connsiteY3" fmla="*/ 182880 h 182926"/>
              <a:gd name="connsiteX4" fmla="*/ 0 w 107047096"/>
              <a:gd name="connsiteY4" fmla="*/ 0 h 182926"/>
              <a:gd name="connsiteX0" fmla="*/ 0 w 107047096"/>
              <a:gd name="connsiteY0" fmla="*/ 461 h 183387"/>
              <a:gd name="connsiteX1" fmla="*/ 36355181 w 107047096"/>
              <a:gd name="connsiteY1" fmla="*/ 0 h 183387"/>
              <a:gd name="connsiteX2" fmla="*/ 107047096 w 107047096"/>
              <a:gd name="connsiteY2" fmla="*/ 183387 h 183387"/>
              <a:gd name="connsiteX3" fmla="*/ 0 w 107047096"/>
              <a:gd name="connsiteY3" fmla="*/ 183341 h 183387"/>
              <a:gd name="connsiteX4" fmla="*/ 0 w 107047096"/>
              <a:gd name="connsiteY4" fmla="*/ 461 h 183387"/>
              <a:gd name="connsiteX0" fmla="*/ 0 w 107047096"/>
              <a:gd name="connsiteY0" fmla="*/ 125 h 183051"/>
              <a:gd name="connsiteX1" fmla="*/ 39746471 w 107047096"/>
              <a:gd name="connsiteY1" fmla="*/ 0 h 183051"/>
              <a:gd name="connsiteX2" fmla="*/ 107047096 w 107047096"/>
              <a:gd name="connsiteY2" fmla="*/ 183051 h 183051"/>
              <a:gd name="connsiteX3" fmla="*/ 0 w 107047096"/>
              <a:gd name="connsiteY3" fmla="*/ 183005 h 183051"/>
              <a:gd name="connsiteX4" fmla="*/ 0 w 107047096"/>
              <a:gd name="connsiteY4" fmla="*/ 125 h 183051"/>
              <a:gd name="connsiteX0" fmla="*/ 35334710 w 107047096"/>
              <a:gd name="connsiteY0" fmla="*/ 16171 h 183051"/>
              <a:gd name="connsiteX1" fmla="*/ 39746471 w 107047096"/>
              <a:gd name="connsiteY1" fmla="*/ 0 h 183051"/>
              <a:gd name="connsiteX2" fmla="*/ 107047096 w 107047096"/>
              <a:gd name="connsiteY2" fmla="*/ 183051 h 183051"/>
              <a:gd name="connsiteX3" fmla="*/ 0 w 107047096"/>
              <a:gd name="connsiteY3" fmla="*/ 183005 h 183051"/>
              <a:gd name="connsiteX4" fmla="*/ 35334710 w 107047096"/>
              <a:gd name="connsiteY4" fmla="*/ 16171 h 183051"/>
              <a:gd name="connsiteX0" fmla="*/ 18526854 w 107047096"/>
              <a:gd name="connsiteY0" fmla="*/ 125 h 183051"/>
              <a:gd name="connsiteX1" fmla="*/ 39746471 w 107047096"/>
              <a:gd name="connsiteY1" fmla="*/ 0 h 183051"/>
              <a:gd name="connsiteX2" fmla="*/ 107047096 w 107047096"/>
              <a:gd name="connsiteY2" fmla="*/ 183051 h 183051"/>
              <a:gd name="connsiteX3" fmla="*/ 0 w 107047096"/>
              <a:gd name="connsiteY3" fmla="*/ 183005 h 183051"/>
              <a:gd name="connsiteX4" fmla="*/ 18526854 w 107047096"/>
              <a:gd name="connsiteY4" fmla="*/ 125 h 183051"/>
              <a:gd name="connsiteX0" fmla="*/ 0 w 88520242"/>
              <a:gd name="connsiteY0" fmla="*/ 125 h 183051"/>
              <a:gd name="connsiteX1" fmla="*/ 21219617 w 88520242"/>
              <a:gd name="connsiteY1" fmla="*/ 0 h 183051"/>
              <a:gd name="connsiteX2" fmla="*/ 88520242 w 88520242"/>
              <a:gd name="connsiteY2" fmla="*/ 183051 h 183051"/>
              <a:gd name="connsiteX3" fmla="*/ 19290829 w 88520242"/>
              <a:gd name="connsiteY3" fmla="*/ 175759 h 183051"/>
              <a:gd name="connsiteX4" fmla="*/ 0 w 88520242"/>
              <a:gd name="connsiteY4" fmla="*/ 125 h 183051"/>
              <a:gd name="connsiteX0" fmla="*/ 0 w 88520242"/>
              <a:gd name="connsiteY0" fmla="*/ 125 h 183051"/>
              <a:gd name="connsiteX1" fmla="*/ 21219617 w 88520242"/>
              <a:gd name="connsiteY1" fmla="*/ 0 h 183051"/>
              <a:gd name="connsiteX2" fmla="*/ 88520242 w 88520242"/>
              <a:gd name="connsiteY2" fmla="*/ 183051 h 183051"/>
              <a:gd name="connsiteX3" fmla="*/ 0 w 88520242"/>
              <a:gd name="connsiteY3" fmla="*/ 183005 h 183051"/>
              <a:gd name="connsiteX4" fmla="*/ 0 w 88520242"/>
              <a:gd name="connsiteY4" fmla="*/ 125 h 183051"/>
              <a:gd name="connsiteX0" fmla="*/ 0 w 88520242"/>
              <a:gd name="connsiteY0" fmla="*/ 125 h 183051"/>
              <a:gd name="connsiteX1" fmla="*/ 20493773 w 88520242"/>
              <a:gd name="connsiteY1" fmla="*/ 0 h 183051"/>
              <a:gd name="connsiteX2" fmla="*/ 88520242 w 88520242"/>
              <a:gd name="connsiteY2" fmla="*/ 183051 h 183051"/>
              <a:gd name="connsiteX3" fmla="*/ 0 w 88520242"/>
              <a:gd name="connsiteY3" fmla="*/ 183005 h 183051"/>
              <a:gd name="connsiteX4" fmla="*/ 0 w 88520242"/>
              <a:gd name="connsiteY4" fmla="*/ 125 h 183051"/>
              <a:gd name="connsiteX0" fmla="*/ 0 w 89246086"/>
              <a:gd name="connsiteY0" fmla="*/ 125 h 183215"/>
              <a:gd name="connsiteX1" fmla="*/ 20493773 w 89246086"/>
              <a:gd name="connsiteY1" fmla="*/ 0 h 183215"/>
              <a:gd name="connsiteX2" fmla="*/ 89246086 w 89246086"/>
              <a:gd name="connsiteY2" fmla="*/ 183215 h 183215"/>
              <a:gd name="connsiteX3" fmla="*/ 0 w 89246086"/>
              <a:gd name="connsiteY3" fmla="*/ 183005 h 183215"/>
              <a:gd name="connsiteX4" fmla="*/ 0 w 89246086"/>
              <a:gd name="connsiteY4" fmla="*/ 125 h 183215"/>
              <a:gd name="connsiteX0" fmla="*/ 0 w 86415382"/>
              <a:gd name="connsiteY0" fmla="*/ 125 h 183005"/>
              <a:gd name="connsiteX1" fmla="*/ 20493773 w 86415382"/>
              <a:gd name="connsiteY1" fmla="*/ 0 h 183005"/>
              <a:gd name="connsiteX2" fmla="*/ 86415382 w 86415382"/>
              <a:gd name="connsiteY2" fmla="*/ 181642 h 183005"/>
              <a:gd name="connsiteX3" fmla="*/ 0 w 86415382"/>
              <a:gd name="connsiteY3" fmla="*/ 183005 h 183005"/>
              <a:gd name="connsiteX4" fmla="*/ 0 w 86415382"/>
              <a:gd name="connsiteY4" fmla="*/ 125 h 183005"/>
              <a:gd name="connsiteX0" fmla="*/ 0 w 89391251"/>
              <a:gd name="connsiteY0" fmla="*/ 125 h 183117"/>
              <a:gd name="connsiteX1" fmla="*/ 20493773 w 89391251"/>
              <a:gd name="connsiteY1" fmla="*/ 0 h 183117"/>
              <a:gd name="connsiteX2" fmla="*/ 89391251 w 89391251"/>
              <a:gd name="connsiteY2" fmla="*/ 183117 h 183117"/>
              <a:gd name="connsiteX3" fmla="*/ 0 w 89391251"/>
              <a:gd name="connsiteY3" fmla="*/ 183005 h 183117"/>
              <a:gd name="connsiteX4" fmla="*/ 0 w 89391251"/>
              <a:gd name="connsiteY4" fmla="*/ 125 h 183117"/>
              <a:gd name="connsiteX0" fmla="*/ 0 w 87867026"/>
              <a:gd name="connsiteY0" fmla="*/ 125 h 183005"/>
              <a:gd name="connsiteX1" fmla="*/ 20493773 w 87867026"/>
              <a:gd name="connsiteY1" fmla="*/ 0 h 183005"/>
              <a:gd name="connsiteX2" fmla="*/ 87867026 w 87867026"/>
              <a:gd name="connsiteY2" fmla="*/ 182232 h 183005"/>
              <a:gd name="connsiteX3" fmla="*/ 0 w 87867026"/>
              <a:gd name="connsiteY3" fmla="*/ 183005 h 183005"/>
              <a:gd name="connsiteX4" fmla="*/ 0 w 87867026"/>
              <a:gd name="connsiteY4" fmla="*/ 125 h 183005"/>
              <a:gd name="connsiteX0" fmla="*/ 0 w 89391251"/>
              <a:gd name="connsiteY0" fmla="*/ 125 h 183019"/>
              <a:gd name="connsiteX1" fmla="*/ 20493773 w 89391251"/>
              <a:gd name="connsiteY1" fmla="*/ 0 h 183019"/>
              <a:gd name="connsiteX2" fmla="*/ 89391251 w 89391251"/>
              <a:gd name="connsiteY2" fmla="*/ 183019 h 183019"/>
              <a:gd name="connsiteX3" fmla="*/ 0 w 89391251"/>
              <a:gd name="connsiteY3" fmla="*/ 183005 h 183019"/>
              <a:gd name="connsiteX4" fmla="*/ 0 w 89391251"/>
              <a:gd name="connsiteY4" fmla="*/ 125 h 183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9391251" h="183019">
                <a:moveTo>
                  <a:pt x="0" y="125"/>
                </a:moveTo>
                <a:lnTo>
                  <a:pt x="20493773" y="0"/>
                </a:lnTo>
                <a:lnTo>
                  <a:pt x="89391251" y="183019"/>
                </a:lnTo>
                <a:lnTo>
                  <a:pt x="0" y="183005"/>
                </a:lnTo>
                <a:lnTo>
                  <a:pt x="0" y="125"/>
                </a:lnTo>
                <a:close/>
              </a:path>
            </a:pathLst>
          </a:custGeom>
          <a:solidFill>
            <a:srgbClr val="3EC7F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sz="1799">
              <a:solidFill>
                <a:prstClr val="white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87687" y="6129360"/>
            <a:ext cx="647072" cy="5016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726874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6" progId="TCLayout.ActiveDocument.1">
                  <p:embed/>
                </p:oleObj>
              </mc:Choice>
              <mc:Fallback>
                <p:oleObj name="think-cell Slide" r:id="rId3" imgW="347" imgH="34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srgbClr val="666666"/>
                </a:solidFill>
              </a:rPr>
              <a:t>PPG Confidential</a:t>
            </a:r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D9C4343-C115-504A-8D4F-0B17318D4A48}" type="slidenum">
              <a:rPr lang="en-US" smtClean="0">
                <a:solidFill>
                  <a:srgbClr val="666666"/>
                </a:solidFill>
              </a:rPr>
              <a:pPr/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265245" y="1179576"/>
            <a:ext cx="11670783" cy="47132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itle 3"/>
          <p:cNvSpPr>
            <a:spLocks noGrp="1"/>
          </p:cNvSpPr>
          <p:nvPr>
            <p:ph type="title"/>
          </p:nvPr>
        </p:nvSpPr>
        <p:spPr>
          <a:xfrm>
            <a:off x="265245" y="228598"/>
            <a:ext cx="11670783" cy="8595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929376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5245" y="228600"/>
            <a:ext cx="11670783" cy="8595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666666"/>
                </a:solidFill>
              </a:rPr>
              <a:t>PPG Confidenti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9C4343-C115-504A-8D4F-0B17318D4A48}" type="slidenum">
              <a:rPr lang="en-US" smtClean="0">
                <a:solidFill>
                  <a:srgbClr val="666666"/>
                </a:solidFill>
              </a:rPr>
              <a:pPr/>
              <a:t>‹#›</a:t>
            </a:fld>
            <a:endParaRPr lang="en-US">
              <a:solidFill>
                <a:srgbClr val="666666"/>
              </a:solidFill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3"/>
          </p:nvPr>
        </p:nvSpPr>
        <p:spPr>
          <a:xfrm>
            <a:off x="265246" y="1179576"/>
            <a:ext cx="5701471" cy="4713224"/>
          </a:xfrm>
        </p:spPr>
        <p:txBody>
          <a:bodyPr/>
          <a:lstStyle>
            <a:lvl8pPr>
              <a:defRPr baseline="0"/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4"/>
          </p:nvPr>
        </p:nvSpPr>
        <p:spPr>
          <a:xfrm>
            <a:off x="6233287" y="1179576"/>
            <a:ext cx="5701471" cy="4713224"/>
          </a:xfrm>
        </p:spPr>
        <p:txBody>
          <a:bodyPr/>
          <a:lstStyle>
            <a:lvl8pPr>
              <a:defRPr baseline="0"/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181642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65245" y="1179576"/>
            <a:ext cx="5698196" cy="800100"/>
          </a:xfrm>
        </p:spPr>
        <p:txBody>
          <a:bodyPr anchor="t" anchorCtr="0">
            <a:normAutofit/>
          </a:bodyPr>
          <a:lstStyle>
            <a:lvl1pPr marL="0" indent="0">
              <a:buNone/>
              <a:defRPr sz="2199" b="1"/>
            </a:lvl1pPr>
            <a:lvl2pPr marL="457063" indent="0">
              <a:buNone/>
              <a:defRPr sz="1999" b="1"/>
            </a:lvl2pPr>
            <a:lvl3pPr marL="914126" indent="0">
              <a:buNone/>
              <a:defRPr sz="1799" b="1"/>
            </a:lvl3pPr>
            <a:lvl4pPr marL="1371189" indent="0">
              <a:buNone/>
              <a:defRPr sz="1600" b="1"/>
            </a:lvl4pPr>
            <a:lvl5pPr marL="1828251" indent="0">
              <a:buNone/>
              <a:defRPr sz="1600" b="1"/>
            </a:lvl5pPr>
            <a:lvl6pPr marL="2285314" indent="0">
              <a:buNone/>
              <a:defRPr sz="1600" b="1"/>
            </a:lvl6pPr>
            <a:lvl7pPr marL="2742377" indent="0">
              <a:buNone/>
              <a:defRPr sz="1600" b="1"/>
            </a:lvl7pPr>
            <a:lvl8pPr marL="3199440" indent="0">
              <a:buNone/>
              <a:defRPr sz="1600" b="1"/>
            </a:lvl8pPr>
            <a:lvl9pPr marL="365650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>
            <a:normAutofit/>
          </a:bodyPr>
          <a:lstStyle/>
          <a:p>
            <a:r>
              <a:rPr lang="en-US">
                <a:solidFill>
                  <a:srgbClr val="666666"/>
                </a:solidFill>
              </a:rPr>
              <a:t>PPG Confidentia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/>
          </a:bodyPr>
          <a:lstStyle/>
          <a:p>
            <a:fld id="{FD9C4343-C115-504A-8D4F-0B17318D4A48}" type="slidenum">
              <a:rPr lang="en-US" smtClean="0">
                <a:solidFill>
                  <a:srgbClr val="666666"/>
                </a:solidFill>
              </a:rPr>
              <a:pPr/>
              <a:t>‹#›</a:t>
            </a:fld>
            <a:endParaRPr lang="en-US">
              <a:solidFill>
                <a:srgbClr val="666666"/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265245" y="228600"/>
            <a:ext cx="11670783" cy="859536"/>
          </a:xfrm>
        </p:spPr>
        <p:txBody>
          <a:bodyPr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3"/>
          </p:nvPr>
        </p:nvSpPr>
        <p:spPr>
          <a:xfrm>
            <a:off x="265245" y="2122548"/>
            <a:ext cx="5698196" cy="3770252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idx="14"/>
          </p:nvPr>
        </p:nvSpPr>
        <p:spPr>
          <a:xfrm>
            <a:off x="6237832" y="1179576"/>
            <a:ext cx="5698196" cy="800100"/>
          </a:xfrm>
        </p:spPr>
        <p:txBody>
          <a:bodyPr anchor="t" anchorCtr="0">
            <a:normAutofit/>
          </a:bodyPr>
          <a:lstStyle>
            <a:lvl1pPr marL="0" indent="0">
              <a:buNone/>
              <a:defRPr sz="2199" b="1"/>
            </a:lvl1pPr>
            <a:lvl2pPr marL="457063" indent="0">
              <a:buNone/>
              <a:defRPr sz="1999" b="1"/>
            </a:lvl2pPr>
            <a:lvl3pPr marL="914126" indent="0">
              <a:buNone/>
              <a:defRPr sz="1799" b="1"/>
            </a:lvl3pPr>
            <a:lvl4pPr marL="1371189" indent="0">
              <a:buNone/>
              <a:defRPr sz="1600" b="1"/>
            </a:lvl4pPr>
            <a:lvl5pPr marL="1828251" indent="0">
              <a:buNone/>
              <a:defRPr sz="1600" b="1"/>
            </a:lvl5pPr>
            <a:lvl6pPr marL="2285314" indent="0">
              <a:buNone/>
              <a:defRPr sz="1600" b="1"/>
            </a:lvl6pPr>
            <a:lvl7pPr marL="2742377" indent="0">
              <a:buNone/>
              <a:defRPr sz="1600" b="1"/>
            </a:lvl7pPr>
            <a:lvl8pPr marL="3199440" indent="0">
              <a:buNone/>
              <a:defRPr sz="1600" b="1"/>
            </a:lvl8pPr>
            <a:lvl9pPr marL="365650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5"/>
          </p:nvPr>
        </p:nvSpPr>
        <p:spPr>
          <a:xfrm>
            <a:off x="6237832" y="2122548"/>
            <a:ext cx="5698196" cy="3770252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705391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Column_Right Two Quadra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5245" y="228600"/>
            <a:ext cx="11670783" cy="859536"/>
          </a:xfrm>
        </p:spPr>
        <p:txBody>
          <a:bodyPr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666666"/>
                </a:solidFill>
              </a:rPr>
              <a:t>PPG Confidenti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9C4343-C115-504A-8D4F-0B17318D4A48}" type="slidenum">
              <a:rPr lang="en-US" smtClean="0">
                <a:solidFill>
                  <a:srgbClr val="666666"/>
                </a:solidFill>
              </a:rPr>
              <a:pPr/>
              <a:t>‹#›</a:t>
            </a:fld>
            <a:endParaRPr lang="en-US">
              <a:solidFill>
                <a:srgbClr val="666666"/>
              </a:solidFill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>
          <a:xfrm>
            <a:off x="265245" y="1176786"/>
            <a:ext cx="5698196" cy="471602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6237832" y="1176779"/>
            <a:ext cx="5698196" cy="225222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>
          <a:xfrm>
            <a:off x="6237832" y="3644962"/>
            <a:ext cx="5698196" cy="225222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515716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Column_Left Two Quadra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5245" y="228601"/>
            <a:ext cx="11670783" cy="859536"/>
          </a:xfrm>
        </p:spPr>
        <p:txBody>
          <a:bodyPr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>
            <a:normAutofit/>
          </a:bodyPr>
          <a:lstStyle/>
          <a:p>
            <a:r>
              <a:rPr lang="en-US">
                <a:solidFill>
                  <a:srgbClr val="666666"/>
                </a:solidFill>
              </a:rPr>
              <a:t>PPG Confidenti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/>
          </a:bodyPr>
          <a:lstStyle/>
          <a:p>
            <a:fld id="{FD9C4343-C115-504A-8D4F-0B17318D4A48}" type="slidenum">
              <a:rPr lang="en-US" smtClean="0">
                <a:solidFill>
                  <a:srgbClr val="666666"/>
                </a:solidFill>
              </a:rPr>
              <a:pPr/>
              <a:t>‹#›</a:t>
            </a:fld>
            <a:endParaRPr lang="en-US">
              <a:solidFill>
                <a:srgbClr val="666666"/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6237832" y="1176786"/>
            <a:ext cx="5698196" cy="4716021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5"/>
          </p:nvPr>
        </p:nvSpPr>
        <p:spPr>
          <a:xfrm>
            <a:off x="265245" y="1176783"/>
            <a:ext cx="5697434" cy="2252222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idx="16"/>
          </p:nvPr>
        </p:nvSpPr>
        <p:spPr>
          <a:xfrm>
            <a:off x="265245" y="3644962"/>
            <a:ext cx="5698196" cy="2252222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525539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ra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5245" y="228601"/>
            <a:ext cx="11670783" cy="859536"/>
          </a:xfrm>
        </p:spPr>
        <p:txBody>
          <a:bodyPr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>
            <a:normAutofit/>
          </a:bodyPr>
          <a:lstStyle/>
          <a:p>
            <a:r>
              <a:rPr lang="en-US">
                <a:solidFill>
                  <a:srgbClr val="666666"/>
                </a:solidFill>
              </a:rPr>
              <a:t>PPG Confidenti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/>
          </a:bodyPr>
          <a:lstStyle/>
          <a:p>
            <a:fld id="{FD9C4343-C115-504A-8D4F-0B17318D4A48}" type="slidenum">
              <a:rPr lang="en-US" smtClean="0">
                <a:solidFill>
                  <a:srgbClr val="666666"/>
                </a:solidFill>
              </a:rPr>
              <a:pPr/>
              <a:t>‹#›</a:t>
            </a:fld>
            <a:endParaRPr lang="en-US">
              <a:solidFill>
                <a:srgbClr val="666666"/>
              </a:solidFill>
            </a:endParaRPr>
          </a:p>
        </p:txBody>
      </p:sp>
      <p:sp>
        <p:nvSpPr>
          <p:cNvPr id="16" name="Content Placeholder 2"/>
          <p:cNvSpPr>
            <a:spLocks noGrp="1"/>
          </p:cNvSpPr>
          <p:nvPr>
            <p:ph idx="15"/>
          </p:nvPr>
        </p:nvSpPr>
        <p:spPr>
          <a:xfrm>
            <a:off x="265245" y="1176779"/>
            <a:ext cx="5698196" cy="2252222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Content Placeholder 2"/>
          <p:cNvSpPr>
            <a:spLocks noGrp="1"/>
          </p:cNvSpPr>
          <p:nvPr>
            <p:ph idx="16"/>
          </p:nvPr>
        </p:nvSpPr>
        <p:spPr>
          <a:xfrm>
            <a:off x="265245" y="3644962"/>
            <a:ext cx="5698196" cy="2252222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2"/>
          <p:cNvSpPr>
            <a:spLocks noGrp="1"/>
          </p:cNvSpPr>
          <p:nvPr>
            <p:ph idx="17"/>
          </p:nvPr>
        </p:nvSpPr>
        <p:spPr>
          <a:xfrm>
            <a:off x="6237832" y="1176779"/>
            <a:ext cx="5698196" cy="2252222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idx="18"/>
          </p:nvPr>
        </p:nvSpPr>
        <p:spPr>
          <a:xfrm>
            <a:off x="6237832" y="3644962"/>
            <a:ext cx="5698196" cy="2252222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409665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6" progId="TCLayout.ActiveDocument.1">
                  <p:embed/>
                </p:oleObj>
              </mc:Choice>
              <mc:Fallback>
                <p:oleObj name="think-cell Slide" r:id="rId3" imgW="347" imgH="34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666666"/>
                </a:solidFill>
              </a:rPr>
              <a:t>PPG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9C4343-C115-504A-8D4F-0B17318D4A48}" type="slidenum">
              <a:rPr lang="en-US" smtClean="0">
                <a:solidFill>
                  <a:srgbClr val="666666"/>
                </a:solidFill>
              </a:rPr>
              <a:pPr/>
              <a:t>‹#›</a:t>
            </a:fld>
            <a:endParaRPr lang="en-US">
              <a:solidFill>
                <a:srgbClr val="666666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65245" y="228599"/>
            <a:ext cx="11670783" cy="8595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63754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D9C4343-C115-504A-8D4F-0B17318D4A4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12883" y="1274826"/>
            <a:ext cx="11670783" cy="47132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itle 3"/>
          <p:cNvSpPr>
            <a:spLocks noGrp="1"/>
          </p:cNvSpPr>
          <p:nvPr>
            <p:ph type="title"/>
          </p:nvPr>
        </p:nvSpPr>
        <p:spPr>
          <a:xfrm>
            <a:off x="312883" y="323848"/>
            <a:ext cx="11670783" cy="8595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5342459"/>
      </p:ext>
    </p:extLst>
  </p:cSld>
  <p:clrMapOvr>
    <a:masterClrMapping/>
  </p:clrMapOvr>
  <p:hf hdr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666666"/>
                </a:solidFill>
              </a:rPr>
              <a:t>PPG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9C4343-C115-504A-8D4F-0B17318D4A48}" type="slidenum">
              <a:rPr lang="en-US" smtClean="0">
                <a:solidFill>
                  <a:srgbClr val="666666"/>
                </a:solidFill>
              </a:rPr>
              <a:pPr/>
              <a:t>‹#›</a:t>
            </a:fld>
            <a:endParaRPr lang="en-US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224984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5245" y="228600"/>
            <a:ext cx="4011084" cy="1162050"/>
          </a:xfrm>
        </p:spPr>
        <p:txBody>
          <a:bodyPr anchor="t" anchorCtr="0">
            <a:normAutofit/>
          </a:bodyPr>
          <a:lstStyle>
            <a:lvl1pPr algn="l">
              <a:defRPr sz="1999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65245" y="1435101"/>
            <a:ext cx="4011084" cy="4467226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063" indent="0">
              <a:buNone/>
              <a:defRPr sz="1200"/>
            </a:lvl2pPr>
            <a:lvl3pPr marL="914126" indent="0">
              <a:buNone/>
              <a:defRPr sz="1000"/>
            </a:lvl3pPr>
            <a:lvl4pPr marL="1371189" indent="0">
              <a:buNone/>
              <a:defRPr sz="900"/>
            </a:lvl4pPr>
            <a:lvl5pPr marL="1828251" indent="0">
              <a:buNone/>
              <a:defRPr sz="900"/>
            </a:lvl5pPr>
            <a:lvl6pPr marL="2285314" indent="0">
              <a:buNone/>
              <a:defRPr sz="900"/>
            </a:lvl6pPr>
            <a:lvl7pPr marL="2742377" indent="0">
              <a:buNone/>
              <a:defRPr sz="900"/>
            </a:lvl7pPr>
            <a:lvl8pPr marL="3199440" indent="0">
              <a:buNone/>
              <a:defRPr sz="900"/>
            </a:lvl8pPr>
            <a:lvl9pPr marL="3656503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>
            <a:normAutofit/>
          </a:bodyPr>
          <a:lstStyle/>
          <a:p>
            <a:r>
              <a:rPr lang="en-US">
                <a:solidFill>
                  <a:srgbClr val="666666"/>
                </a:solidFill>
              </a:rPr>
              <a:t>PPG Confidenti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/>
          </a:bodyPr>
          <a:lstStyle/>
          <a:p>
            <a:fld id="{FD9C4343-C115-504A-8D4F-0B17318D4A48}" type="slidenum">
              <a:rPr lang="en-US" smtClean="0">
                <a:solidFill>
                  <a:srgbClr val="666666"/>
                </a:solidFill>
              </a:rPr>
              <a:pPr/>
              <a:t>‹#›</a:t>
            </a:fld>
            <a:endParaRPr lang="en-US">
              <a:solidFill>
                <a:srgbClr val="666666"/>
              </a:solidFill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>
          <a:xfrm>
            <a:off x="4450080" y="228600"/>
            <a:ext cx="7484679" cy="5673726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16388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65245" y="5179150"/>
            <a:ext cx="11670783" cy="723183"/>
          </a:xfrm>
        </p:spPr>
        <p:txBody>
          <a:bodyPr/>
          <a:lstStyle>
            <a:lvl1pPr marL="0" indent="0">
              <a:buNone/>
              <a:defRPr sz="1400"/>
            </a:lvl1pPr>
            <a:lvl2pPr marL="457063" indent="0">
              <a:buNone/>
              <a:defRPr sz="1200"/>
            </a:lvl2pPr>
            <a:lvl3pPr marL="914126" indent="0">
              <a:buNone/>
              <a:defRPr sz="1000"/>
            </a:lvl3pPr>
            <a:lvl4pPr marL="1371189" indent="0">
              <a:buNone/>
              <a:defRPr sz="900"/>
            </a:lvl4pPr>
            <a:lvl5pPr marL="1828251" indent="0">
              <a:buNone/>
              <a:defRPr sz="900"/>
            </a:lvl5pPr>
            <a:lvl6pPr marL="2285314" indent="0">
              <a:buNone/>
              <a:defRPr sz="900"/>
            </a:lvl6pPr>
            <a:lvl7pPr marL="2742377" indent="0">
              <a:buNone/>
              <a:defRPr sz="900"/>
            </a:lvl7pPr>
            <a:lvl8pPr marL="3199440" indent="0">
              <a:buNone/>
              <a:defRPr sz="900"/>
            </a:lvl8pPr>
            <a:lvl9pPr marL="3656503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666666"/>
                </a:solidFill>
              </a:rPr>
              <a:t>PPG Confidenti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9C4343-C115-504A-8D4F-0B17318D4A48}" type="slidenum">
              <a:rPr lang="en-US" smtClean="0">
                <a:solidFill>
                  <a:srgbClr val="666666"/>
                </a:solidFill>
              </a:rPr>
              <a:pPr/>
              <a:t>‹#›</a:t>
            </a:fld>
            <a:endParaRPr lang="en-US">
              <a:solidFill>
                <a:srgbClr val="666666"/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265244" y="1179584"/>
            <a:ext cx="11670783" cy="390024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3"/>
          <p:cNvSpPr>
            <a:spLocks noGrp="1"/>
          </p:cNvSpPr>
          <p:nvPr>
            <p:ph type="title"/>
          </p:nvPr>
        </p:nvSpPr>
        <p:spPr>
          <a:xfrm>
            <a:off x="265244" y="228598"/>
            <a:ext cx="11670783" cy="8595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989335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0839986" y="6073142"/>
            <a:ext cx="1097116" cy="71554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sz="1799">
              <a:solidFill>
                <a:prstClr val="white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40399" y="1797879"/>
            <a:ext cx="6711205" cy="3309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662983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51692" y="6387123"/>
            <a:ext cx="2117752" cy="279544"/>
          </a:xfrm>
          <a:prstGeom prst="rect">
            <a:avLst/>
          </a:prstGeom>
        </p:spPr>
        <p:txBody>
          <a:bodyPr vert="horz" lIns="0" tIns="0" rIns="91440" bIns="0" rtlCol="0" anchor="t" anchorCtr="0"/>
          <a:lstStyle>
            <a:lvl1pPr algn="l">
              <a:defRPr sz="1000" b="0" i="0">
                <a:solidFill>
                  <a:schemeClr val="tx1">
                    <a:tint val="75000"/>
                  </a:schemeClr>
                </a:solidFill>
                <a:latin typeface="Arial" charset="0"/>
              </a:defRPr>
            </a:lvl1pPr>
          </a:lstStyle>
          <a:p>
            <a:fld id="{1860EE3E-6D0A-6942-A3BC-30B328A6761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6" name="Picture 5"/>
          <p:cNvPicPr>
            <a:picLocks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182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845261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6"/>
            <a:ext cx="2844800" cy="365125"/>
          </a:xfrm>
          <a:prstGeom prst="rect">
            <a:avLst/>
          </a:prstGeom>
        </p:spPr>
        <p:txBody>
          <a:bodyPr/>
          <a:lstStyle/>
          <a:p>
            <a:pPr defTabSz="457200"/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1" y="6356356"/>
            <a:ext cx="3860800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666666"/>
                </a:solidFill>
              </a:rPr>
              <a:t>PPG Confidential</a:t>
            </a:r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0A4C7D-DDC2-A442-A7E4-DDFBE783B0DB}" type="slidenum">
              <a:rPr lang="en-US" smtClean="0">
                <a:solidFill>
                  <a:srgbClr val="666666"/>
                </a:solidFill>
              </a:rPr>
              <a:pPr/>
              <a:t>‹#›</a:t>
            </a:fld>
            <a:endParaRPr lang="en-US">
              <a:solidFill>
                <a:srgbClr val="666666"/>
              </a:solidFill>
            </a:endParaRPr>
          </a:p>
        </p:txBody>
      </p:sp>
      <p:pic>
        <p:nvPicPr>
          <p:cNvPr id="7" name="Picture 6" descr="main page PPT.jpg"/>
          <p:cNvPicPr>
            <a:picLocks noChangeAspect="1"/>
          </p:cNvPicPr>
          <p:nvPr userDrawn="1"/>
        </p:nvPicPr>
        <p:blipFill rotWithShape="1">
          <a:blip r:embed="rId2" cstate="email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 flipH="1">
            <a:off x="1" y="659778"/>
            <a:ext cx="12254715" cy="45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520645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: 3 Photos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97401" y="341315"/>
            <a:ext cx="7035798" cy="97948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7401" y="1479552"/>
            <a:ext cx="7035798" cy="452596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xfrm>
            <a:off x="8788400" y="0"/>
            <a:ext cx="2844800" cy="2476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457200"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73568" y="6092825"/>
            <a:ext cx="342900" cy="476250"/>
          </a:xfrm>
          <a:ln/>
        </p:spPr>
        <p:txBody>
          <a:bodyPr/>
          <a:lstStyle>
            <a:lvl1pPr algn="l">
              <a:defRPr/>
            </a:lvl1pPr>
          </a:lstStyle>
          <a:p>
            <a:pPr>
              <a:defRPr/>
            </a:pPr>
            <a:fld id="{9E32F1C4-3A09-8240-B0C9-046D023D71E1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698501" y="552451"/>
            <a:ext cx="3441700" cy="1584183"/>
          </a:xfrm>
          <a:solidFill>
            <a:schemeClr val="bg2">
              <a:lumMod val="90000"/>
            </a:schemeClr>
          </a:solidFill>
          <a:ln w="44450">
            <a:solidFill>
              <a:srgbClr val="FFFFFF"/>
            </a:solidFill>
          </a:ln>
          <a:effectLst>
            <a:outerShdw blurRad="76200" dist="38100" dir="8100000" algn="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 typeface="Arial" pitchFamily="34" charset="0"/>
              <a:buNone/>
              <a:defRPr sz="1400"/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711200" y="2338388"/>
            <a:ext cx="3441700" cy="1584183"/>
          </a:xfrm>
          <a:solidFill>
            <a:schemeClr val="bg2">
              <a:lumMod val="90000"/>
            </a:schemeClr>
          </a:solidFill>
          <a:ln w="44450">
            <a:solidFill>
              <a:srgbClr val="FFFFFF"/>
            </a:solidFill>
          </a:ln>
          <a:effectLst>
            <a:outerShdw blurRad="76200" dist="38100" dir="8100000" algn="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 typeface="Arial" pitchFamily="34" charset="0"/>
              <a:buNone/>
              <a:defRPr sz="1400"/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698501" y="4124326"/>
            <a:ext cx="3441700" cy="1584183"/>
          </a:xfrm>
          <a:solidFill>
            <a:schemeClr val="bg2">
              <a:lumMod val="90000"/>
            </a:schemeClr>
          </a:solidFill>
          <a:ln w="44450">
            <a:solidFill>
              <a:srgbClr val="FFFFFF"/>
            </a:solidFill>
          </a:ln>
          <a:effectLst>
            <a:outerShdw blurRad="76200" dist="38100" dir="8100000" algn="tr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 typeface="Arial" pitchFamily="34" charset="0"/>
              <a:buNone/>
              <a:defRPr sz="1400"/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11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647700" y="6203952"/>
            <a:ext cx="3860800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>
                <a:solidFill>
                  <a:srgbClr val="000000">
                    <a:tint val="75000"/>
                  </a:srgbClr>
                </a:solidFill>
                <a:ea typeface="ＭＳ Ｐゴシック" pitchFamily="34" charset="-128"/>
                <a:cs typeface="Arial" charset="0"/>
              </a:rPr>
              <a:t>PPG Confidential</a:t>
            </a:r>
            <a:endParaRPr lang="en-US" dirty="0">
              <a:solidFill>
                <a:srgbClr val="000000">
                  <a:tint val="75000"/>
                </a:srgbClr>
              </a:solidFill>
              <a:ea typeface="ＭＳ Ｐゴシック" pitchFamily="34" charset="-128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558533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6" progId="TCLayout.ActiveDocument.1">
                  <p:embed/>
                </p:oleObj>
              </mc:Choice>
              <mc:Fallback>
                <p:oleObj name="think-cell Slide" r:id="rId3" imgW="347" imgH="34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28749" y="2947138"/>
            <a:ext cx="8457972" cy="984333"/>
          </a:xfrm>
        </p:spPr>
        <p:txBody>
          <a:bodyPr anchor="b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28749" y="3999208"/>
            <a:ext cx="8457972" cy="640767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28746" y="4779112"/>
            <a:ext cx="3303863" cy="3651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1000">
                <a:solidFill>
                  <a:schemeClr val="tx1"/>
                </a:solidFill>
                <a:latin typeface="+mn-lt"/>
                <a:cs typeface="Arial"/>
              </a:defRPr>
            </a:lvl1pPr>
          </a:lstStyle>
          <a:p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737FA42-C06C-4BE0-AE35-B6EF2728CBF5}"/>
              </a:ext>
            </a:extLst>
          </p:cNvPr>
          <p:cNvSpPr/>
          <p:nvPr userDrawn="1"/>
        </p:nvSpPr>
        <p:spPr>
          <a:xfrm>
            <a:off x="8485839" y="966"/>
            <a:ext cx="3706163" cy="48212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3" name="Rectangle 3">
            <a:extLst>
              <a:ext uri="{FF2B5EF4-FFF2-40B4-BE49-F238E27FC236}">
                <a16:creationId xmlns:a16="http://schemas.microsoft.com/office/drawing/2014/main" id="{9FCFEBA5-E832-4F45-9A7E-E488F4C2670A}"/>
              </a:ext>
            </a:extLst>
          </p:cNvPr>
          <p:cNvSpPr/>
          <p:nvPr userDrawn="1"/>
        </p:nvSpPr>
        <p:spPr>
          <a:xfrm>
            <a:off x="4" y="316"/>
            <a:ext cx="9077241" cy="482776"/>
          </a:xfrm>
          <a:custGeom>
            <a:avLst/>
            <a:gdLst>
              <a:gd name="connsiteX0" fmla="*/ 0 w 6709251"/>
              <a:gd name="connsiteY0" fmla="*/ 0 h 182880"/>
              <a:gd name="connsiteX1" fmla="*/ 6709251 w 6709251"/>
              <a:gd name="connsiteY1" fmla="*/ 0 h 182880"/>
              <a:gd name="connsiteX2" fmla="*/ 6709251 w 6709251"/>
              <a:gd name="connsiteY2" fmla="*/ 182880 h 182880"/>
              <a:gd name="connsiteX3" fmla="*/ 0 w 6709251"/>
              <a:gd name="connsiteY3" fmla="*/ 182880 h 182880"/>
              <a:gd name="connsiteX4" fmla="*/ 0 w 6709251"/>
              <a:gd name="connsiteY4" fmla="*/ 0 h 182880"/>
              <a:gd name="connsiteX0" fmla="*/ 0 w 7073510"/>
              <a:gd name="connsiteY0" fmla="*/ 0 h 182880"/>
              <a:gd name="connsiteX1" fmla="*/ 7073510 w 7073510"/>
              <a:gd name="connsiteY1" fmla="*/ 0 h 182880"/>
              <a:gd name="connsiteX2" fmla="*/ 6709251 w 7073510"/>
              <a:gd name="connsiteY2" fmla="*/ 182880 h 182880"/>
              <a:gd name="connsiteX3" fmla="*/ 0 w 7073510"/>
              <a:gd name="connsiteY3" fmla="*/ 182880 h 182880"/>
              <a:gd name="connsiteX4" fmla="*/ 0 w 7073510"/>
              <a:gd name="connsiteY4" fmla="*/ 0 h 182880"/>
              <a:gd name="connsiteX0" fmla="*/ 0 w 8678702"/>
              <a:gd name="connsiteY0" fmla="*/ 0 h 182880"/>
              <a:gd name="connsiteX1" fmla="*/ 8678702 w 8678702"/>
              <a:gd name="connsiteY1" fmla="*/ 0 h 182880"/>
              <a:gd name="connsiteX2" fmla="*/ 8314443 w 8678702"/>
              <a:gd name="connsiteY2" fmla="*/ 182880 h 182880"/>
              <a:gd name="connsiteX3" fmla="*/ 1605192 w 8678702"/>
              <a:gd name="connsiteY3" fmla="*/ 182880 h 182880"/>
              <a:gd name="connsiteX4" fmla="*/ 0 w 8678702"/>
              <a:gd name="connsiteY4" fmla="*/ 0 h 182880"/>
              <a:gd name="connsiteX0" fmla="*/ 0 w 8678702"/>
              <a:gd name="connsiteY0" fmla="*/ 0 h 186220"/>
              <a:gd name="connsiteX1" fmla="*/ 8678702 w 8678702"/>
              <a:gd name="connsiteY1" fmla="*/ 0 h 186220"/>
              <a:gd name="connsiteX2" fmla="*/ 8314443 w 8678702"/>
              <a:gd name="connsiteY2" fmla="*/ 182880 h 186220"/>
              <a:gd name="connsiteX3" fmla="*/ 6661 w 8678702"/>
              <a:gd name="connsiteY3" fmla="*/ 186220 h 186220"/>
              <a:gd name="connsiteX4" fmla="*/ 0 w 8678702"/>
              <a:gd name="connsiteY4" fmla="*/ 0 h 186220"/>
              <a:gd name="connsiteX0" fmla="*/ 133211 w 8672041"/>
              <a:gd name="connsiteY0" fmla="*/ 50097 h 186220"/>
              <a:gd name="connsiteX1" fmla="*/ 8672041 w 8672041"/>
              <a:gd name="connsiteY1" fmla="*/ 0 h 186220"/>
              <a:gd name="connsiteX2" fmla="*/ 8307782 w 8672041"/>
              <a:gd name="connsiteY2" fmla="*/ 182880 h 186220"/>
              <a:gd name="connsiteX3" fmla="*/ 0 w 8672041"/>
              <a:gd name="connsiteY3" fmla="*/ 186220 h 186220"/>
              <a:gd name="connsiteX4" fmla="*/ 133211 w 8672041"/>
              <a:gd name="connsiteY4" fmla="*/ 50097 h 186220"/>
              <a:gd name="connsiteX0" fmla="*/ 3330 w 8672041"/>
              <a:gd name="connsiteY0" fmla="*/ 3340 h 186220"/>
              <a:gd name="connsiteX1" fmla="*/ 8672041 w 8672041"/>
              <a:gd name="connsiteY1" fmla="*/ 0 h 186220"/>
              <a:gd name="connsiteX2" fmla="*/ 8307782 w 8672041"/>
              <a:gd name="connsiteY2" fmla="*/ 182880 h 186220"/>
              <a:gd name="connsiteX3" fmla="*/ 0 w 8672041"/>
              <a:gd name="connsiteY3" fmla="*/ 186220 h 186220"/>
              <a:gd name="connsiteX4" fmla="*/ 3330 w 8672041"/>
              <a:gd name="connsiteY4" fmla="*/ 3340 h 186220"/>
              <a:gd name="connsiteX0" fmla="*/ 3330 w 8672041"/>
              <a:gd name="connsiteY0" fmla="*/ 3340 h 186220"/>
              <a:gd name="connsiteX1" fmla="*/ 8672041 w 8672041"/>
              <a:gd name="connsiteY1" fmla="*/ 0 h 186220"/>
              <a:gd name="connsiteX2" fmla="*/ 8307782 w 8672041"/>
              <a:gd name="connsiteY2" fmla="*/ 182880 h 186220"/>
              <a:gd name="connsiteX3" fmla="*/ 0 w 8672041"/>
              <a:gd name="connsiteY3" fmla="*/ 186220 h 186220"/>
              <a:gd name="connsiteX4" fmla="*/ 3330 w 8672041"/>
              <a:gd name="connsiteY4" fmla="*/ 3340 h 186220"/>
              <a:gd name="connsiteX0" fmla="*/ 0 w 8674979"/>
              <a:gd name="connsiteY0" fmla="*/ 3340 h 186220"/>
              <a:gd name="connsiteX1" fmla="*/ 8674979 w 8674979"/>
              <a:gd name="connsiteY1" fmla="*/ 0 h 186220"/>
              <a:gd name="connsiteX2" fmla="*/ 8310720 w 8674979"/>
              <a:gd name="connsiteY2" fmla="*/ 182880 h 186220"/>
              <a:gd name="connsiteX3" fmla="*/ 2938 w 8674979"/>
              <a:gd name="connsiteY3" fmla="*/ 186220 h 186220"/>
              <a:gd name="connsiteX4" fmla="*/ 0 w 8674979"/>
              <a:gd name="connsiteY4" fmla="*/ 3340 h 186220"/>
              <a:gd name="connsiteX0" fmla="*/ 0 w 8674979"/>
              <a:gd name="connsiteY0" fmla="*/ 0 h 189166"/>
              <a:gd name="connsiteX1" fmla="*/ 8674979 w 8674979"/>
              <a:gd name="connsiteY1" fmla="*/ 2946 h 189166"/>
              <a:gd name="connsiteX2" fmla="*/ 8310720 w 8674979"/>
              <a:gd name="connsiteY2" fmla="*/ 185826 h 189166"/>
              <a:gd name="connsiteX3" fmla="*/ 2938 w 8674979"/>
              <a:gd name="connsiteY3" fmla="*/ 189166 h 189166"/>
              <a:gd name="connsiteX4" fmla="*/ 0 w 8674979"/>
              <a:gd name="connsiteY4" fmla="*/ 0 h 189166"/>
              <a:gd name="connsiteX0" fmla="*/ 0 w 8674979"/>
              <a:gd name="connsiteY0" fmla="*/ 444 h 189610"/>
              <a:gd name="connsiteX1" fmla="*/ 8674979 w 8674979"/>
              <a:gd name="connsiteY1" fmla="*/ 0 h 189610"/>
              <a:gd name="connsiteX2" fmla="*/ 8310720 w 8674979"/>
              <a:gd name="connsiteY2" fmla="*/ 186270 h 189610"/>
              <a:gd name="connsiteX3" fmla="*/ 2938 w 8674979"/>
              <a:gd name="connsiteY3" fmla="*/ 189610 h 189610"/>
              <a:gd name="connsiteX4" fmla="*/ 0 w 8674979"/>
              <a:gd name="connsiteY4" fmla="*/ 444 h 189610"/>
              <a:gd name="connsiteX0" fmla="*/ 0 w 8674979"/>
              <a:gd name="connsiteY0" fmla="*/ 444 h 189660"/>
              <a:gd name="connsiteX1" fmla="*/ 8674979 w 8674979"/>
              <a:gd name="connsiteY1" fmla="*/ 0 h 189660"/>
              <a:gd name="connsiteX2" fmla="*/ 8310720 w 8674979"/>
              <a:gd name="connsiteY2" fmla="*/ 189660 h 189660"/>
              <a:gd name="connsiteX3" fmla="*/ 2938 w 8674979"/>
              <a:gd name="connsiteY3" fmla="*/ 189610 h 189660"/>
              <a:gd name="connsiteX4" fmla="*/ 0 w 8674979"/>
              <a:gd name="connsiteY4" fmla="*/ 444 h 189660"/>
              <a:gd name="connsiteX0" fmla="*/ 0 w 10119577"/>
              <a:gd name="connsiteY0" fmla="*/ 0 h 189216"/>
              <a:gd name="connsiteX1" fmla="*/ 10119577 w 10119577"/>
              <a:gd name="connsiteY1" fmla="*/ 686 h 189216"/>
              <a:gd name="connsiteX2" fmla="*/ 8310720 w 10119577"/>
              <a:gd name="connsiteY2" fmla="*/ 189216 h 189216"/>
              <a:gd name="connsiteX3" fmla="*/ 2938 w 10119577"/>
              <a:gd name="connsiteY3" fmla="*/ 189166 h 189216"/>
              <a:gd name="connsiteX4" fmla="*/ 0 w 10119577"/>
              <a:gd name="connsiteY4" fmla="*/ 0 h 189216"/>
              <a:gd name="connsiteX0" fmla="*/ 0 w 10119577"/>
              <a:gd name="connsiteY0" fmla="*/ 173 h 189389"/>
              <a:gd name="connsiteX1" fmla="*/ 10119577 w 10119577"/>
              <a:gd name="connsiteY1" fmla="*/ 0 h 189389"/>
              <a:gd name="connsiteX2" fmla="*/ 8310720 w 10119577"/>
              <a:gd name="connsiteY2" fmla="*/ 189389 h 189389"/>
              <a:gd name="connsiteX3" fmla="*/ 2938 w 10119577"/>
              <a:gd name="connsiteY3" fmla="*/ 189339 h 189389"/>
              <a:gd name="connsiteX4" fmla="*/ 0 w 10119577"/>
              <a:gd name="connsiteY4" fmla="*/ 173 h 189389"/>
              <a:gd name="connsiteX0" fmla="*/ 10004 w 10129581"/>
              <a:gd name="connsiteY0" fmla="*/ 173 h 189389"/>
              <a:gd name="connsiteX1" fmla="*/ 10129581 w 10129581"/>
              <a:gd name="connsiteY1" fmla="*/ 0 h 189389"/>
              <a:gd name="connsiteX2" fmla="*/ 8320724 w 10129581"/>
              <a:gd name="connsiteY2" fmla="*/ 189389 h 189389"/>
              <a:gd name="connsiteX3" fmla="*/ 57 w 10129581"/>
              <a:gd name="connsiteY3" fmla="*/ 189339 h 189389"/>
              <a:gd name="connsiteX4" fmla="*/ 10004 w 10129581"/>
              <a:gd name="connsiteY4" fmla="*/ 173 h 189389"/>
              <a:gd name="connsiteX0" fmla="*/ 9947 w 10129524"/>
              <a:gd name="connsiteY0" fmla="*/ 173 h 189389"/>
              <a:gd name="connsiteX1" fmla="*/ 10129524 w 10129524"/>
              <a:gd name="connsiteY1" fmla="*/ 0 h 189389"/>
              <a:gd name="connsiteX2" fmla="*/ 8320667 w 10129524"/>
              <a:gd name="connsiteY2" fmla="*/ 189389 h 189389"/>
              <a:gd name="connsiteX3" fmla="*/ 0 w 10129524"/>
              <a:gd name="connsiteY3" fmla="*/ 189339 h 189389"/>
              <a:gd name="connsiteX4" fmla="*/ 9947 w 10129524"/>
              <a:gd name="connsiteY4" fmla="*/ 173 h 189389"/>
              <a:gd name="connsiteX0" fmla="*/ 9947 w 10129524"/>
              <a:gd name="connsiteY0" fmla="*/ 173 h 189389"/>
              <a:gd name="connsiteX1" fmla="*/ 10129524 w 10129524"/>
              <a:gd name="connsiteY1" fmla="*/ 0 h 189389"/>
              <a:gd name="connsiteX2" fmla="*/ 8320667 w 10129524"/>
              <a:gd name="connsiteY2" fmla="*/ 189389 h 189389"/>
              <a:gd name="connsiteX3" fmla="*/ 0 w 10129524"/>
              <a:gd name="connsiteY3" fmla="*/ 189339 h 189389"/>
              <a:gd name="connsiteX4" fmla="*/ 9947 w 10129524"/>
              <a:gd name="connsiteY4" fmla="*/ 173 h 189389"/>
              <a:gd name="connsiteX0" fmla="*/ 0 w 10119577"/>
              <a:gd name="connsiteY0" fmla="*/ 173 h 189389"/>
              <a:gd name="connsiteX1" fmla="*/ 10119577 w 10119577"/>
              <a:gd name="connsiteY1" fmla="*/ 0 h 189389"/>
              <a:gd name="connsiteX2" fmla="*/ 8310720 w 10119577"/>
              <a:gd name="connsiteY2" fmla="*/ 189389 h 189389"/>
              <a:gd name="connsiteX3" fmla="*/ 15823 w 10119577"/>
              <a:gd name="connsiteY3" fmla="*/ 189339 h 189389"/>
              <a:gd name="connsiteX4" fmla="*/ 0 w 10119577"/>
              <a:gd name="connsiteY4" fmla="*/ 173 h 189389"/>
              <a:gd name="connsiteX0" fmla="*/ 0 w 10119577"/>
              <a:gd name="connsiteY0" fmla="*/ 173 h 189389"/>
              <a:gd name="connsiteX1" fmla="*/ 10119577 w 10119577"/>
              <a:gd name="connsiteY1" fmla="*/ 0 h 189389"/>
              <a:gd name="connsiteX2" fmla="*/ 8310720 w 10119577"/>
              <a:gd name="connsiteY2" fmla="*/ 189389 h 189389"/>
              <a:gd name="connsiteX3" fmla="*/ 2938 w 10119577"/>
              <a:gd name="connsiteY3" fmla="*/ 189339 h 189389"/>
              <a:gd name="connsiteX4" fmla="*/ 0 w 10119577"/>
              <a:gd name="connsiteY4" fmla="*/ 173 h 189389"/>
              <a:gd name="connsiteX0" fmla="*/ 0 w 21540281"/>
              <a:gd name="connsiteY0" fmla="*/ 9120 h 189389"/>
              <a:gd name="connsiteX1" fmla="*/ 21540281 w 21540281"/>
              <a:gd name="connsiteY1" fmla="*/ 0 h 189389"/>
              <a:gd name="connsiteX2" fmla="*/ 19731424 w 21540281"/>
              <a:gd name="connsiteY2" fmla="*/ 189389 h 189389"/>
              <a:gd name="connsiteX3" fmla="*/ 11423642 w 21540281"/>
              <a:gd name="connsiteY3" fmla="*/ 189339 h 189389"/>
              <a:gd name="connsiteX4" fmla="*/ 0 w 21540281"/>
              <a:gd name="connsiteY4" fmla="*/ 9120 h 189389"/>
              <a:gd name="connsiteX0" fmla="*/ 0 w 21540281"/>
              <a:gd name="connsiteY0" fmla="*/ 9120 h 192321"/>
              <a:gd name="connsiteX1" fmla="*/ 21540281 w 21540281"/>
              <a:gd name="connsiteY1" fmla="*/ 0 h 192321"/>
              <a:gd name="connsiteX2" fmla="*/ 19731424 w 21540281"/>
              <a:gd name="connsiteY2" fmla="*/ 189389 h 192321"/>
              <a:gd name="connsiteX3" fmla="*/ 2942 w 21540281"/>
              <a:gd name="connsiteY3" fmla="*/ 192321 h 192321"/>
              <a:gd name="connsiteX4" fmla="*/ 0 w 21540281"/>
              <a:gd name="connsiteY4" fmla="*/ 9120 h 192321"/>
              <a:gd name="connsiteX0" fmla="*/ 0 w 21540281"/>
              <a:gd name="connsiteY0" fmla="*/ 6138 h 192321"/>
              <a:gd name="connsiteX1" fmla="*/ 21540281 w 21540281"/>
              <a:gd name="connsiteY1" fmla="*/ 0 h 192321"/>
              <a:gd name="connsiteX2" fmla="*/ 19731424 w 21540281"/>
              <a:gd name="connsiteY2" fmla="*/ 189389 h 192321"/>
              <a:gd name="connsiteX3" fmla="*/ 2942 w 21540281"/>
              <a:gd name="connsiteY3" fmla="*/ 192321 h 192321"/>
              <a:gd name="connsiteX4" fmla="*/ 0 w 21540281"/>
              <a:gd name="connsiteY4" fmla="*/ 6138 h 192321"/>
              <a:gd name="connsiteX0" fmla="*/ 2579162 w 24119443"/>
              <a:gd name="connsiteY0" fmla="*/ 6138 h 192321"/>
              <a:gd name="connsiteX1" fmla="*/ 24119443 w 24119443"/>
              <a:gd name="connsiteY1" fmla="*/ 0 h 192321"/>
              <a:gd name="connsiteX2" fmla="*/ 22310586 w 24119443"/>
              <a:gd name="connsiteY2" fmla="*/ 189389 h 192321"/>
              <a:gd name="connsiteX3" fmla="*/ 2582104 w 24119443"/>
              <a:gd name="connsiteY3" fmla="*/ 192321 h 192321"/>
              <a:gd name="connsiteX4" fmla="*/ 2579162 w 24119443"/>
              <a:gd name="connsiteY4" fmla="*/ 6138 h 192321"/>
              <a:gd name="connsiteX0" fmla="*/ 1459081 w 22999362"/>
              <a:gd name="connsiteY0" fmla="*/ 6138 h 192321"/>
              <a:gd name="connsiteX1" fmla="*/ 22999362 w 22999362"/>
              <a:gd name="connsiteY1" fmla="*/ 0 h 192321"/>
              <a:gd name="connsiteX2" fmla="*/ 21190505 w 22999362"/>
              <a:gd name="connsiteY2" fmla="*/ 189389 h 192321"/>
              <a:gd name="connsiteX3" fmla="*/ 1462023 w 22999362"/>
              <a:gd name="connsiteY3" fmla="*/ 192321 h 192321"/>
              <a:gd name="connsiteX4" fmla="*/ 1459081 w 22999362"/>
              <a:gd name="connsiteY4" fmla="*/ 6138 h 192321"/>
              <a:gd name="connsiteX0" fmla="*/ 2579108 w 24119389"/>
              <a:gd name="connsiteY0" fmla="*/ 6138 h 192321"/>
              <a:gd name="connsiteX1" fmla="*/ 24119389 w 24119389"/>
              <a:gd name="connsiteY1" fmla="*/ 0 h 192321"/>
              <a:gd name="connsiteX2" fmla="*/ 22310532 w 24119389"/>
              <a:gd name="connsiteY2" fmla="*/ 189389 h 192321"/>
              <a:gd name="connsiteX3" fmla="*/ 2582050 w 24119389"/>
              <a:gd name="connsiteY3" fmla="*/ 192321 h 192321"/>
              <a:gd name="connsiteX4" fmla="*/ 2579108 w 24119389"/>
              <a:gd name="connsiteY4" fmla="*/ 6138 h 192321"/>
              <a:gd name="connsiteX0" fmla="*/ 1594923 w 23135204"/>
              <a:gd name="connsiteY0" fmla="*/ 6138 h 192321"/>
              <a:gd name="connsiteX1" fmla="*/ 23135204 w 23135204"/>
              <a:gd name="connsiteY1" fmla="*/ 0 h 192321"/>
              <a:gd name="connsiteX2" fmla="*/ 21326347 w 23135204"/>
              <a:gd name="connsiteY2" fmla="*/ 189389 h 192321"/>
              <a:gd name="connsiteX3" fmla="*/ 1597865 w 23135204"/>
              <a:gd name="connsiteY3" fmla="*/ 192321 h 192321"/>
              <a:gd name="connsiteX4" fmla="*/ 1594923 w 23135204"/>
              <a:gd name="connsiteY4" fmla="*/ 6138 h 192321"/>
              <a:gd name="connsiteX0" fmla="*/ 1 w 21540282"/>
              <a:gd name="connsiteY0" fmla="*/ 6138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3 w 21540282"/>
              <a:gd name="connsiteY3" fmla="*/ 192321 h 192321"/>
              <a:gd name="connsiteX4" fmla="*/ 1 w 21540282"/>
              <a:gd name="connsiteY4" fmla="*/ 6138 h 192321"/>
              <a:gd name="connsiteX0" fmla="*/ 0 w 21540282"/>
              <a:gd name="connsiteY0" fmla="*/ 3156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3 w 21540282"/>
              <a:gd name="connsiteY3" fmla="*/ 192321 h 192321"/>
              <a:gd name="connsiteX4" fmla="*/ 0 w 21540282"/>
              <a:gd name="connsiteY4" fmla="*/ 3156 h 192321"/>
              <a:gd name="connsiteX0" fmla="*/ 0 w 21540282"/>
              <a:gd name="connsiteY0" fmla="*/ 347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3 w 21540282"/>
              <a:gd name="connsiteY3" fmla="*/ 192321 h 192321"/>
              <a:gd name="connsiteX4" fmla="*/ 0 w 21540282"/>
              <a:gd name="connsiteY4" fmla="*/ 347 h 192321"/>
              <a:gd name="connsiteX0" fmla="*/ 0 w 21540282"/>
              <a:gd name="connsiteY0" fmla="*/ 347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2 w 21540282"/>
              <a:gd name="connsiteY3" fmla="*/ 192321 h 192321"/>
              <a:gd name="connsiteX4" fmla="*/ 0 w 21540282"/>
              <a:gd name="connsiteY4" fmla="*/ 347 h 192321"/>
              <a:gd name="connsiteX0" fmla="*/ 0 w 21540282"/>
              <a:gd name="connsiteY0" fmla="*/ 347 h 189512"/>
              <a:gd name="connsiteX1" fmla="*/ 21540282 w 21540282"/>
              <a:gd name="connsiteY1" fmla="*/ 0 h 189512"/>
              <a:gd name="connsiteX2" fmla="*/ 19731425 w 21540282"/>
              <a:gd name="connsiteY2" fmla="*/ 189389 h 189512"/>
              <a:gd name="connsiteX3" fmla="*/ 2942 w 21540282"/>
              <a:gd name="connsiteY3" fmla="*/ 189512 h 189512"/>
              <a:gd name="connsiteX4" fmla="*/ 0 w 21540282"/>
              <a:gd name="connsiteY4" fmla="*/ 347 h 189512"/>
              <a:gd name="connsiteX0" fmla="*/ 0 w 20903501"/>
              <a:gd name="connsiteY0" fmla="*/ 347 h 189512"/>
              <a:gd name="connsiteX1" fmla="*/ 20903501 w 20903501"/>
              <a:gd name="connsiteY1" fmla="*/ 0 h 189512"/>
              <a:gd name="connsiteX2" fmla="*/ 19731425 w 20903501"/>
              <a:gd name="connsiteY2" fmla="*/ 189389 h 189512"/>
              <a:gd name="connsiteX3" fmla="*/ 2942 w 20903501"/>
              <a:gd name="connsiteY3" fmla="*/ 189512 h 189512"/>
              <a:gd name="connsiteX4" fmla="*/ 0 w 20903501"/>
              <a:gd name="connsiteY4" fmla="*/ 347 h 189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903501" h="189512">
                <a:moveTo>
                  <a:pt x="0" y="347"/>
                </a:moveTo>
                <a:lnTo>
                  <a:pt x="20903501" y="0"/>
                </a:lnTo>
                <a:lnTo>
                  <a:pt x="19731425" y="189389"/>
                </a:lnTo>
                <a:lnTo>
                  <a:pt x="2942" y="189512"/>
                </a:lnTo>
                <a:cubicBezTo>
                  <a:pt x="1961" y="125521"/>
                  <a:pt x="981" y="64338"/>
                  <a:pt x="0" y="34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D73029C-0483-4D1E-9570-E37B820BB1A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31501" y="6004139"/>
            <a:ext cx="1208087" cy="7025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231216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6" progId="TCLayout.ActiveDocument.1">
                  <p:embed/>
                </p:oleObj>
              </mc:Choice>
              <mc:Fallback>
                <p:oleObj name="think-cell Slide" r:id="rId3" imgW="347" imgH="34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D9C4343-C115-504A-8D4F-0B17318D4A4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28750" y="1274826"/>
            <a:ext cx="11670783" cy="47132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itle 3"/>
          <p:cNvSpPr>
            <a:spLocks noGrp="1"/>
          </p:cNvSpPr>
          <p:nvPr>
            <p:ph type="title"/>
          </p:nvPr>
        </p:nvSpPr>
        <p:spPr>
          <a:xfrm>
            <a:off x="328750" y="323848"/>
            <a:ext cx="11670783" cy="8595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679671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6" progId="TCLayout.ActiveDocument.1">
                  <p:embed/>
                </p:oleObj>
              </mc:Choice>
              <mc:Fallback>
                <p:oleObj name="think-cell Slide" r:id="rId3" imgW="347" imgH="34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D9C4343-C115-504A-8D4F-0B17318D4A4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12883" y="1274826"/>
            <a:ext cx="11670783" cy="4713224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itle 3"/>
          <p:cNvSpPr>
            <a:spLocks noGrp="1"/>
          </p:cNvSpPr>
          <p:nvPr>
            <p:ph type="title"/>
          </p:nvPr>
        </p:nvSpPr>
        <p:spPr>
          <a:xfrm>
            <a:off x="312883" y="323848"/>
            <a:ext cx="11670783" cy="85953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838979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2883" y="323850"/>
            <a:ext cx="11670783" cy="8595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9C4343-C115-504A-8D4F-0B17318D4A48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3"/>
          </p:nvPr>
        </p:nvSpPr>
        <p:spPr>
          <a:xfrm>
            <a:off x="312882" y="1274826"/>
            <a:ext cx="5701471" cy="4713224"/>
          </a:xfrm>
        </p:spPr>
        <p:txBody>
          <a:bodyPr/>
          <a:lstStyle>
            <a:lvl8pPr>
              <a:defRPr baseline="0"/>
            </a:lvl8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4"/>
          </p:nvPr>
        </p:nvSpPr>
        <p:spPr>
          <a:xfrm>
            <a:off x="6280925" y="1274826"/>
            <a:ext cx="5701471" cy="4713224"/>
          </a:xfrm>
        </p:spPr>
        <p:txBody>
          <a:bodyPr/>
          <a:lstStyle>
            <a:lvl8pPr>
              <a:defRPr baseline="0"/>
            </a:lvl8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402187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w/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3AD9D9EF-93A8-4AD0-9293-A912F1609535}"/>
              </a:ext>
            </a:extLst>
          </p:cNvPr>
          <p:cNvSpPr/>
          <p:nvPr userDrawn="1"/>
        </p:nvSpPr>
        <p:spPr>
          <a:xfrm>
            <a:off x="8485838" y="1411870"/>
            <a:ext cx="3706162" cy="48212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1" name="Rectangle 3">
            <a:extLst>
              <a:ext uri="{FF2B5EF4-FFF2-40B4-BE49-F238E27FC236}">
                <a16:creationId xmlns:a16="http://schemas.microsoft.com/office/drawing/2014/main" id="{69E79D0B-0FBC-4730-8F48-331668759A21}"/>
              </a:ext>
            </a:extLst>
          </p:cNvPr>
          <p:cNvSpPr/>
          <p:nvPr userDrawn="1"/>
        </p:nvSpPr>
        <p:spPr>
          <a:xfrm>
            <a:off x="0" y="1412185"/>
            <a:ext cx="9077242" cy="482776"/>
          </a:xfrm>
          <a:custGeom>
            <a:avLst/>
            <a:gdLst>
              <a:gd name="connsiteX0" fmla="*/ 0 w 6709251"/>
              <a:gd name="connsiteY0" fmla="*/ 0 h 182880"/>
              <a:gd name="connsiteX1" fmla="*/ 6709251 w 6709251"/>
              <a:gd name="connsiteY1" fmla="*/ 0 h 182880"/>
              <a:gd name="connsiteX2" fmla="*/ 6709251 w 6709251"/>
              <a:gd name="connsiteY2" fmla="*/ 182880 h 182880"/>
              <a:gd name="connsiteX3" fmla="*/ 0 w 6709251"/>
              <a:gd name="connsiteY3" fmla="*/ 182880 h 182880"/>
              <a:gd name="connsiteX4" fmla="*/ 0 w 6709251"/>
              <a:gd name="connsiteY4" fmla="*/ 0 h 182880"/>
              <a:gd name="connsiteX0" fmla="*/ 0 w 7073510"/>
              <a:gd name="connsiteY0" fmla="*/ 0 h 182880"/>
              <a:gd name="connsiteX1" fmla="*/ 7073510 w 7073510"/>
              <a:gd name="connsiteY1" fmla="*/ 0 h 182880"/>
              <a:gd name="connsiteX2" fmla="*/ 6709251 w 7073510"/>
              <a:gd name="connsiteY2" fmla="*/ 182880 h 182880"/>
              <a:gd name="connsiteX3" fmla="*/ 0 w 7073510"/>
              <a:gd name="connsiteY3" fmla="*/ 182880 h 182880"/>
              <a:gd name="connsiteX4" fmla="*/ 0 w 7073510"/>
              <a:gd name="connsiteY4" fmla="*/ 0 h 182880"/>
              <a:gd name="connsiteX0" fmla="*/ 0 w 8678702"/>
              <a:gd name="connsiteY0" fmla="*/ 0 h 182880"/>
              <a:gd name="connsiteX1" fmla="*/ 8678702 w 8678702"/>
              <a:gd name="connsiteY1" fmla="*/ 0 h 182880"/>
              <a:gd name="connsiteX2" fmla="*/ 8314443 w 8678702"/>
              <a:gd name="connsiteY2" fmla="*/ 182880 h 182880"/>
              <a:gd name="connsiteX3" fmla="*/ 1605192 w 8678702"/>
              <a:gd name="connsiteY3" fmla="*/ 182880 h 182880"/>
              <a:gd name="connsiteX4" fmla="*/ 0 w 8678702"/>
              <a:gd name="connsiteY4" fmla="*/ 0 h 182880"/>
              <a:gd name="connsiteX0" fmla="*/ 0 w 8678702"/>
              <a:gd name="connsiteY0" fmla="*/ 0 h 186220"/>
              <a:gd name="connsiteX1" fmla="*/ 8678702 w 8678702"/>
              <a:gd name="connsiteY1" fmla="*/ 0 h 186220"/>
              <a:gd name="connsiteX2" fmla="*/ 8314443 w 8678702"/>
              <a:gd name="connsiteY2" fmla="*/ 182880 h 186220"/>
              <a:gd name="connsiteX3" fmla="*/ 6661 w 8678702"/>
              <a:gd name="connsiteY3" fmla="*/ 186220 h 186220"/>
              <a:gd name="connsiteX4" fmla="*/ 0 w 8678702"/>
              <a:gd name="connsiteY4" fmla="*/ 0 h 186220"/>
              <a:gd name="connsiteX0" fmla="*/ 133211 w 8672041"/>
              <a:gd name="connsiteY0" fmla="*/ 50097 h 186220"/>
              <a:gd name="connsiteX1" fmla="*/ 8672041 w 8672041"/>
              <a:gd name="connsiteY1" fmla="*/ 0 h 186220"/>
              <a:gd name="connsiteX2" fmla="*/ 8307782 w 8672041"/>
              <a:gd name="connsiteY2" fmla="*/ 182880 h 186220"/>
              <a:gd name="connsiteX3" fmla="*/ 0 w 8672041"/>
              <a:gd name="connsiteY3" fmla="*/ 186220 h 186220"/>
              <a:gd name="connsiteX4" fmla="*/ 133211 w 8672041"/>
              <a:gd name="connsiteY4" fmla="*/ 50097 h 186220"/>
              <a:gd name="connsiteX0" fmla="*/ 3330 w 8672041"/>
              <a:gd name="connsiteY0" fmla="*/ 3340 h 186220"/>
              <a:gd name="connsiteX1" fmla="*/ 8672041 w 8672041"/>
              <a:gd name="connsiteY1" fmla="*/ 0 h 186220"/>
              <a:gd name="connsiteX2" fmla="*/ 8307782 w 8672041"/>
              <a:gd name="connsiteY2" fmla="*/ 182880 h 186220"/>
              <a:gd name="connsiteX3" fmla="*/ 0 w 8672041"/>
              <a:gd name="connsiteY3" fmla="*/ 186220 h 186220"/>
              <a:gd name="connsiteX4" fmla="*/ 3330 w 8672041"/>
              <a:gd name="connsiteY4" fmla="*/ 3340 h 186220"/>
              <a:gd name="connsiteX0" fmla="*/ 3330 w 8672041"/>
              <a:gd name="connsiteY0" fmla="*/ 3340 h 186220"/>
              <a:gd name="connsiteX1" fmla="*/ 8672041 w 8672041"/>
              <a:gd name="connsiteY1" fmla="*/ 0 h 186220"/>
              <a:gd name="connsiteX2" fmla="*/ 8307782 w 8672041"/>
              <a:gd name="connsiteY2" fmla="*/ 182880 h 186220"/>
              <a:gd name="connsiteX3" fmla="*/ 0 w 8672041"/>
              <a:gd name="connsiteY3" fmla="*/ 186220 h 186220"/>
              <a:gd name="connsiteX4" fmla="*/ 3330 w 8672041"/>
              <a:gd name="connsiteY4" fmla="*/ 3340 h 186220"/>
              <a:gd name="connsiteX0" fmla="*/ 0 w 8674979"/>
              <a:gd name="connsiteY0" fmla="*/ 3340 h 186220"/>
              <a:gd name="connsiteX1" fmla="*/ 8674979 w 8674979"/>
              <a:gd name="connsiteY1" fmla="*/ 0 h 186220"/>
              <a:gd name="connsiteX2" fmla="*/ 8310720 w 8674979"/>
              <a:gd name="connsiteY2" fmla="*/ 182880 h 186220"/>
              <a:gd name="connsiteX3" fmla="*/ 2938 w 8674979"/>
              <a:gd name="connsiteY3" fmla="*/ 186220 h 186220"/>
              <a:gd name="connsiteX4" fmla="*/ 0 w 8674979"/>
              <a:gd name="connsiteY4" fmla="*/ 3340 h 186220"/>
              <a:gd name="connsiteX0" fmla="*/ 0 w 8674979"/>
              <a:gd name="connsiteY0" fmla="*/ 0 h 189166"/>
              <a:gd name="connsiteX1" fmla="*/ 8674979 w 8674979"/>
              <a:gd name="connsiteY1" fmla="*/ 2946 h 189166"/>
              <a:gd name="connsiteX2" fmla="*/ 8310720 w 8674979"/>
              <a:gd name="connsiteY2" fmla="*/ 185826 h 189166"/>
              <a:gd name="connsiteX3" fmla="*/ 2938 w 8674979"/>
              <a:gd name="connsiteY3" fmla="*/ 189166 h 189166"/>
              <a:gd name="connsiteX4" fmla="*/ 0 w 8674979"/>
              <a:gd name="connsiteY4" fmla="*/ 0 h 189166"/>
              <a:gd name="connsiteX0" fmla="*/ 0 w 8674979"/>
              <a:gd name="connsiteY0" fmla="*/ 444 h 189610"/>
              <a:gd name="connsiteX1" fmla="*/ 8674979 w 8674979"/>
              <a:gd name="connsiteY1" fmla="*/ 0 h 189610"/>
              <a:gd name="connsiteX2" fmla="*/ 8310720 w 8674979"/>
              <a:gd name="connsiteY2" fmla="*/ 186270 h 189610"/>
              <a:gd name="connsiteX3" fmla="*/ 2938 w 8674979"/>
              <a:gd name="connsiteY3" fmla="*/ 189610 h 189610"/>
              <a:gd name="connsiteX4" fmla="*/ 0 w 8674979"/>
              <a:gd name="connsiteY4" fmla="*/ 444 h 189610"/>
              <a:gd name="connsiteX0" fmla="*/ 0 w 8674979"/>
              <a:gd name="connsiteY0" fmla="*/ 444 h 189660"/>
              <a:gd name="connsiteX1" fmla="*/ 8674979 w 8674979"/>
              <a:gd name="connsiteY1" fmla="*/ 0 h 189660"/>
              <a:gd name="connsiteX2" fmla="*/ 8310720 w 8674979"/>
              <a:gd name="connsiteY2" fmla="*/ 189660 h 189660"/>
              <a:gd name="connsiteX3" fmla="*/ 2938 w 8674979"/>
              <a:gd name="connsiteY3" fmla="*/ 189610 h 189660"/>
              <a:gd name="connsiteX4" fmla="*/ 0 w 8674979"/>
              <a:gd name="connsiteY4" fmla="*/ 444 h 189660"/>
              <a:gd name="connsiteX0" fmla="*/ 0 w 10119577"/>
              <a:gd name="connsiteY0" fmla="*/ 0 h 189216"/>
              <a:gd name="connsiteX1" fmla="*/ 10119577 w 10119577"/>
              <a:gd name="connsiteY1" fmla="*/ 686 h 189216"/>
              <a:gd name="connsiteX2" fmla="*/ 8310720 w 10119577"/>
              <a:gd name="connsiteY2" fmla="*/ 189216 h 189216"/>
              <a:gd name="connsiteX3" fmla="*/ 2938 w 10119577"/>
              <a:gd name="connsiteY3" fmla="*/ 189166 h 189216"/>
              <a:gd name="connsiteX4" fmla="*/ 0 w 10119577"/>
              <a:gd name="connsiteY4" fmla="*/ 0 h 189216"/>
              <a:gd name="connsiteX0" fmla="*/ 0 w 10119577"/>
              <a:gd name="connsiteY0" fmla="*/ 173 h 189389"/>
              <a:gd name="connsiteX1" fmla="*/ 10119577 w 10119577"/>
              <a:gd name="connsiteY1" fmla="*/ 0 h 189389"/>
              <a:gd name="connsiteX2" fmla="*/ 8310720 w 10119577"/>
              <a:gd name="connsiteY2" fmla="*/ 189389 h 189389"/>
              <a:gd name="connsiteX3" fmla="*/ 2938 w 10119577"/>
              <a:gd name="connsiteY3" fmla="*/ 189339 h 189389"/>
              <a:gd name="connsiteX4" fmla="*/ 0 w 10119577"/>
              <a:gd name="connsiteY4" fmla="*/ 173 h 189389"/>
              <a:gd name="connsiteX0" fmla="*/ 10004 w 10129581"/>
              <a:gd name="connsiteY0" fmla="*/ 173 h 189389"/>
              <a:gd name="connsiteX1" fmla="*/ 10129581 w 10129581"/>
              <a:gd name="connsiteY1" fmla="*/ 0 h 189389"/>
              <a:gd name="connsiteX2" fmla="*/ 8320724 w 10129581"/>
              <a:gd name="connsiteY2" fmla="*/ 189389 h 189389"/>
              <a:gd name="connsiteX3" fmla="*/ 57 w 10129581"/>
              <a:gd name="connsiteY3" fmla="*/ 189339 h 189389"/>
              <a:gd name="connsiteX4" fmla="*/ 10004 w 10129581"/>
              <a:gd name="connsiteY4" fmla="*/ 173 h 189389"/>
              <a:gd name="connsiteX0" fmla="*/ 9947 w 10129524"/>
              <a:gd name="connsiteY0" fmla="*/ 173 h 189389"/>
              <a:gd name="connsiteX1" fmla="*/ 10129524 w 10129524"/>
              <a:gd name="connsiteY1" fmla="*/ 0 h 189389"/>
              <a:gd name="connsiteX2" fmla="*/ 8320667 w 10129524"/>
              <a:gd name="connsiteY2" fmla="*/ 189389 h 189389"/>
              <a:gd name="connsiteX3" fmla="*/ 0 w 10129524"/>
              <a:gd name="connsiteY3" fmla="*/ 189339 h 189389"/>
              <a:gd name="connsiteX4" fmla="*/ 9947 w 10129524"/>
              <a:gd name="connsiteY4" fmla="*/ 173 h 189389"/>
              <a:gd name="connsiteX0" fmla="*/ 9947 w 10129524"/>
              <a:gd name="connsiteY0" fmla="*/ 173 h 189389"/>
              <a:gd name="connsiteX1" fmla="*/ 10129524 w 10129524"/>
              <a:gd name="connsiteY1" fmla="*/ 0 h 189389"/>
              <a:gd name="connsiteX2" fmla="*/ 8320667 w 10129524"/>
              <a:gd name="connsiteY2" fmla="*/ 189389 h 189389"/>
              <a:gd name="connsiteX3" fmla="*/ 0 w 10129524"/>
              <a:gd name="connsiteY3" fmla="*/ 189339 h 189389"/>
              <a:gd name="connsiteX4" fmla="*/ 9947 w 10129524"/>
              <a:gd name="connsiteY4" fmla="*/ 173 h 189389"/>
              <a:gd name="connsiteX0" fmla="*/ 0 w 10119577"/>
              <a:gd name="connsiteY0" fmla="*/ 173 h 189389"/>
              <a:gd name="connsiteX1" fmla="*/ 10119577 w 10119577"/>
              <a:gd name="connsiteY1" fmla="*/ 0 h 189389"/>
              <a:gd name="connsiteX2" fmla="*/ 8310720 w 10119577"/>
              <a:gd name="connsiteY2" fmla="*/ 189389 h 189389"/>
              <a:gd name="connsiteX3" fmla="*/ 15823 w 10119577"/>
              <a:gd name="connsiteY3" fmla="*/ 189339 h 189389"/>
              <a:gd name="connsiteX4" fmla="*/ 0 w 10119577"/>
              <a:gd name="connsiteY4" fmla="*/ 173 h 189389"/>
              <a:gd name="connsiteX0" fmla="*/ 0 w 10119577"/>
              <a:gd name="connsiteY0" fmla="*/ 173 h 189389"/>
              <a:gd name="connsiteX1" fmla="*/ 10119577 w 10119577"/>
              <a:gd name="connsiteY1" fmla="*/ 0 h 189389"/>
              <a:gd name="connsiteX2" fmla="*/ 8310720 w 10119577"/>
              <a:gd name="connsiteY2" fmla="*/ 189389 h 189389"/>
              <a:gd name="connsiteX3" fmla="*/ 2938 w 10119577"/>
              <a:gd name="connsiteY3" fmla="*/ 189339 h 189389"/>
              <a:gd name="connsiteX4" fmla="*/ 0 w 10119577"/>
              <a:gd name="connsiteY4" fmla="*/ 173 h 189389"/>
              <a:gd name="connsiteX0" fmla="*/ 0 w 21540281"/>
              <a:gd name="connsiteY0" fmla="*/ 9120 h 189389"/>
              <a:gd name="connsiteX1" fmla="*/ 21540281 w 21540281"/>
              <a:gd name="connsiteY1" fmla="*/ 0 h 189389"/>
              <a:gd name="connsiteX2" fmla="*/ 19731424 w 21540281"/>
              <a:gd name="connsiteY2" fmla="*/ 189389 h 189389"/>
              <a:gd name="connsiteX3" fmla="*/ 11423642 w 21540281"/>
              <a:gd name="connsiteY3" fmla="*/ 189339 h 189389"/>
              <a:gd name="connsiteX4" fmla="*/ 0 w 21540281"/>
              <a:gd name="connsiteY4" fmla="*/ 9120 h 189389"/>
              <a:gd name="connsiteX0" fmla="*/ 0 w 21540281"/>
              <a:gd name="connsiteY0" fmla="*/ 9120 h 192321"/>
              <a:gd name="connsiteX1" fmla="*/ 21540281 w 21540281"/>
              <a:gd name="connsiteY1" fmla="*/ 0 h 192321"/>
              <a:gd name="connsiteX2" fmla="*/ 19731424 w 21540281"/>
              <a:gd name="connsiteY2" fmla="*/ 189389 h 192321"/>
              <a:gd name="connsiteX3" fmla="*/ 2942 w 21540281"/>
              <a:gd name="connsiteY3" fmla="*/ 192321 h 192321"/>
              <a:gd name="connsiteX4" fmla="*/ 0 w 21540281"/>
              <a:gd name="connsiteY4" fmla="*/ 9120 h 192321"/>
              <a:gd name="connsiteX0" fmla="*/ 0 w 21540281"/>
              <a:gd name="connsiteY0" fmla="*/ 6138 h 192321"/>
              <a:gd name="connsiteX1" fmla="*/ 21540281 w 21540281"/>
              <a:gd name="connsiteY1" fmla="*/ 0 h 192321"/>
              <a:gd name="connsiteX2" fmla="*/ 19731424 w 21540281"/>
              <a:gd name="connsiteY2" fmla="*/ 189389 h 192321"/>
              <a:gd name="connsiteX3" fmla="*/ 2942 w 21540281"/>
              <a:gd name="connsiteY3" fmla="*/ 192321 h 192321"/>
              <a:gd name="connsiteX4" fmla="*/ 0 w 21540281"/>
              <a:gd name="connsiteY4" fmla="*/ 6138 h 192321"/>
              <a:gd name="connsiteX0" fmla="*/ 2579162 w 24119443"/>
              <a:gd name="connsiteY0" fmla="*/ 6138 h 192321"/>
              <a:gd name="connsiteX1" fmla="*/ 24119443 w 24119443"/>
              <a:gd name="connsiteY1" fmla="*/ 0 h 192321"/>
              <a:gd name="connsiteX2" fmla="*/ 22310586 w 24119443"/>
              <a:gd name="connsiteY2" fmla="*/ 189389 h 192321"/>
              <a:gd name="connsiteX3" fmla="*/ 2582104 w 24119443"/>
              <a:gd name="connsiteY3" fmla="*/ 192321 h 192321"/>
              <a:gd name="connsiteX4" fmla="*/ 2579162 w 24119443"/>
              <a:gd name="connsiteY4" fmla="*/ 6138 h 192321"/>
              <a:gd name="connsiteX0" fmla="*/ 1459081 w 22999362"/>
              <a:gd name="connsiteY0" fmla="*/ 6138 h 192321"/>
              <a:gd name="connsiteX1" fmla="*/ 22999362 w 22999362"/>
              <a:gd name="connsiteY1" fmla="*/ 0 h 192321"/>
              <a:gd name="connsiteX2" fmla="*/ 21190505 w 22999362"/>
              <a:gd name="connsiteY2" fmla="*/ 189389 h 192321"/>
              <a:gd name="connsiteX3" fmla="*/ 1462023 w 22999362"/>
              <a:gd name="connsiteY3" fmla="*/ 192321 h 192321"/>
              <a:gd name="connsiteX4" fmla="*/ 1459081 w 22999362"/>
              <a:gd name="connsiteY4" fmla="*/ 6138 h 192321"/>
              <a:gd name="connsiteX0" fmla="*/ 2579108 w 24119389"/>
              <a:gd name="connsiteY0" fmla="*/ 6138 h 192321"/>
              <a:gd name="connsiteX1" fmla="*/ 24119389 w 24119389"/>
              <a:gd name="connsiteY1" fmla="*/ 0 h 192321"/>
              <a:gd name="connsiteX2" fmla="*/ 22310532 w 24119389"/>
              <a:gd name="connsiteY2" fmla="*/ 189389 h 192321"/>
              <a:gd name="connsiteX3" fmla="*/ 2582050 w 24119389"/>
              <a:gd name="connsiteY3" fmla="*/ 192321 h 192321"/>
              <a:gd name="connsiteX4" fmla="*/ 2579108 w 24119389"/>
              <a:gd name="connsiteY4" fmla="*/ 6138 h 192321"/>
              <a:gd name="connsiteX0" fmla="*/ 1594923 w 23135204"/>
              <a:gd name="connsiteY0" fmla="*/ 6138 h 192321"/>
              <a:gd name="connsiteX1" fmla="*/ 23135204 w 23135204"/>
              <a:gd name="connsiteY1" fmla="*/ 0 h 192321"/>
              <a:gd name="connsiteX2" fmla="*/ 21326347 w 23135204"/>
              <a:gd name="connsiteY2" fmla="*/ 189389 h 192321"/>
              <a:gd name="connsiteX3" fmla="*/ 1597865 w 23135204"/>
              <a:gd name="connsiteY3" fmla="*/ 192321 h 192321"/>
              <a:gd name="connsiteX4" fmla="*/ 1594923 w 23135204"/>
              <a:gd name="connsiteY4" fmla="*/ 6138 h 192321"/>
              <a:gd name="connsiteX0" fmla="*/ 1 w 21540282"/>
              <a:gd name="connsiteY0" fmla="*/ 6138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3 w 21540282"/>
              <a:gd name="connsiteY3" fmla="*/ 192321 h 192321"/>
              <a:gd name="connsiteX4" fmla="*/ 1 w 21540282"/>
              <a:gd name="connsiteY4" fmla="*/ 6138 h 192321"/>
              <a:gd name="connsiteX0" fmla="*/ 0 w 21540282"/>
              <a:gd name="connsiteY0" fmla="*/ 3156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3 w 21540282"/>
              <a:gd name="connsiteY3" fmla="*/ 192321 h 192321"/>
              <a:gd name="connsiteX4" fmla="*/ 0 w 21540282"/>
              <a:gd name="connsiteY4" fmla="*/ 3156 h 192321"/>
              <a:gd name="connsiteX0" fmla="*/ 0 w 21540282"/>
              <a:gd name="connsiteY0" fmla="*/ 347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3 w 21540282"/>
              <a:gd name="connsiteY3" fmla="*/ 192321 h 192321"/>
              <a:gd name="connsiteX4" fmla="*/ 0 w 21540282"/>
              <a:gd name="connsiteY4" fmla="*/ 347 h 192321"/>
              <a:gd name="connsiteX0" fmla="*/ 0 w 21540282"/>
              <a:gd name="connsiteY0" fmla="*/ 347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2 w 21540282"/>
              <a:gd name="connsiteY3" fmla="*/ 192321 h 192321"/>
              <a:gd name="connsiteX4" fmla="*/ 0 w 21540282"/>
              <a:gd name="connsiteY4" fmla="*/ 347 h 192321"/>
              <a:gd name="connsiteX0" fmla="*/ 0 w 21540282"/>
              <a:gd name="connsiteY0" fmla="*/ 347 h 189512"/>
              <a:gd name="connsiteX1" fmla="*/ 21540282 w 21540282"/>
              <a:gd name="connsiteY1" fmla="*/ 0 h 189512"/>
              <a:gd name="connsiteX2" fmla="*/ 19731425 w 21540282"/>
              <a:gd name="connsiteY2" fmla="*/ 189389 h 189512"/>
              <a:gd name="connsiteX3" fmla="*/ 2942 w 21540282"/>
              <a:gd name="connsiteY3" fmla="*/ 189512 h 189512"/>
              <a:gd name="connsiteX4" fmla="*/ 0 w 21540282"/>
              <a:gd name="connsiteY4" fmla="*/ 347 h 189512"/>
              <a:gd name="connsiteX0" fmla="*/ 0 w 20903501"/>
              <a:gd name="connsiteY0" fmla="*/ 347 h 189512"/>
              <a:gd name="connsiteX1" fmla="*/ 20903501 w 20903501"/>
              <a:gd name="connsiteY1" fmla="*/ 0 h 189512"/>
              <a:gd name="connsiteX2" fmla="*/ 19731425 w 20903501"/>
              <a:gd name="connsiteY2" fmla="*/ 189389 h 189512"/>
              <a:gd name="connsiteX3" fmla="*/ 2942 w 20903501"/>
              <a:gd name="connsiteY3" fmla="*/ 189512 h 189512"/>
              <a:gd name="connsiteX4" fmla="*/ 0 w 20903501"/>
              <a:gd name="connsiteY4" fmla="*/ 347 h 189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903501" h="189512">
                <a:moveTo>
                  <a:pt x="0" y="347"/>
                </a:moveTo>
                <a:lnTo>
                  <a:pt x="20903501" y="0"/>
                </a:lnTo>
                <a:lnTo>
                  <a:pt x="19731425" y="189389"/>
                </a:lnTo>
                <a:lnTo>
                  <a:pt x="2942" y="189512"/>
                </a:lnTo>
                <a:cubicBezTo>
                  <a:pt x="1961" y="125521"/>
                  <a:pt x="981" y="64338"/>
                  <a:pt x="0" y="34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2883" y="3748408"/>
            <a:ext cx="8457972" cy="984333"/>
          </a:xfrm>
        </p:spPr>
        <p:txBody>
          <a:bodyPr anchor="b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12883" y="4800476"/>
            <a:ext cx="8457972" cy="640767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12883" y="5580380"/>
            <a:ext cx="3303862" cy="3651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1000">
                <a:solidFill>
                  <a:schemeClr val="tx1"/>
                </a:solidFill>
                <a:latin typeface="+mn-lt"/>
                <a:cs typeface="Arial"/>
              </a:defRPr>
            </a:lvl1pPr>
          </a:lstStyle>
          <a:p>
            <a:endParaRPr lang="en-US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38F46E6-B30F-4BB4-8F82-08AD4C6EA8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74032" y="5851212"/>
            <a:ext cx="1060725" cy="822309"/>
          </a:xfrm>
          <a:prstGeom prst="rect">
            <a:avLst/>
          </a:prstGeom>
        </p:spPr>
      </p:pic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B1B375D4-5229-42D1-ACCC-C091DAB25EB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-11117" y="1927755"/>
            <a:ext cx="3018306" cy="1706562"/>
          </a:xfr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17" name="Picture Placeholder 15">
            <a:extLst>
              <a:ext uri="{FF2B5EF4-FFF2-40B4-BE49-F238E27FC236}">
                <a16:creationId xmlns:a16="http://schemas.microsoft.com/office/drawing/2014/main" id="{9AA1076D-6C42-4BB3-BA4D-45B182AC9A43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050486" y="1927755"/>
            <a:ext cx="3018306" cy="1706562"/>
          </a:xfr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18" name="Picture Placeholder 15">
            <a:extLst>
              <a:ext uri="{FF2B5EF4-FFF2-40B4-BE49-F238E27FC236}">
                <a16:creationId xmlns:a16="http://schemas.microsoft.com/office/drawing/2014/main" id="{94262E97-B7F8-4095-A959-B2C6D66AE08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12090" y="1927755"/>
            <a:ext cx="3018306" cy="1706562"/>
          </a:xfr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19" name="Picture Placeholder 15">
            <a:extLst>
              <a:ext uri="{FF2B5EF4-FFF2-40B4-BE49-F238E27FC236}">
                <a16:creationId xmlns:a16="http://schemas.microsoft.com/office/drawing/2014/main" id="{C14C4D13-49AC-4208-BEFF-0899F4B2E2E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173694" y="1927755"/>
            <a:ext cx="3018306" cy="1706562"/>
          </a:xfr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Insert photo here</a:t>
            </a:r>
          </a:p>
        </p:txBody>
      </p:sp>
    </p:spTree>
    <p:extLst>
      <p:ext uri="{BB962C8B-B14F-4D97-AF65-F5344CB8AC3E}">
        <p14:creationId xmlns:p14="http://schemas.microsoft.com/office/powerpoint/2010/main" val="7303596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2883" y="2947135"/>
            <a:ext cx="8457972" cy="984333"/>
          </a:xfrm>
        </p:spPr>
        <p:txBody>
          <a:bodyPr anchor="b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12883" y="3999203"/>
            <a:ext cx="8457972" cy="640767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12883" y="4779107"/>
            <a:ext cx="3303862" cy="3651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1000">
                <a:solidFill>
                  <a:schemeClr val="tx1"/>
                </a:solidFill>
                <a:latin typeface="+mn-lt"/>
                <a:cs typeface="Arial"/>
              </a:defRPr>
            </a:lvl1pPr>
          </a:lstStyle>
          <a:p>
            <a:endParaRPr lang="en-US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38F46E6-B30F-4BB4-8F82-08AD4C6EA8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74032" y="5851212"/>
            <a:ext cx="1060725" cy="822309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0737FA42-C06C-4BE0-AE35-B6EF2728CBF5}"/>
              </a:ext>
            </a:extLst>
          </p:cNvPr>
          <p:cNvSpPr/>
          <p:nvPr userDrawn="1"/>
        </p:nvSpPr>
        <p:spPr>
          <a:xfrm>
            <a:off x="8485838" y="1"/>
            <a:ext cx="3706162" cy="48212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3" name="Rectangle 3">
            <a:extLst>
              <a:ext uri="{FF2B5EF4-FFF2-40B4-BE49-F238E27FC236}">
                <a16:creationId xmlns:a16="http://schemas.microsoft.com/office/drawing/2014/main" id="{9FCFEBA5-E832-4F45-9A7E-E488F4C2670A}"/>
              </a:ext>
            </a:extLst>
          </p:cNvPr>
          <p:cNvSpPr/>
          <p:nvPr userDrawn="1"/>
        </p:nvSpPr>
        <p:spPr>
          <a:xfrm>
            <a:off x="0" y="316"/>
            <a:ext cx="9077242" cy="482776"/>
          </a:xfrm>
          <a:custGeom>
            <a:avLst/>
            <a:gdLst>
              <a:gd name="connsiteX0" fmla="*/ 0 w 6709251"/>
              <a:gd name="connsiteY0" fmla="*/ 0 h 182880"/>
              <a:gd name="connsiteX1" fmla="*/ 6709251 w 6709251"/>
              <a:gd name="connsiteY1" fmla="*/ 0 h 182880"/>
              <a:gd name="connsiteX2" fmla="*/ 6709251 w 6709251"/>
              <a:gd name="connsiteY2" fmla="*/ 182880 h 182880"/>
              <a:gd name="connsiteX3" fmla="*/ 0 w 6709251"/>
              <a:gd name="connsiteY3" fmla="*/ 182880 h 182880"/>
              <a:gd name="connsiteX4" fmla="*/ 0 w 6709251"/>
              <a:gd name="connsiteY4" fmla="*/ 0 h 182880"/>
              <a:gd name="connsiteX0" fmla="*/ 0 w 7073510"/>
              <a:gd name="connsiteY0" fmla="*/ 0 h 182880"/>
              <a:gd name="connsiteX1" fmla="*/ 7073510 w 7073510"/>
              <a:gd name="connsiteY1" fmla="*/ 0 h 182880"/>
              <a:gd name="connsiteX2" fmla="*/ 6709251 w 7073510"/>
              <a:gd name="connsiteY2" fmla="*/ 182880 h 182880"/>
              <a:gd name="connsiteX3" fmla="*/ 0 w 7073510"/>
              <a:gd name="connsiteY3" fmla="*/ 182880 h 182880"/>
              <a:gd name="connsiteX4" fmla="*/ 0 w 7073510"/>
              <a:gd name="connsiteY4" fmla="*/ 0 h 182880"/>
              <a:gd name="connsiteX0" fmla="*/ 0 w 8678702"/>
              <a:gd name="connsiteY0" fmla="*/ 0 h 182880"/>
              <a:gd name="connsiteX1" fmla="*/ 8678702 w 8678702"/>
              <a:gd name="connsiteY1" fmla="*/ 0 h 182880"/>
              <a:gd name="connsiteX2" fmla="*/ 8314443 w 8678702"/>
              <a:gd name="connsiteY2" fmla="*/ 182880 h 182880"/>
              <a:gd name="connsiteX3" fmla="*/ 1605192 w 8678702"/>
              <a:gd name="connsiteY3" fmla="*/ 182880 h 182880"/>
              <a:gd name="connsiteX4" fmla="*/ 0 w 8678702"/>
              <a:gd name="connsiteY4" fmla="*/ 0 h 182880"/>
              <a:gd name="connsiteX0" fmla="*/ 0 w 8678702"/>
              <a:gd name="connsiteY0" fmla="*/ 0 h 186220"/>
              <a:gd name="connsiteX1" fmla="*/ 8678702 w 8678702"/>
              <a:gd name="connsiteY1" fmla="*/ 0 h 186220"/>
              <a:gd name="connsiteX2" fmla="*/ 8314443 w 8678702"/>
              <a:gd name="connsiteY2" fmla="*/ 182880 h 186220"/>
              <a:gd name="connsiteX3" fmla="*/ 6661 w 8678702"/>
              <a:gd name="connsiteY3" fmla="*/ 186220 h 186220"/>
              <a:gd name="connsiteX4" fmla="*/ 0 w 8678702"/>
              <a:gd name="connsiteY4" fmla="*/ 0 h 186220"/>
              <a:gd name="connsiteX0" fmla="*/ 133211 w 8672041"/>
              <a:gd name="connsiteY0" fmla="*/ 50097 h 186220"/>
              <a:gd name="connsiteX1" fmla="*/ 8672041 w 8672041"/>
              <a:gd name="connsiteY1" fmla="*/ 0 h 186220"/>
              <a:gd name="connsiteX2" fmla="*/ 8307782 w 8672041"/>
              <a:gd name="connsiteY2" fmla="*/ 182880 h 186220"/>
              <a:gd name="connsiteX3" fmla="*/ 0 w 8672041"/>
              <a:gd name="connsiteY3" fmla="*/ 186220 h 186220"/>
              <a:gd name="connsiteX4" fmla="*/ 133211 w 8672041"/>
              <a:gd name="connsiteY4" fmla="*/ 50097 h 186220"/>
              <a:gd name="connsiteX0" fmla="*/ 3330 w 8672041"/>
              <a:gd name="connsiteY0" fmla="*/ 3340 h 186220"/>
              <a:gd name="connsiteX1" fmla="*/ 8672041 w 8672041"/>
              <a:gd name="connsiteY1" fmla="*/ 0 h 186220"/>
              <a:gd name="connsiteX2" fmla="*/ 8307782 w 8672041"/>
              <a:gd name="connsiteY2" fmla="*/ 182880 h 186220"/>
              <a:gd name="connsiteX3" fmla="*/ 0 w 8672041"/>
              <a:gd name="connsiteY3" fmla="*/ 186220 h 186220"/>
              <a:gd name="connsiteX4" fmla="*/ 3330 w 8672041"/>
              <a:gd name="connsiteY4" fmla="*/ 3340 h 186220"/>
              <a:gd name="connsiteX0" fmla="*/ 3330 w 8672041"/>
              <a:gd name="connsiteY0" fmla="*/ 3340 h 186220"/>
              <a:gd name="connsiteX1" fmla="*/ 8672041 w 8672041"/>
              <a:gd name="connsiteY1" fmla="*/ 0 h 186220"/>
              <a:gd name="connsiteX2" fmla="*/ 8307782 w 8672041"/>
              <a:gd name="connsiteY2" fmla="*/ 182880 h 186220"/>
              <a:gd name="connsiteX3" fmla="*/ 0 w 8672041"/>
              <a:gd name="connsiteY3" fmla="*/ 186220 h 186220"/>
              <a:gd name="connsiteX4" fmla="*/ 3330 w 8672041"/>
              <a:gd name="connsiteY4" fmla="*/ 3340 h 186220"/>
              <a:gd name="connsiteX0" fmla="*/ 0 w 8674979"/>
              <a:gd name="connsiteY0" fmla="*/ 3340 h 186220"/>
              <a:gd name="connsiteX1" fmla="*/ 8674979 w 8674979"/>
              <a:gd name="connsiteY1" fmla="*/ 0 h 186220"/>
              <a:gd name="connsiteX2" fmla="*/ 8310720 w 8674979"/>
              <a:gd name="connsiteY2" fmla="*/ 182880 h 186220"/>
              <a:gd name="connsiteX3" fmla="*/ 2938 w 8674979"/>
              <a:gd name="connsiteY3" fmla="*/ 186220 h 186220"/>
              <a:gd name="connsiteX4" fmla="*/ 0 w 8674979"/>
              <a:gd name="connsiteY4" fmla="*/ 3340 h 186220"/>
              <a:gd name="connsiteX0" fmla="*/ 0 w 8674979"/>
              <a:gd name="connsiteY0" fmla="*/ 0 h 189166"/>
              <a:gd name="connsiteX1" fmla="*/ 8674979 w 8674979"/>
              <a:gd name="connsiteY1" fmla="*/ 2946 h 189166"/>
              <a:gd name="connsiteX2" fmla="*/ 8310720 w 8674979"/>
              <a:gd name="connsiteY2" fmla="*/ 185826 h 189166"/>
              <a:gd name="connsiteX3" fmla="*/ 2938 w 8674979"/>
              <a:gd name="connsiteY3" fmla="*/ 189166 h 189166"/>
              <a:gd name="connsiteX4" fmla="*/ 0 w 8674979"/>
              <a:gd name="connsiteY4" fmla="*/ 0 h 189166"/>
              <a:gd name="connsiteX0" fmla="*/ 0 w 8674979"/>
              <a:gd name="connsiteY0" fmla="*/ 444 h 189610"/>
              <a:gd name="connsiteX1" fmla="*/ 8674979 w 8674979"/>
              <a:gd name="connsiteY1" fmla="*/ 0 h 189610"/>
              <a:gd name="connsiteX2" fmla="*/ 8310720 w 8674979"/>
              <a:gd name="connsiteY2" fmla="*/ 186270 h 189610"/>
              <a:gd name="connsiteX3" fmla="*/ 2938 w 8674979"/>
              <a:gd name="connsiteY3" fmla="*/ 189610 h 189610"/>
              <a:gd name="connsiteX4" fmla="*/ 0 w 8674979"/>
              <a:gd name="connsiteY4" fmla="*/ 444 h 189610"/>
              <a:gd name="connsiteX0" fmla="*/ 0 w 8674979"/>
              <a:gd name="connsiteY0" fmla="*/ 444 h 189660"/>
              <a:gd name="connsiteX1" fmla="*/ 8674979 w 8674979"/>
              <a:gd name="connsiteY1" fmla="*/ 0 h 189660"/>
              <a:gd name="connsiteX2" fmla="*/ 8310720 w 8674979"/>
              <a:gd name="connsiteY2" fmla="*/ 189660 h 189660"/>
              <a:gd name="connsiteX3" fmla="*/ 2938 w 8674979"/>
              <a:gd name="connsiteY3" fmla="*/ 189610 h 189660"/>
              <a:gd name="connsiteX4" fmla="*/ 0 w 8674979"/>
              <a:gd name="connsiteY4" fmla="*/ 444 h 189660"/>
              <a:gd name="connsiteX0" fmla="*/ 0 w 10119577"/>
              <a:gd name="connsiteY0" fmla="*/ 0 h 189216"/>
              <a:gd name="connsiteX1" fmla="*/ 10119577 w 10119577"/>
              <a:gd name="connsiteY1" fmla="*/ 686 h 189216"/>
              <a:gd name="connsiteX2" fmla="*/ 8310720 w 10119577"/>
              <a:gd name="connsiteY2" fmla="*/ 189216 h 189216"/>
              <a:gd name="connsiteX3" fmla="*/ 2938 w 10119577"/>
              <a:gd name="connsiteY3" fmla="*/ 189166 h 189216"/>
              <a:gd name="connsiteX4" fmla="*/ 0 w 10119577"/>
              <a:gd name="connsiteY4" fmla="*/ 0 h 189216"/>
              <a:gd name="connsiteX0" fmla="*/ 0 w 10119577"/>
              <a:gd name="connsiteY0" fmla="*/ 173 h 189389"/>
              <a:gd name="connsiteX1" fmla="*/ 10119577 w 10119577"/>
              <a:gd name="connsiteY1" fmla="*/ 0 h 189389"/>
              <a:gd name="connsiteX2" fmla="*/ 8310720 w 10119577"/>
              <a:gd name="connsiteY2" fmla="*/ 189389 h 189389"/>
              <a:gd name="connsiteX3" fmla="*/ 2938 w 10119577"/>
              <a:gd name="connsiteY3" fmla="*/ 189339 h 189389"/>
              <a:gd name="connsiteX4" fmla="*/ 0 w 10119577"/>
              <a:gd name="connsiteY4" fmla="*/ 173 h 189389"/>
              <a:gd name="connsiteX0" fmla="*/ 10004 w 10129581"/>
              <a:gd name="connsiteY0" fmla="*/ 173 h 189389"/>
              <a:gd name="connsiteX1" fmla="*/ 10129581 w 10129581"/>
              <a:gd name="connsiteY1" fmla="*/ 0 h 189389"/>
              <a:gd name="connsiteX2" fmla="*/ 8320724 w 10129581"/>
              <a:gd name="connsiteY2" fmla="*/ 189389 h 189389"/>
              <a:gd name="connsiteX3" fmla="*/ 57 w 10129581"/>
              <a:gd name="connsiteY3" fmla="*/ 189339 h 189389"/>
              <a:gd name="connsiteX4" fmla="*/ 10004 w 10129581"/>
              <a:gd name="connsiteY4" fmla="*/ 173 h 189389"/>
              <a:gd name="connsiteX0" fmla="*/ 9947 w 10129524"/>
              <a:gd name="connsiteY0" fmla="*/ 173 h 189389"/>
              <a:gd name="connsiteX1" fmla="*/ 10129524 w 10129524"/>
              <a:gd name="connsiteY1" fmla="*/ 0 h 189389"/>
              <a:gd name="connsiteX2" fmla="*/ 8320667 w 10129524"/>
              <a:gd name="connsiteY2" fmla="*/ 189389 h 189389"/>
              <a:gd name="connsiteX3" fmla="*/ 0 w 10129524"/>
              <a:gd name="connsiteY3" fmla="*/ 189339 h 189389"/>
              <a:gd name="connsiteX4" fmla="*/ 9947 w 10129524"/>
              <a:gd name="connsiteY4" fmla="*/ 173 h 189389"/>
              <a:gd name="connsiteX0" fmla="*/ 9947 w 10129524"/>
              <a:gd name="connsiteY0" fmla="*/ 173 h 189389"/>
              <a:gd name="connsiteX1" fmla="*/ 10129524 w 10129524"/>
              <a:gd name="connsiteY1" fmla="*/ 0 h 189389"/>
              <a:gd name="connsiteX2" fmla="*/ 8320667 w 10129524"/>
              <a:gd name="connsiteY2" fmla="*/ 189389 h 189389"/>
              <a:gd name="connsiteX3" fmla="*/ 0 w 10129524"/>
              <a:gd name="connsiteY3" fmla="*/ 189339 h 189389"/>
              <a:gd name="connsiteX4" fmla="*/ 9947 w 10129524"/>
              <a:gd name="connsiteY4" fmla="*/ 173 h 189389"/>
              <a:gd name="connsiteX0" fmla="*/ 0 w 10119577"/>
              <a:gd name="connsiteY0" fmla="*/ 173 h 189389"/>
              <a:gd name="connsiteX1" fmla="*/ 10119577 w 10119577"/>
              <a:gd name="connsiteY1" fmla="*/ 0 h 189389"/>
              <a:gd name="connsiteX2" fmla="*/ 8310720 w 10119577"/>
              <a:gd name="connsiteY2" fmla="*/ 189389 h 189389"/>
              <a:gd name="connsiteX3" fmla="*/ 15823 w 10119577"/>
              <a:gd name="connsiteY3" fmla="*/ 189339 h 189389"/>
              <a:gd name="connsiteX4" fmla="*/ 0 w 10119577"/>
              <a:gd name="connsiteY4" fmla="*/ 173 h 189389"/>
              <a:gd name="connsiteX0" fmla="*/ 0 w 10119577"/>
              <a:gd name="connsiteY0" fmla="*/ 173 h 189389"/>
              <a:gd name="connsiteX1" fmla="*/ 10119577 w 10119577"/>
              <a:gd name="connsiteY1" fmla="*/ 0 h 189389"/>
              <a:gd name="connsiteX2" fmla="*/ 8310720 w 10119577"/>
              <a:gd name="connsiteY2" fmla="*/ 189389 h 189389"/>
              <a:gd name="connsiteX3" fmla="*/ 2938 w 10119577"/>
              <a:gd name="connsiteY3" fmla="*/ 189339 h 189389"/>
              <a:gd name="connsiteX4" fmla="*/ 0 w 10119577"/>
              <a:gd name="connsiteY4" fmla="*/ 173 h 189389"/>
              <a:gd name="connsiteX0" fmla="*/ 0 w 21540281"/>
              <a:gd name="connsiteY0" fmla="*/ 9120 h 189389"/>
              <a:gd name="connsiteX1" fmla="*/ 21540281 w 21540281"/>
              <a:gd name="connsiteY1" fmla="*/ 0 h 189389"/>
              <a:gd name="connsiteX2" fmla="*/ 19731424 w 21540281"/>
              <a:gd name="connsiteY2" fmla="*/ 189389 h 189389"/>
              <a:gd name="connsiteX3" fmla="*/ 11423642 w 21540281"/>
              <a:gd name="connsiteY3" fmla="*/ 189339 h 189389"/>
              <a:gd name="connsiteX4" fmla="*/ 0 w 21540281"/>
              <a:gd name="connsiteY4" fmla="*/ 9120 h 189389"/>
              <a:gd name="connsiteX0" fmla="*/ 0 w 21540281"/>
              <a:gd name="connsiteY0" fmla="*/ 9120 h 192321"/>
              <a:gd name="connsiteX1" fmla="*/ 21540281 w 21540281"/>
              <a:gd name="connsiteY1" fmla="*/ 0 h 192321"/>
              <a:gd name="connsiteX2" fmla="*/ 19731424 w 21540281"/>
              <a:gd name="connsiteY2" fmla="*/ 189389 h 192321"/>
              <a:gd name="connsiteX3" fmla="*/ 2942 w 21540281"/>
              <a:gd name="connsiteY3" fmla="*/ 192321 h 192321"/>
              <a:gd name="connsiteX4" fmla="*/ 0 w 21540281"/>
              <a:gd name="connsiteY4" fmla="*/ 9120 h 192321"/>
              <a:gd name="connsiteX0" fmla="*/ 0 w 21540281"/>
              <a:gd name="connsiteY0" fmla="*/ 6138 h 192321"/>
              <a:gd name="connsiteX1" fmla="*/ 21540281 w 21540281"/>
              <a:gd name="connsiteY1" fmla="*/ 0 h 192321"/>
              <a:gd name="connsiteX2" fmla="*/ 19731424 w 21540281"/>
              <a:gd name="connsiteY2" fmla="*/ 189389 h 192321"/>
              <a:gd name="connsiteX3" fmla="*/ 2942 w 21540281"/>
              <a:gd name="connsiteY3" fmla="*/ 192321 h 192321"/>
              <a:gd name="connsiteX4" fmla="*/ 0 w 21540281"/>
              <a:gd name="connsiteY4" fmla="*/ 6138 h 192321"/>
              <a:gd name="connsiteX0" fmla="*/ 2579162 w 24119443"/>
              <a:gd name="connsiteY0" fmla="*/ 6138 h 192321"/>
              <a:gd name="connsiteX1" fmla="*/ 24119443 w 24119443"/>
              <a:gd name="connsiteY1" fmla="*/ 0 h 192321"/>
              <a:gd name="connsiteX2" fmla="*/ 22310586 w 24119443"/>
              <a:gd name="connsiteY2" fmla="*/ 189389 h 192321"/>
              <a:gd name="connsiteX3" fmla="*/ 2582104 w 24119443"/>
              <a:gd name="connsiteY3" fmla="*/ 192321 h 192321"/>
              <a:gd name="connsiteX4" fmla="*/ 2579162 w 24119443"/>
              <a:gd name="connsiteY4" fmla="*/ 6138 h 192321"/>
              <a:gd name="connsiteX0" fmla="*/ 1459081 w 22999362"/>
              <a:gd name="connsiteY0" fmla="*/ 6138 h 192321"/>
              <a:gd name="connsiteX1" fmla="*/ 22999362 w 22999362"/>
              <a:gd name="connsiteY1" fmla="*/ 0 h 192321"/>
              <a:gd name="connsiteX2" fmla="*/ 21190505 w 22999362"/>
              <a:gd name="connsiteY2" fmla="*/ 189389 h 192321"/>
              <a:gd name="connsiteX3" fmla="*/ 1462023 w 22999362"/>
              <a:gd name="connsiteY3" fmla="*/ 192321 h 192321"/>
              <a:gd name="connsiteX4" fmla="*/ 1459081 w 22999362"/>
              <a:gd name="connsiteY4" fmla="*/ 6138 h 192321"/>
              <a:gd name="connsiteX0" fmla="*/ 2579108 w 24119389"/>
              <a:gd name="connsiteY0" fmla="*/ 6138 h 192321"/>
              <a:gd name="connsiteX1" fmla="*/ 24119389 w 24119389"/>
              <a:gd name="connsiteY1" fmla="*/ 0 h 192321"/>
              <a:gd name="connsiteX2" fmla="*/ 22310532 w 24119389"/>
              <a:gd name="connsiteY2" fmla="*/ 189389 h 192321"/>
              <a:gd name="connsiteX3" fmla="*/ 2582050 w 24119389"/>
              <a:gd name="connsiteY3" fmla="*/ 192321 h 192321"/>
              <a:gd name="connsiteX4" fmla="*/ 2579108 w 24119389"/>
              <a:gd name="connsiteY4" fmla="*/ 6138 h 192321"/>
              <a:gd name="connsiteX0" fmla="*/ 1594923 w 23135204"/>
              <a:gd name="connsiteY0" fmla="*/ 6138 h 192321"/>
              <a:gd name="connsiteX1" fmla="*/ 23135204 w 23135204"/>
              <a:gd name="connsiteY1" fmla="*/ 0 h 192321"/>
              <a:gd name="connsiteX2" fmla="*/ 21326347 w 23135204"/>
              <a:gd name="connsiteY2" fmla="*/ 189389 h 192321"/>
              <a:gd name="connsiteX3" fmla="*/ 1597865 w 23135204"/>
              <a:gd name="connsiteY3" fmla="*/ 192321 h 192321"/>
              <a:gd name="connsiteX4" fmla="*/ 1594923 w 23135204"/>
              <a:gd name="connsiteY4" fmla="*/ 6138 h 192321"/>
              <a:gd name="connsiteX0" fmla="*/ 1 w 21540282"/>
              <a:gd name="connsiteY0" fmla="*/ 6138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3 w 21540282"/>
              <a:gd name="connsiteY3" fmla="*/ 192321 h 192321"/>
              <a:gd name="connsiteX4" fmla="*/ 1 w 21540282"/>
              <a:gd name="connsiteY4" fmla="*/ 6138 h 192321"/>
              <a:gd name="connsiteX0" fmla="*/ 0 w 21540282"/>
              <a:gd name="connsiteY0" fmla="*/ 3156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3 w 21540282"/>
              <a:gd name="connsiteY3" fmla="*/ 192321 h 192321"/>
              <a:gd name="connsiteX4" fmla="*/ 0 w 21540282"/>
              <a:gd name="connsiteY4" fmla="*/ 3156 h 192321"/>
              <a:gd name="connsiteX0" fmla="*/ 0 w 21540282"/>
              <a:gd name="connsiteY0" fmla="*/ 347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3 w 21540282"/>
              <a:gd name="connsiteY3" fmla="*/ 192321 h 192321"/>
              <a:gd name="connsiteX4" fmla="*/ 0 w 21540282"/>
              <a:gd name="connsiteY4" fmla="*/ 347 h 192321"/>
              <a:gd name="connsiteX0" fmla="*/ 0 w 21540282"/>
              <a:gd name="connsiteY0" fmla="*/ 347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2 w 21540282"/>
              <a:gd name="connsiteY3" fmla="*/ 192321 h 192321"/>
              <a:gd name="connsiteX4" fmla="*/ 0 w 21540282"/>
              <a:gd name="connsiteY4" fmla="*/ 347 h 192321"/>
              <a:gd name="connsiteX0" fmla="*/ 0 w 21540282"/>
              <a:gd name="connsiteY0" fmla="*/ 347 h 189512"/>
              <a:gd name="connsiteX1" fmla="*/ 21540282 w 21540282"/>
              <a:gd name="connsiteY1" fmla="*/ 0 h 189512"/>
              <a:gd name="connsiteX2" fmla="*/ 19731425 w 21540282"/>
              <a:gd name="connsiteY2" fmla="*/ 189389 h 189512"/>
              <a:gd name="connsiteX3" fmla="*/ 2942 w 21540282"/>
              <a:gd name="connsiteY3" fmla="*/ 189512 h 189512"/>
              <a:gd name="connsiteX4" fmla="*/ 0 w 21540282"/>
              <a:gd name="connsiteY4" fmla="*/ 347 h 189512"/>
              <a:gd name="connsiteX0" fmla="*/ 0 w 20903501"/>
              <a:gd name="connsiteY0" fmla="*/ 347 h 189512"/>
              <a:gd name="connsiteX1" fmla="*/ 20903501 w 20903501"/>
              <a:gd name="connsiteY1" fmla="*/ 0 h 189512"/>
              <a:gd name="connsiteX2" fmla="*/ 19731425 w 20903501"/>
              <a:gd name="connsiteY2" fmla="*/ 189389 h 189512"/>
              <a:gd name="connsiteX3" fmla="*/ 2942 w 20903501"/>
              <a:gd name="connsiteY3" fmla="*/ 189512 h 189512"/>
              <a:gd name="connsiteX4" fmla="*/ 0 w 20903501"/>
              <a:gd name="connsiteY4" fmla="*/ 347 h 189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903501" h="189512">
                <a:moveTo>
                  <a:pt x="0" y="347"/>
                </a:moveTo>
                <a:lnTo>
                  <a:pt x="20903501" y="0"/>
                </a:lnTo>
                <a:lnTo>
                  <a:pt x="19731425" y="189389"/>
                </a:lnTo>
                <a:lnTo>
                  <a:pt x="2942" y="189512"/>
                </a:lnTo>
                <a:cubicBezTo>
                  <a:pt x="1961" y="125521"/>
                  <a:pt x="981" y="64338"/>
                  <a:pt x="0" y="34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17138252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/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3AD9D9EF-93A8-4AD0-9293-A912F1609535}"/>
              </a:ext>
            </a:extLst>
          </p:cNvPr>
          <p:cNvSpPr/>
          <p:nvPr userDrawn="1"/>
        </p:nvSpPr>
        <p:spPr>
          <a:xfrm>
            <a:off x="8485838" y="1411870"/>
            <a:ext cx="3706162" cy="48212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1" name="Rectangle 3">
            <a:extLst>
              <a:ext uri="{FF2B5EF4-FFF2-40B4-BE49-F238E27FC236}">
                <a16:creationId xmlns:a16="http://schemas.microsoft.com/office/drawing/2014/main" id="{69E79D0B-0FBC-4730-8F48-331668759A21}"/>
              </a:ext>
            </a:extLst>
          </p:cNvPr>
          <p:cNvSpPr/>
          <p:nvPr userDrawn="1"/>
        </p:nvSpPr>
        <p:spPr>
          <a:xfrm>
            <a:off x="0" y="1412185"/>
            <a:ext cx="9077242" cy="482776"/>
          </a:xfrm>
          <a:custGeom>
            <a:avLst/>
            <a:gdLst>
              <a:gd name="connsiteX0" fmla="*/ 0 w 6709251"/>
              <a:gd name="connsiteY0" fmla="*/ 0 h 182880"/>
              <a:gd name="connsiteX1" fmla="*/ 6709251 w 6709251"/>
              <a:gd name="connsiteY1" fmla="*/ 0 h 182880"/>
              <a:gd name="connsiteX2" fmla="*/ 6709251 w 6709251"/>
              <a:gd name="connsiteY2" fmla="*/ 182880 h 182880"/>
              <a:gd name="connsiteX3" fmla="*/ 0 w 6709251"/>
              <a:gd name="connsiteY3" fmla="*/ 182880 h 182880"/>
              <a:gd name="connsiteX4" fmla="*/ 0 w 6709251"/>
              <a:gd name="connsiteY4" fmla="*/ 0 h 182880"/>
              <a:gd name="connsiteX0" fmla="*/ 0 w 7073510"/>
              <a:gd name="connsiteY0" fmla="*/ 0 h 182880"/>
              <a:gd name="connsiteX1" fmla="*/ 7073510 w 7073510"/>
              <a:gd name="connsiteY1" fmla="*/ 0 h 182880"/>
              <a:gd name="connsiteX2" fmla="*/ 6709251 w 7073510"/>
              <a:gd name="connsiteY2" fmla="*/ 182880 h 182880"/>
              <a:gd name="connsiteX3" fmla="*/ 0 w 7073510"/>
              <a:gd name="connsiteY3" fmla="*/ 182880 h 182880"/>
              <a:gd name="connsiteX4" fmla="*/ 0 w 7073510"/>
              <a:gd name="connsiteY4" fmla="*/ 0 h 182880"/>
              <a:gd name="connsiteX0" fmla="*/ 0 w 8678702"/>
              <a:gd name="connsiteY0" fmla="*/ 0 h 182880"/>
              <a:gd name="connsiteX1" fmla="*/ 8678702 w 8678702"/>
              <a:gd name="connsiteY1" fmla="*/ 0 h 182880"/>
              <a:gd name="connsiteX2" fmla="*/ 8314443 w 8678702"/>
              <a:gd name="connsiteY2" fmla="*/ 182880 h 182880"/>
              <a:gd name="connsiteX3" fmla="*/ 1605192 w 8678702"/>
              <a:gd name="connsiteY3" fmla="*/ 182880 h 182880"/>
              <a:gd name="connsiteX4" fmla="*/ 0 w 8678702"/>
              <a:gd name="connsiteY4" fmla="*/ 0 h 182880"/>
              <a:gd name="connsiteX0" fmla="*/ 0 w 8678702"/>
              <a:gd name="connsiteY0" fmla="*/ 0 h 186220"/>
              <a:gd name="connsiteX1" fmla="*/ 8678702 w 8678702"/>
              <a:gd name="connsiteY1" fmla="*/ 0 h 186220"/>
              <a:gd name="connsiteX2" fmla="*/ 8314443 w 8678702"/>
              <a:gd name="connsiteY2" fmla="*/ 182880 h 186220"/>
              <a:gd name="connsiteX3" fmla="*/ 6661 w 8678702"/>
              <a:gd name="connsiteY3" fmla="*/ 186220 h 186220"/>
              <a:gd name="connsiteX4" fmla="*/ 0 w 8678702"/>
              <a:gd name="connsiteY4" fmla="*/ 0 h 186220"/>
              <a:gd name="connsiteX0" fmla="*/ 133211 w 8672041"/>
              <a:gd name="connsiteY0" fmla="*/ 50097 h 186220"/>
              <a:gd name="connsiteX1" fmla="*/ 8672041 w 8672041"/>
              <a:gd name="connsiteY1" fmla="*/ 0 h 186220"/>
              <a:gd name="connsiteX2" fmla="*/ 8307782 w 8672041"/>
              <a:gd name="connsiteY2" fmla="*/ 182880 h 186220"/>
              <a:gd name="connsiteX3" fmla="*/ 0 w 8672041"/>
              <a:gd name="connsiteY3" fmla="*/ 186220 h 186220"/>
              <a:gd name="connsiteX4" fmla="*/ 133211 w 8672041"/>
              <a:gd name="connsiteY4" fmla="*/ 50097 h 186220"/>
              <a:gd name="connsiteX0" fmla="*/ 3330 w 8672041"/>
              <a:gd name="connsiteY0" fmla="*/ 3340 h 186220"/>
              <a:gd name="connsiteX1" fmla="*/ 8672041 w 8672041"/>
              <a:gd name="connsiteY1" fmla="*/ 0 h 186220"/>
              <a:gd name="connsiteX2" fmla="*/ 8307782 w 8672041"/>
              <a:gd name="connsiteY2" fmla="*/ 182880 h 186220"/>
              <a:gd name="connsiteX3" fmla="*/ 0 w 8672041"/>
              <a:gd name="connsiteY3" fmla="*/ 186220 h 186220"/>
              <a:gd name="connsiteX4" fmla="*/ 3330 w 8672041"/>
              <a:gd name="connsiteY4" fmla="*/ 3340 h 186220"/>
              <a:gd name="connsiteX0" fmla="*/ 3330 w 8672041"/>
              <a:gd name="connsiteY0" fmla="*/ 3340 h 186220"/>
              <a:gd name="connsiteX1" fmla="*/ 8672041 w 8672041"/>
              <a:gd name="connsiteY1" fmla="*/ 0 h 186220"/>
              <a:gd name="connsiteX2" fmla="*/ 8307782 w 8672041"/>
              <a:gd name="connsiteY2" fmla="*/ 182880 h 186220"/>
              <a:gd name="connsiteX3" fmla="*/ 0 w 8672041"/>
              <a:gd name="connsiteY3" fmla="*/ 186220 h 186220"/>
              <a:gd name="connsiteX4" fmla="*/ 3330 w 8672041"/>
              <a:gd name="connsiteY4" fmla="*/ 3340 h 186220"/>
              <a:gd name="connsiteX0" fmla="*/ 0 w 8674979"/>
              <a:gd name="connsiteY0" fmla="*/ 3340 h 186220"/>
              <a:gd name="connsiteX1" fmla="*/ 8674979 w 8674979"/>
              <a:gd name="connsiteY1" fmla="*/ 0 h 186220"/>
              <a:gd name="connsiteX2" fmla="*/ 8310720 w 8674979"/>
              <a:gd name="connsiteY2" fmla="*/ 182880 h 186220"/>
              <a:gd name="connsiteX3" fmla="*/ 2938 w 8674979"/>
              <a:gd name="connsiteY3" fmla="*/ 186220 h 186220"/>
              <a:gd name="connsiteX4" fmla="*/ 0 w 8674979"/>
              <a:gd name="connsiteY4" fmla="*/ 3340 h 186220"/>
              <a:gd name="connsiteX0" fmla="*/ 0 w 8674979"/>
              <a:gd name="connsiteY0" fmla="*/ 0 h 189166"/>
              <a:gd name="connsiteX1" fmla="*/ 8674979 w 8674979"/>
              <a:gd name="connsiteY1" fmla="*/ 2946 h 189166"/>
              <a:gd name="connsiteX2" fmla="*/ 8310720 w 8674979"/>
              <a:gd name="connsiteY2" fmla="*/ 185826 h 189166"/>
              <a:gd name="connsiteX3" fmla="*/ 2938 w 8674979"/>
              <a:gd name="connsiteY3" fmla="*/ 189166 h 189166"/>
              <a:gd name="connsiteX4" fmla="*/ 0 w 8674979"/>
              <a:gd name="connsiteY4" fmla="*/ 0 h 189166"/>
              <a:gd name="connsiteX0" fmla="*/ 0 w 8674979"/>
              <a:gd name="connsiteY0" fmla="*/ 444 h 189610"/>
              <a:gd name="connsiteX1" fmla="*/ 8674979 w 8674979"/>
              <a:gd name="connsiteY1" fmla="*/ 0 h 189610"/>
              <a:gd name="connsiteX2" fmla="*/ 8310720 w 8674979"/>
              <a:gd name="connsiteY2" fmla="*/ 186270 h 189610"/>
              <a:gd name="connsiteX3" fmla="*/ 2938 w 8674979"/>
              <a:gd name="connsiteY3" fmla="*/ 189610 h 189610"/>
              <a:gd name="connsiteX4" fmla="*/ 0 w 8674979"/>
              <a:gd name="connsiteY4" fmla="*/ 444 h 189610"/>
              <a:gd name="connsiteX0" fmla="*/ 0 w 8674979"/>
              <a:gd name="connsiteY0" fmla="*/ 444 h 189660"/>
              <a:gd name="connsiteX1" fmla="*/ 8674979 w 8674979"/>
              <a:gd name="connsiteY1" fmla="*/ 0 h 189660"/>
              <a:gd name="connsiteX2" fmla="*/ 8310720 w 8674979"/>
              <a:gd name="connsiteY2" fmla="*/ 189660 h 189660"/>
              <a:gd name="connsiteX3" fmla="*/ 2938 w 8674979"/>
              <a:gd name="connsiteY3" fmla="*/ 189610 h 189660"/>
              <a:gd name="connsiteX4" fmla="*/ 0 w 8674979"/>
              <a:gd name="connsiteY4" fmla="*/ 444 h 189660"/>
              <a:gd name="connsiteX0" fmla="*/ 0 w 10119577"/>
              <a:gd name="connsiteY0" fmla="*/ 0 h 189216"/>
              <a:gd name="connsiteX1" fmla="*/ 10119577 w 10119577"/>
              <a:gd name="connsiteY1" fmla="*/ 686 h 189216"/>
              <a:gd name="connsiteX2" fmla="*/ 8310720 w 10119577"/>
              <a:gd name="connsiteY2" fmla="*/ 189216 h 189216"/>
              <a:gd name="connsiteX3" fmla="*/ 2938 w 10119577"/>
              <a:gd name="connsiteY3" fmla="*/ 189166 h 189216"/>
              <a:gd name="connsiteX4" fmla="*/ 0 w 10119577"/>
              <a:gd name="connsiteY4" fmla="*/ 0 h 189216"/>
              <a:gd name="connsiteX0" fmla="*/ 0 w 10119577"/>
              <a:gd name="connsiteY0" fmla="*/ 173 h 189389"/>
              <a:gd name="connsiteX1" fmla="*/ 10119577 w 10119577"/>
              <a:gd name="connsiteY1" fmla="*/ 0 h 189389"/>
              <a:gd name="connsiteX2" fmla="*/ 8310720 w 10119577"/>
              <a:gd name="connsiteY2" fmla="*/ 189389 h 189389"/>
              <a:gd name="connsiteX3" fmla="*/ 2938 w 10119577"/>
              <a:gd name="connsiteY3" fmla="*/ 189339 h 189389"/>
              <a:gd name="connsiteX4" fmla="*/ 0 w 10119577"/>
              <a:gd name="connsiteY4" fmla="*/ 173 h 189389"/>
              <a:gd name="connsiteX0" fmla="*/ 10004 w 10129581"/>
              <a:gd name="connsiteY0" fmla="*/ 173 h 189389"/>
              <a:gd name="connsiteX1" fmla="*/ 10129581 w 10129581"/>
              <a:gd name="connsiteY1" fmla="*/ 0 h 189389"/>
              <a:gd name="connsiteX2" fmla="*/ 8320724 w 10129581"/>
              <a:gd name="connsiteY2" fmla="*/ 189389 h 189389"/>
              <a:gd name="connsiteX3" fmla="*/ 57 w 10129581"/>
              <a:gd name="connsiteY3" fmla="*/ 189339 h 189389"/>
              <a:gd name="connsiteX4" fmla="*/ 10004 w 10129581"/>
              <a:gd name="connsiteY4" fmla="*/ 173 h 189389"/>
              <a:gd name="connsiteX0" fmla="*/ 9947 w 10129524"/>
              <a:gd name="connsiteY0" fmla="*/ 173 h 189389"/>
              <a:gd name="connsiteX1" fmla="*/ 10129524 w 10129524"/>
              <a:gd name="connsiteY1" fmla="*/ 0 h 189389"/>
              <a:gd name="connsiteX2" fmla="*/ 8320667 w 10129524"/>
              <a:gd name="connsiteY2" fmla="*/ 189389 h 189389"/>
              <a:gd name="connsiteX3" fmla="*/ 0 w 10129524"/>
              <a:gd name="connsiteY3" fmla="*/ 189339 h 189389"/>
              <a:gd name="connsiteX4" fmla="*/ 9947 w 10129524"/>
              <a:gd name="connsiteY4" fmla="*/ 173 h 189389"/>
              <a:gd name="connsiteX0" fmla="*/ 9947 w 10129524"/>
              <a:gd name="connsiteY0" fmla="*/ 173 h 189389"/>
              <a:gd name="connsiteX1" fmla="*/ 10129524 w 10129524"/>
              <a:gd name="connsiteY1" fmla="*/ 0 h 189389"/>
              <a:gd name="connsiteX2" fmla="*/ 8320667 w 10129524"/>
              <a:gd name="connsiteY2" fmla="*/ 189389 h 189389"/>
              <a:gd name="connsiteX3" fmla="*/ 0 w 10129524"/>
              <a:gd name="connsiteY3" fmla="*/ 189339 h 189389"/>
              <a:gd name="connsiteX4" fmla="*/ 9947 w 10129524"/>
              <a:gd name="connsiteY4" fmla="*/ 173 h 189389"/>
              <a:gd name="connsiteX0" fmla="*/ 0 w 10119577"/>
              <a:gd name="connsiteY0" fmla="*/ 173 h 189389"/>
              <a:gd name="connsiteX1" fmla="*/ 10119577 w 10119577"/>
              <a:gd name="connsiteY1" fmla="*/ 0 h 189389"/>
              <a:gd name="connsiteX2" fmla="*/ 8310720 w 10119577"/>
              <a:gd name="connsiteY2" fmla="*/ 189389 h 189389"/>
              <a:gd name="connsiteX3" fmla="*/ 15823 w 10119577"/>
              <a:gd name="connsiteY3" fmla="*/ 189339 h 189389"/>
              <a:gd name="connsiteX4" fmla="*/ 0 w 10119577"/>
              <a:gd name="connsiteY4" fmla="*/ 173 h 189389"/>
              <a:gd name="connsiteX0" fmla="*/ 0 w 10119577"/>
              <a:gd name="connsiteY0" fmla="*/ 173 h 189389"/>
              <a:gd name="connsiteX1" fmla="*/ 10119577 w 10119577"/>
              <a:gd name="connsiteY1" fmla="*/ 0 h 189389"/>
              <a:gd name="connsiteX2" fmla="*/ 8310720 w 10119577"/>
              <a:gd name="connsiteY2" fmla="*/ 189389 h 189389"/>
              <a:gd name="connsiteX3" fmla="*/ 2938 w 10119577"/>
              <a:gd name="connsiteY3" fmla="*/ 189339 h 189389"/>
              <a:gd name="connsiteX4" fmla="*/ 0 w 10119577"/>
              <a:gd name="connsiteY4" fmla="*/ 173 h 189389"/>
              <a:gd name="connsiteX0" fmla="*/ 0 w 21540281"/>
              <a:gd name="connsiteY0" fmla="*/ 9120 h 189389"/>
              <a:gd name="connsiteX1" fmla="*/ 21540281 w 21540281"/>
              <a:gd name="connsiteY1" fmla="*/ 0 h 189389"/>
              <a:gd name="connsiteX2" fmla="*/ 19731424 w 21540281"/>
              <a:gd name="connsiteY2" fmla="*/ 189389 h 189389"/>
              <a:gd name="connsiteX3" fmla="*/ 11423642 w 21540281"/>
              <a:gd name="connsiteY3" fmla="*/ 189339 h 189389"/>
              <a:gd name="connsiteX4" fmla="*/ 0 w 21540281"/>
              <a:gd name="connsiteY4" fmla="*/ 9120 h 189389"/>
              <a:gd name="connsiteX0" fmla="*/ 0 w 21540281"/>
              <a:gd name="connsiteY0" fmla="*/ 9120 h 192321"/>
              <a:gd name="connsiteX1" fmla="*/ 21540281 w 21540281"/>
              <a:gd name="connsiteY1" fmla="*/ 0 h 192321"/>
              <a:gd name="connsiteX2" fmla="*/ 19731424 w 21540281"/>
              <a:gd name="connsiteY2" fmla="*/ 189389 h 192321"/>
              <a:gd name="connsiteX3" fmla="*/ 2942 w 21540281"/>
              <a:gd name="connsiteY3" fmla="*/ 192321 h 192321"/>
              <a:gd name="connsiteX4" fmla="*/ 0 w 21540281"/>
              <a:gd name="connsiteY4" fmla="*/ 9120 h 192321"/>
              <a:gd name="connsiteX0" fmla="*/ 0 w 21540281"/>
              <a:gd name="connsiteY0" fmla="*/ 6138 h 192321"/>
              <a:gd name="connsiteX1" fmla="*/ 21540281 w 21540281"/>
              <a:gd name="connsiteY1" fmla="*/ 0 h 192321"/>
              <a:gd name="connsiteX2" fmla="*/ 19731424 w 21540281"/>
              <a:gd name="connsiteY2" fmla="*/ 189389 h 192321"/>
              <a:gd name="connsiteX3" fmla="*/ 2942 w 21540281"/>
              <a:gd name="connsiteY3" fmla="*/ 192321 h 192321"/>
              <a:gd name="connsiteX4" fmla="*/ 0 w 21540281"/>
              <a:gd name="connsiteY4" fmla="*/ 6138 h 192321"/>
              <a:gd name="connsiteX0" fmla="*/ 2579162 w 24119443"/>
              <a:gd name="connsiteY0" fmla="*/ 6138 h 192321"/>
              <a:gd name="connsiteX1" fmla="*/ 24119443 w 24119443"/>
              <a:gd name="connsiteY1" fmla="*/ 0 h 192321"/>
              <a:gd name="connsiteX2" fmla="*/ 22310586 w 24119443"/>
              <a:gd name="connsiteY2" fmla="*/ 189389 h 192321"/>
              <a:gd name="connsiteX3" fmla="*/ 2582104 w 24119443"/>
              <a:gd name="connsiteY3" fmla="*/ 192321 h 192321"/>
              <a:gd name="connsiteX4" fmla="*/ 2579162 w 24119443"/>
              <a:gd name="connsiteY4" fmla="*/ 6138 h 192321"/>
              <a:gd name="connsiteX0" fmla="*/ 1459081 w 22999362"/>
              <a:gd name="connsiteY0" fmla="*/ 6138 h 192321"/>
              <a:gd name="connsiteX1" fmla="*/ 22999362 w 22999362"/>
              <a:gd name="connsiteY1" fmla="*/ 0 h 192321"/>
              <a:gd name="connsiteX2" fmla="*/ 21190505 w 22999362"/>
              <a:gd name="connsiteY2" fmla="*/ 189389 h 192321"/>
              <a:gd name="connsiteX3" fmla="*/ 1462023 w 22999362"/>
              <a:gd name="connsiteY3" fmla="*/ 192321 h 192321"/>
              <a:gd name="connsiteX4" fmla="*/ 1459081 w 22999362"/>
              <a:gd name="connsiteY4" fmla="*/ 6138 h 192321"/>
              <a:gd name="connsiteX0" fmla="*/ 2579108 w 24119389"/>
              <a:gd name="connsiteY0" fmla="*/ 6138 h 192321"/>
              <a:gd name="connsiteX1" fmla="*/ 24119389 w 24119389"/>
              <a:gd name="connsiteY1" fmla="*/ 0 h 192321"/>
              <a:gd name="connsiteX2" fmla="*/ 22310532 w 24119389"/>
              <a:gd name="connsiteY2" fmla="*/ 189389 h 192321"/>
              <a:gd name="connsiteX3" fmla="*/ 2582050 w 24119389"/>
              <a:gd name="connsiteY3" fmla="*/ 192321 h 192321"/>
              <a:gd name="connsiteX4" fmla="*/ 2579108 w 24119389"/>
              <a:gd name="connsiteY4" fmla="*/ 6138 h 192321"/>
              <a:gd name="connsiteX0" fmla="*/ 1594923 w 23135204"/>
              <a:gd name="connsiteY0" fmla="*/ 6138 h 192321"/>
              <a:gd name="connsiteX1" fmla="*/ 23135204 w 23135204"/>
              <a:gd name="connsiteY1" fmla="*/ 0 h 192321"/>
              <a:gd name="connsiteX2" fmla="*/ 21326347 w 23135204"/>
              <a:gd name="connsiteY2" fmla="*/ 189389 h 192321"/>
              <a:gd name="connsiteX3" fmla="*/ 1597865 w 23135204"/>
              <a:gd name="connsiteY3" fmla="*/ 192321 h 192321"/>
              <a:gd name="connsiteX4" fmla="*/ 1594923 w 23135204"/>
              <a:gd name="connsiteY4" fmla="*/ 6138 h 192321"/>
              <a:gd name="connsiteX0" fmla="*/ 1 w 21540282"/>
              <a:gd name="connsiteY0" fmla="*/ 6138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3 w 21540282"/>
              <a:gd name="connsiteY3" fmla="*/ 192321 h 192321"/>
              <a:gd name="connsiteX4" fmla="*/ 1 w 21540282"/>
              <a:gd name="connsiteY4" fmla="*/ 6138 h 192321"/>
              <a:gd name="connsiteX0" fmla="*/ 0 w 21540282"/>
              <a:gd name="connsiteY0" fmla="*/ 3156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3 w 21540282"/>
              <a:gd name="connsiteY3" fmla="*/ 192321 h 192321"/>
              <a:gd name="connsiteX4" fmla="*/ 0 w 21540282"/>
              <a:gd name="connsiteY4" fmla="*/ 3156 h 192321"/>
              <a:gd name="connsiteX0" fmla="*/ 0 w 21540282"/>
              <a:gd name="connsiteY0" fmla="*/ 347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3 w 21540282"/>
              <a:gd name="connsiteY3" fmla="*/ 192321 h 192321"/>
              <a:gd name="connsiteX4" fmla="*/ 0 w 21540282"/>
              <a:gd name="connsiteY4" fmla="*/ 347 h 192321"/>
              <a:gd name="connsiteX0" fmla="*/ 0 w 21540282"/>
              <a:gd name="connsiteY0" fmla="*/ 347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2 w 21540282"/>
              <a:gd name="connsiteY3" fmla="*/ 192321 h 192321"/>
              <a:gd name="connsiteX4" fmla="*/ 0 w 21540282"/>
              <a:gd name="connsiteY4" fmla="*/ 347 h 192321"/>
              <a:gd name="connsiteX0" fmla="*/ 0 w 21540282"/>
              <a:gd name="connsiteY0" fmla="*/ 347 h 189512"/>
              <a:gd name="connsiteX1" fmla="*/ 21540282 w 21540282"/>
              <a:gd name="connsiteY1" fmla="*/ 0 h 189512"/>
              <a:gd name="connsiteX2" fmla="*/ 19731425 w 21540282"/>
              <a:gd name="connsiteY2" fmla="*/ 189389 h 189512"/>
              <a:gd name="connsiteX3" fmla="*/ 2942 w 21540282"/>
              <a:gd name="connsiteY3" fmla="*/ 189512 h 189512"/>
              <a:gd name="connsiteX4" fmla="*/ 0 w 21540282"/>
              <a:gd name="connsiteY4" fmla="*/ 347 h 189512"/>
              <a:gd name="connsiteX0" fmla="*/ 0 w 20903501"/>
              <a:gd name="connsiteY0" fmla="*/ 347 h 189512"/>
              <a:gd name="connsiteX1" fmla="*/ 20903501 w 20903501"/>
              <a:gd name="connsiteY1" fmla="*/ 0 h 189512"/>
              <a:gd name="connsiteX2" fmla="*/ 19731425 w 20903501"/>
              <a:gd name="connsiteY2" fmla="*/ 189389 h 189512"/>
              <a:gd name="connsiteX3" fmla="*/ 2942 w 20903501"/>
              <a:gd name="connsiteY3" fmla="*/ 189512 h 189512"/>
              <a:gd name="connsiteX4" fmla="*/ 0 w 20903501"/>
              <a:gd name="connsiteY4" fmla="*/ 347 h 189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903501" h="189512">
                <a:moveTo>
                  <a:pt x="0" y="347"/>
                </a:moveTo>
                <a:lnTo>
                  <a:pt x="20903501" y="0"/>
                </a:lnTo>
                <a:lnTo>
                  <a:pt x="19731425" y="189389"/>
                </a:lnTo>
                <a:lnTo>
                  <a:pt x="2942" y="189512"/>
                </a:lnTo>
                <a:cubicBezTo>
                  <a:pt x="1961" y="125521"/>
                  <a:pt x="981" y="64338"/>
                  <a:pt x="0" y="34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2883" y="3748408"/>
            <a:ext cx="8457972" cy="984333"/>
          </a:xfrm>
        </p:spPr>
        <p:txBody>
          <a:bodyPr anchor="b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12883" y="4800476"/>
            <a:ext cx="8457972" cy="640767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12883" y="5580380"/>
            <a:ext cx="3303862" cy="3651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1000">
                <a:solidFill>
                  <a:schemeClr val="tx1"/>
                </a:solidFill>
                <a:latin typeface="+mn-lt"/>
                <a:cs typeface="Arial"/>
              </a:defRPr>
            </a:lvl1pPr>
          </a:lstStyle>
          <a:p>
            <a:endParaRPr lang="en-US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38F46E6-B30F-4BB4-8F82-08AD4C6EA8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74032" y="5851212"/>
            <a:ext cx="1060725" cy="822309"/>
          </a:xfrm>
          <a:prstGeom prst="rect">
            <a:avLst/>
          </a:prstGeom>
        </p:spPr>
      </p:pic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B1B375D4-5229-42D1-ACCC-C091DAB25EB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-11117" y="1927755"/>
            <a:ext cx="3018306" cy="1706562"/>
          </a:xfr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17" name="Picture Placeholder 15">
            <a:extLst>
              <a:ext uri="{FF2B5EF4-FFF2-40B4-BE49-F238E27FC236}">
                <a16:creationId xmlns:a16="http://schemas.microsoft.com/office/drawing/2014/main" id="{9AA1076D-6C42-4BB3-BA4D-45B182AC9A43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050486" y="1927755"/>
            <a:ext cx="3018306" cy="1706562"/>
          </a:xfr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18" name="Picture Placeholder 15">
            <a:extLst>
              <a:ext uri="{FF2B5EF4-FFF2-40B4-BE49-F238E27FC236}">
                <a16:creationId xmlns:a16="http://schemas.microsoft.com/office/drawing/2014/main" id="{94262E97-B7F8-4095-A959-B2C6D66AE08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12090" y="1927755"/>
            <a:ext cx="3018306" cy="1706562"/>
          </a:xfr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19" name="Picture Placeholder 15">
            <a:extLst>
              <a:ext uri="{FF2B5EF4-FFF2-40B4-BE49-F238E27FC236}">
                <a16:creationId xmlns:a16="http://schemas.microsoft.com/office/drawing/2014/main" id="{C14C4D13-49AC-4208-BEFF-0899F4B2E2E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173694" y="1927755"/>
            <a:ext cx="3018306" cy="1706562"/>
          </a:xfr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Insert photo here</a:t>
            </a:r>
          </a:p>
        </p:txBody>
      </p:sp>
    </p:spTree>
    <p:extLst>
      <p:ext uri="{BB962C8B-B14F-4D97-AF65-F5344CB8AC3E}">
        <p14:creationId xmlns:p14="http://schemas.microsoft.com/office/powerpoint/2010/main" val="237391008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2883" y="2817077"/>
            <a:ext cx="8457972" cy="984333"/>
          </a:xfrm>
        </p:spPr>
        <p:txBody>
          <a:bodyPr anchor="b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12883" y="3869145"/>
            <a:ext cx="8457972" cy="640767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A85F325-7987-4A1E-820A-9A64A1B13356}"/>
              </a:ext>
            </a:extLst>
          </p:cNvPr>
          <p:cNvSpPr/>
          <p:nvPr userDrawn="1"/>
        </p:nvSpPr>
        <p:spPr>
          <a:xfrm>
            <a:off x="8485838" y="2209311"/>
            <a:ext cx="3706162" cy="48212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3" name="Rectangle 3">
            <a:extLst>
              <a:ext uri="{FF2B5EF4-FFF2-40B4-BE49-F238E27FC236}">
                <a16:creationId xmlns:a16="http://schemas.microsoft.com/office/drawing/2014/main" id="{352936BF-BEFE-420D-886B-904153FF49AA}"/>
              </a:ext>
            </a:extLst>
          </p:cNvPr>
          <p:cNvSpPr/>
          <p:nvPr userDrawn="1"/>
        </p:nvSpPr>
        <p:spPr>
          <a:xfrm>
            <a:off x="0" y="2209626"/>
            <a:ext cx="9077242" cy="482776"/>
          </a:xfrm>
          <a:custGeom>
            <a:avLst/>
            <a:gdLst>
              <a:gd name="connsiteX0" fmla="*/ 0 w 6709251"/>
              <a:gd name="connsiteY0" fmla="*/ 0 h 182880"/>
              <a:gd name="connsiteX1" fmla="*/ 6709251 w 6709251"/>
              <a:gd name="connsiteY1" fmla="*/ 0 h 182880"/>
              <a:gd name="connsiteX2" fmla="*/ 6709251 w 6709251"/>
              <a:gd name="connsiteY2" fmla="*/ 182880 h 182880"/>
              <a:gd name="connsiteX3" fmla="*/ 0 w 6709251"/>
              <a:gd name="connsiteY3" fmla="*/ 182880 h 182880"/>
              <a:gd name="connsiteX4" fmla="*/ 0 w 6709251"/>
              <a:gd name="connsiteY4" fmla="*/ 0 h 182880"/>
              <a:gd name="connsiteX0" fmla="*/ 0 w 7073510"/>
              <a:gd name="connsiteY0" fmla="*/ 0 h 182880"/>
              <a:gd name="connsiteX1" fmla="*/ 7073510 w 7073510"/>
              <a:gd name="connsiteY1" fmla="*/ 0 h 182880"/>
              <a:gd name="connsiteX2" fmla="*/ 6709251 w 7073510"/>
              <a:gd name="connsiteY2" fmla="*/ 182880 h 182880"/>
              <a:gd name="connsiteX3" fmla="*/ 0 w 7073510"/>
              <a:gd name="connsiteY3" fmla="*/ 182880 h 182880"/>
              <a:gd name="connsiteX4" fmla="*/ 0 w 7073510"/>
              <a:gd name="connsiteY4" fmla="*/ 0 h 182880"/>
              <a:gd name="connsiteX0" fmla="*/ 0 w 8678702"/>
              <a:gd name="connsiteY0" fmla="*/ 0 h 182880"/>
              <a:gd name="connsiteX1" fmla="*/ 8678702 w 8678702"/>
              <a:gd name="connsiteY1" fmla="*/ 0 h 182880"/>
              <a:gd name="connsiteX2" fmla="*/ 8314443 w 8678702"/>
              <a:gd name="connsiteY2" fmla="*/ 182880 h 182880"/>
              <a:gd name="connsiteX3" fmla="*/ 1605192 w 8678702"/>
              <a:gd name="connsiteY3" fmla="*/ 182880 h 182880"/>
              <a:gd name="connsiteX4" fmla="*/ 0 w 8678702"/>
              <a:gd name="connsiteY4" fmla="*/ 0 h 182880"/>
              <a:gd name="connsiteX0" fmla="*/ 0 w 8678702"/>
              <a:gd name="connsiteY0" fmla="*/ 0 h 186220"/>
              <a:gd name="connsiteX1" fmla="*/ 8678702 w 8678702"/>
              <a:gd name="connsiteY1" fmla="*/ 0 h 186220"/>
              <a:gd name="connsiteX2" fmla="*/ 8314443 w 8678702"/>
              <a:gd name="connsiteY2" fmla="*/ 182880 h 186220"/>
              <a:gd name="connsiteX3" fmla="*/ 6661 w 8678702"/>
              <a:gd name="connsiteY3" fmla="*/ 186220 h 186220"/>
              <a:gd name="connsiteX4" fmla="*/ 0 w 8678702"/>
              <a:gd name="connsiteY4" fmla="*/ 0 h 186220"/>
              <a:gd name="connsiteX0" fmla="*/ 133211 w 8672041"/>
              <a:gd name="connsiteY0" fmla="*/ 50097 h 186220"/>
              <a:gd name="connsiteX1" fmla="*/ 8672041 w 8672041"/>
              <a:gd name="connsiteY1" fmla="*/ 0 h 186220"/>
              <a:gd name="connsiteX2" fmla="*/ 8307782 w 8672041"/>
              <a:gd name="connsiteY2" fmla="*/ 182880 h 186220"/>
              <a:gd name="connsiteX3" fmla="*/ 0 w 8672041"/>
              <a:gd name="connsiteY3" fmla="*/ 186220 h 186220"/>
              <a:gd name="connsiteX4" fmla="*/ 133211 w 8672041"/>
              <a:gd name="connsiteY4" fmla="*/ 50097 h 186220"/>
              <a:gd name="connsiteX0" fmla="*/ 3330 w 8672041"/>
              <a:gd name="connsiteY0" fmla="*/ 3340 h 186220"/>
              <a:gd name="connsiteX1" fmla="*/ 8672041 w 8672041"/>
              <a:gd name="connsiteY1" fmla="*/ 0 h 186220"/>
              <a:gd name="connsiteX2" fmla="*/ 8307782 w 8672041"/>
              <a:gd name="connsiteY2" fmla="*/ 182880 h 186220"/>
              <a:gd name="connsiteX3" fmla="*/ 0 w 8672041"/>
              <a:gd name="connsiteY3" fmla="*/ 186220 h 186220"/>
              <a:gd name="connsiteX4" fmla="*/ 3330 w 8672041"/>
              <a:gd name="connsiteY4" fmla="*/ 3340 h 186220"/>
              <a:gd name="connsiteX0" fmla="*/ 3330 w 8672041"/>
              <a:gd name="connsiteY0" fmla="*/ 3340 h 186220"/>
              <a:gd name="connsiteX1" fmla="*/ 8672041 w 8672041"/>
              <a:gd name="connsiteY1" fmla="*/ 0 h 186220"/>
              <a:gd name="connsiteX2" fmla="*/ 8307782 w 8672041"/>
              <a:gd name="connsiteY2" fmla="*/ 182880 h 186220"/>
              <a:gd name="connsiteX3" fmla="*/ 0 w 8672041"/>
              <a:gd name="connsiteY3" fmla="*/ 186220 h 186220"/>
              <a:gd name="connsiteX4" fmla="*/ 3330 w 8672041"/>
              <a:gd name="connsiteY4" fmla="*/ 3340 h 186220"/>
              <a:gd name="connsiteX0" fmla="*/ 0 w 8674979"/>
              <a:gd name="connsiteY0" fmla="*/ 3340 h 186220"/>
              <a:gd name="connsiteX1" fmla="*/ 8674979 w 8674979"/>
              <a:gd name="connsiteY1" fmla="*/ 0 h 186220"/>
              <a:gd name="connsiteX2" fmla="*/ 8310720 w 8674979"/>
              <a:gd name="connsiteY2" fmla="*/ 182880 h 186220"/>
              <a:gd name="connsiteX3" fmla="*/ 2938 w 8674979"/>
              <a:gd name="connsiteY3" fmla="*/ 186220 h 186220"/>
              <a:gd name="connsiteX4" fmla="*/ 0 w 8674979"/>
              <a:gd name="connsiteY4" fmla="*/ 3340 h 186220"/>
              <a:gd name="connsiteX0" fmla="*/ 0 w 8674979"/>
              <a:gd name="connsiteY0" fmla="*/ 0 h 189166"/>
              <a:gd name="connsiteX1" fmla="*/ 8674979 w 8674979"/>
              <a:gd name="connsiteY1" fmla="*/ 2946 h 189166"/>
              <a:gd name="connsiteX2" fmla="*/ 8310720 w 8674979"/>
              <a:gd name="connsiteY2" fmla="*/ 185826 h 189166"/>
              <a:gd name="connsiteX3" fmla="*/ 2938 w 8674979"/>
              <a:gd name="connsiteY3" fmla="*/ 189166 h 189166"/>
              <a:gd name="connsiteX4" fmla="*/ 0 w 8674979"/>
              <a:gd name="connsiteY4" fmla="*/ 0 h 189166"/>
              <a:gd name="connsiteX0" fmla="*/ 0 w 8674979"/>
              <a:gd name="connsiteY0" fmla="*/ 444 h 189610"/>
              <a:gd name="connsiteX1" fmla="*/ 8674979 w 8674979"/>
              <a:gd name="connsiteY1" fmla="*/ 0 h 189610"/>
              <a:gd name="connsiteX2" fmla="*/ 8310720 w 8674979"/>
              <a:gd name="connsiteY2" fmla="*/ 186270 h 189610"/>
              <a:gd name="connsiteX3" fmla="*/ 2938 w 8674979"/>
              <a:gd name="connsiteY3" fmla="*/ 189610 h 189610"/>
              <a:gd name="connsiteX4" fmla="*/ 0 w 8674979"/>
              <a:gd name="connsiteY4" fmla="*/ 444 h 189610"/>
              <a:gd name="connsiteX0" fmla="*/ 0 w 8674979"/>
              <a:gd name="connsiteY0" fmla="*/ 444 h 189660"/>
              <a:gd name="connsiteX1" fmla="*/ 8674979 w 8674979"/>
              <a:gd name="connsiteY1" fmla="*/ 0 h 189660"/>
              <a:gd name="connsiteX2" fmla="*/ 8310720 w 8674979"/>
              <a:gd name="connsiteY2" fmla="*/ 189660 h 189660"/>
              <a:gd name="connsiteX3" fmla="*/ 2938 w 8674979"/>
              <a:gd name="connsiteY3" fmla="*/ 189610 h 189660"/>
              <a:gd name="connsiteX4" fmla="*/ 0 w 8674979"/>
              <a:gd name="connsiteY4" fmla="*/ 444 h 189660"/>
              <a:gd name="connsiteX0" fmla="*/ 0 w 10119577"/>
              <a:gd name="connsiteY0" fmla="*/ 0 h 189216"/>
              <a:gd name="connsiteX1" fmla="*/ 10119577 w 10119577"/>
              <a:gd name="connsiteY1" fmla="*/ 686 h 189216"/>
              <a:gd name="connsiteX2" fmla="*/ 8310720 w 10119577"/>
              <a:gd name="connsiteY2" fmla="*/ 189216 h 189216"/>
              <a:gd name="connsiteX3" fmla="*/ 2938 w 10119577"/>
              <a:gd name="connsiteY3" fmla="*/ 189166 h 189216"/>
              <a:gd name="connsiteX4" fmla="*/ 0 w 10119577"/>
              <a:gd name="connsiteY4" fmla="*/ 0 h 189216"/>
              <a:gd name="connsiteX0" fmla="*/ 0 w 10119577"/>
              <a:gd name="connsiteY0" fmla="*/ 173 h 189389"/>
              <a:gd name="connsiteX1" fmla="*/ 10119577 w 10119577"/>
              <a:gd name="connsiteY1" fmla="*/ 0 h 189389"/>
              <a:gd name="connsiteX2" fmla="*/ 8310720 w 10119577"/>
              <a:gd name="connsiteY2" fmla="*/ 189389 h 189389"/>
              <a:gd name="connsiteX3" fmla="*/ 2938 w 10119577"/>
              <a:gd name="connsiteY3" fmla="*/ 189339 h 189389"/>
              <a:gd name="connsiteX4" fmla="*/ 0 w 10119577"/>
              <a:gd name="connsiteY4" fmla="*/ 173 h 189389"/>
              <a:gd name="connsiteX0" fmla="*/ 10004 w 10129581"/>
              <a:gd name="connsiteY0" fmla="*/ 173 h 189389"/>
              <a:gd name="connsiteX1" fmla="*/ 10129581 w 10129581"/>
              <a:gd name="connsiteY1" fmla="*/ 0 h 189389"/>
              <a:gd name="connsiteX2" fmla="*/ 8320724 w 10129581"/>
              <a:gd name="connsiteY2" fmla="*/ 189389 h 189389"/>
              <a:gd name="connsiteX3" fmla="*/ 57 w 10129581"/>
              <a:gd name="connsiteY3" fmla="*/ 189339 h 189389"/>
              <a:gd name="connsiteX4" fmla="*/ 10004 w 10129581"/>
              <a:gd name="connsiteY4" fmla="*/ 173 h 189389"/>
              <a:gd name="connsiteX0" fmla="*/ 9947 w 10129524"/>
              <a:gd name="connsiteY0" fmla="*/ 173 h 189389"/>
              <a:gd name="connsiteX1" fmla="*/ 10129524 w 10129524"/>
              <a:gd name="connsiteY1" fmla="*/ 0 h 189389"/>
              <a:gd name="connsiteX2" fmla="*/ 8320667 w 10129524"/>
              <a:gd name="connsiteY2" fmla="*/ 189389 h 189389"/>
              <a:gd name="connsiteX3" fmla="*/ 0 w 10129524"/>
              <a:gd name="connsiteY3" fmla="*/ 189339 h 189389"/>
              <a:gd name="connsiteX4" fmla="*/ 9947 w 10129524"/>
              <a:gd name="connsiteY4" fmla="*/ 173 h 189389"/>
              <a:gd name="connsiteX0" fmla="*/ 9947 w 10129524"/>
              <a:gd name="connsiteY0" fmla="*/ 173 h 189389"/>
              <a:gd name="connsiteX1" fmla="*/ 10129524 w 10129524"/>
              <a:gd name="connsiteY1" fmla="*/ 0 h 189389"/>
              <a:gd name="connsiteX2" fmla="*/ 8320667 w 10129524"/>
              <a:gd name="connsiteY2" fmla="*/ 189389 h 189389"/>
              <a:gd name="connsiteX3" fmla="*/ 0 w 10129524"/>
              <a:gd name="connsiteY3" fmla="*/ 189339 h 189389"/>
              <a:gd name="connsiteX4" fmla="*/ 9947 w 10129524"/>
              <a:gd name="connsiteY4" fmla="*/ 173 h 189389"/>
              <a:gd name="connsiteX0" fmla="*/ 0 w 10119577"/>
              <a:gd name="connsiteY0" fmla="*/ 173 h 189389"/>
              <a:gd name="connsiteX1" fmla="*/ 10119577 w 10119577"/>
              <a:gd name="connsiteY1" fmla="*/ 0 h 189389"/>
              <a:gd name="connsiteX2" fmla="*/ 8310720 w 10119577"/>
              <a:gd name="connsiteY2" fmla="*/ 189389 h 189389"/>
              <a:gd name="connsiteX3" fmla="*/ 15823 w 10119577"/>
              <a:gd name="connsiteY3" fmla="*/ 189339 h 189389"/>
              <a:gd name="connsiteX4" fmla="*/ 0 w 10119577"/>
              <a:gd name="connsiteY4" fmla="*/ 173 h 189389"/>
              <a:gd name="connsiteX0" fmla="*/ 0 w 10119577"/>
              <a:gd name="connsiteY0" fmla="*/ 173 h 189389"/>
              <a:gd name="connsiteX1" fmla="*/ 10119577 w 10119577"/>
              <a:gd name="connsiteY1" fmla="*/ 0 h 189389"/>
              <a:gd name="connsiteX2" fmla="*/ 8310720 w 10119577"/>
              <a:gd name="connsiteY2" fmla="*/ 189389 h 189389"/>
              <a:gd name="connsiteX3" fmla="*/ 2938 w 10119577"/>
              <a:gd name="connsiteY3" fmla="*/ 189339 h 189389"/>
              <a:gd name="connsiteX4" fmla="*/ 0 w 10119577"/>
              <a:gd name="connsiteY4" fmla="*/ 173 h 189389"/>
              <a:gd name="connsiteX0" fmla="*/ 0 w 21540281"/>
              <a:gd name="connsiteY0" fmla="*/ 9120 h 189389"/>
              <a:gd name="connsiteX1" fmla="*/ 21540281 w 21540281"/>
              <a:gd name="connsiteY1" fmla="*/ 0 h 189389"/>
              <a:gd name="connsiteX2" fmla="*/ 19731424 w 21540281"/>
              <a:gd name="connsiteY2" fmla="*/ 189389 h 189389"/>
              <a:gd name="connsiteX3" fmla="*/ 11423642 w 21540281"/>
              <a:gd name="connsiteY3" fmla="*/ 189339 h 189389"/>
              <a:gd name="connsiteX4" fmla="*/ 0 w 21540281"/>
              <a:gd name="connsiteY4" fmla="*/ 9120 h 189389"/>
              <a:gd name="connsiteX0" fmla="*/ 0 w 21540281"/>
              <a:gd name="connsiteY0" fmla="*/ 9120 h 192321"/>
              <a:gd name="connsiteX1" fmla="*/ 21540281 w 21540281"/>
              <a:gd name="connsiteY1" fmla="*/ 0 h 192321"/>
              <a:gd name="connsiteX2" fmla="*/ 19731424 w 21540281"/>
              <a:gd name="connsiteY2" fmla="*/ 189389 h 192321"/>
              <a:gd name="connsiteX3" fmla="*/ 2942 w 21540281"/>
              <a:gd name="connsiteY3" fmla="*/ 192321 h 192321"/>
              <a:gd name="connsiteX4" fmla="*/ 0 w 21540281"/>
              <a:gd name="connsiteY4" fmla="*/ 9120 h 192321"/>
              <a:gd name="connsiteX0" fmla="*/ 0 w 21540281"/>
              <a:gd name="connsiteY0" fmla="*/ 6138 h 192321"/>
              <a:gd name="connsiteX1" fmla="*/ 21540281 w 21540281"/>
              <a:gd name="connsiteY1" fmla="*/ 0 h 192321"/>
              <a:gd name="connsiteX2" fmla="*/ 19731424 w 21540281"/>
              <a:gd name="connsiteY2" fmla="*/ 189389 h 192321"/>
              <a:gd name="connsiteX3" fmla="*/ 2942 w 21540281"/>
              <a:gd name="connsiteY3" fmla="*/ 192321 h 192321"/>
              <a:gd name="connsiteX4" fmla="*/ 0 w 21540281"/>
              <a:gd name="connsiteY4" fmla="*/ 6138 h 192321"/>
              <a:gd name="connsiteX0" fmla="*/ 2579162 w 24119443"/>
              <a:gd name="connsiteY0" fmla="*/ 6138 h 192321"/>
              <a:gd name="connsiteX1" fmla="*/ 24119443 w 24119443"/>
              <a:gd name="connsiteY1" fmla="*/ 0 h 192321"/>
              <a:gd name="connsiteX2" fmla="*/ 22310586 w 24119443"/>
              <a:gd name="connsiteY2" fmla="*/ 189389 h 192321"/>
              <a:gd name="connsiteX3" fmla="*/ 2582104 w 24119443"/>
              <a:gd name="connsiteY3" fmla="*/ 192321 h 192321"/>
              <a:gd name="connsiteX4" fmla="*/ 2579162 w 24119443"/>
              <a:gd name="connsiteY4" fmla="*/ 6138 h 192321"/>
              <a:gd name="connsiteX0" fmla="*/ 1459081 w 22999362"/>
              <a:gd name="connsiteY0" fmla="*/ 6138 h 192321"/>
              <a:gd name="connsiteX1" fmla="*/ 22999362 w 22999362"/>
              <a:gd name="connsiteY1" fmla="*/ 0 h 192321"/>
              <a:gd name="connsiteX2" fmla="*/ 21190505 w 22999362"/>
              <a:gd name="connsiteY2" fmla="*/ 189389 h 192321"/>
              <a:gd name="connsiteX3" fmla="*/ 1462023 w 22999362"/>
              <a:gd name="connsiteY3" fmla="*/ 192321 h 192321"/>
              <a:gd name="connsiteX4" fmla="*/ 1459081 w 22999362"/>
              <a:gd name="connsiteY4" fmla="*/ 6138 h 192321"/>
              <a:gd name="connsiteX0" fmla="*/ 2579108 w 24119389"/>
              <a:gd name="connsiteY0" fmla="*/ 6138 h 192321"/>
              <a:gd name="connsiteX1" fmla="*/ 24119389 w 24119389"/>
              <a:gd name="connsiteY1" fmla="*/ 0 h 192321"/>
              <a:gd name="connsiteX2" fmla="*/ 22310532 w 24119389"/>
              <a:gd name="connsiteY2" fmla="*/ 189389 h 192321"/>
              <a:gd name="connsiteX3" fmla="*/ 2582050 w 24119389"/>
              <a:gd name="connsiteY3" fmla="*/ 192321 h 192321"/>
              <a:gd name="connsiteX4" fmla="*/ 2579108 w 24119389"/>
              <a:gd name="connsiteY4" fmla="*/ 6138 h 192321"/>
              <a:gd name="connsiteX0" fmla="*/ 1594923 w 23135204"/>
              <a:gd name="connsiteY0" fmla="*/ 6138 h 192321"/>
              <a:gd name="connsiteX1" fmla="*/ 23135204 w 23135204"/>
              <a:gd name="connsiteY1" fmla="*/ 0 h 192321"/>
              <a:gd name="connsiteX2" fmla="*/ 21326347 w 23135204"/>
              <a:gd name="connsiteY2" fmla="*/ 189389 h 192321"/>
              <a:gd name="connsiteX3" fmla="*/ 1597865 w 23135204"/>
              <a:gd name="connsiteY3" fmla="*/ 192321 h 192321"/>
              <a:gd name="connsiteX4" fmla="*/ 1594923 w 23135204"/>
              <a:gd name="connsiteY4" fmla="*/ 6138 h 192321"/>
              <a:gd name="connsiteX0" fmla="*/ 1 w 21540282"/>
              <a:gd name="connsiteY0" fmla="*/ 6138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3 w 21540282"/>
              <a:gd name="connsiteY3" fmla="*/ 192321 h 192321"/>
              <a:gd name="connsiteX4" fmla="*/ 1 w 21540282"/>
              <a:gd name="connsiteY4" fmla="*/ 6138 h 192321"/>
              <a:gd name="connsiteX0" fmla="*/ 0 w 21540282"/>
              <a:gd name="connsiteY0" fmla="*/ 3156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3 w 21540282"/>
              <a:gd name="connsiteY3" fmla="*/ 192321 h 192321"/>
              <a:gd name="connsiteX4" fmla="*/ 0 w 21540282"/>
              <a:gd name="connsiteY4" fmla="*/ 3156 h 192321"/>
              <a:gd name="connsiteX0" fmla="*/ 0 w 21540282"/>
              <a:gd name="connsiteY0" fmla="*/ 347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3 w 21540282"/>
              <a:gd name="connsiteY3" fmla="*/ 192321 h 192321"/>
              <a:gd name="connsiteX4" fmla="*/ 0 w 21540282"/>
              <a:gd name="connsiteY4" fmla="*/ 347 h 192321"/>
              <a:gd name="connsiteX0" fmla="*/ 0 w 21540282"/>
              <a:gd name="connsiteY0" fmla="*/ 347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2 w 21540282"/>
              <a:gd name="connsiteY3" fmla="*/ 192321 h 192321"/>
              <a:gd name="connsiteX4" fmla="*/ 0 w 21540282"/>
              <a:gd name="connsiteY4" fmla="*/ 347 h 192321"/>
              <a:gd name="connsiteX0" fmla="*/ 0 w 21540282"/>
              <a:gd name="connsiteY0" fmla="*/ 347 h 189512"/>
              <a:gd name="connsiteX1" fmla="*/ 21540282 w 21540282"/>
              <a:gd name="connsiteY1" fmla="*/ 0 h 189512"/>
              <a:gd name="connsiteX2" fmla="*/ 19731425 w 21540282"/>
              <a:gd name="connsiteY2" fmla="*/ 189389 h 189512"/>
              <a:gd name="connsiteX3" fmla="*/ 2942 w 21540282"/>
              <a:gd name="connsiteY3" fmla="*/ 189512 h 189512"/>
              <a:gd name="connsiteX4" fmla="*/ 0 w 21540282"/>
              <a:gd name="connsiteY4" fmla="*/ 347 h 189512"/>
              <a:gd name="connsiteX0" fmla="*/ 0 w 20903501"/>
              <a:gd name="connsiteY0" fmla="*/ 347 h 189512"/>
              <a:gd name="connsiteX1" fmla="*/ 20903501 w 20903501"/>
              <a:gd name="connsiteY1" fmla="*/ 0 h 189512"/>
              <a:gd name="connsiteX2" fmla="*/ 19731425 w 20903501"/>
              <a:gd name="connsiteY2" fmla="*/ 189389 h 189512"/>
              <a:gd name="connsiteX3" fmla="*/ 2942 w 20903501"/>
              <a:gd name="connsiteY3" fmla="*/ 189512 h 189512"/>
              <a:gd name="connsiteX4" fmla="*/ 0 w 20903501"/>
              <a:gd name="connsiteY4" fmla="*/ 347 h 189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903501" h="189512">
                <a:moveTo>
                  <a:pt x="0" y="347"/>
                </a:moveTo>
                <a:lnTo>
                  <a:pt x="20903501" y="0"/>
                </a:lnTo>
                <a:lnTo>
                  <a:pt x="19731425" y="189389"/>
                </a:lnTo>
                <a:lnTo>
                  <a:pt x="2942" y="189512"/>
                </a:lnTo>
                <a:cubicBezTo>
                  <a:pt x="1961" y="125521"/>
                  <a:pt x="981" y="64338"/>
                  <a:pt x="0" y="34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355EA5B-0213-49CD-B934-926AAD46209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74032" y="5851212"/>
            <a:ext cx="1060725" cy="822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916377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D9C4343-C115-504A-8D4F-0B17318D4A4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12883" y="1274826"/>
            <a:ext cx="11670783" cy="47132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itle 3"/>
          <p:cNvSpPr>
            <a:spLocks noGrp="1"/>
          </p:cNvSpPr>
          <p:nvPr>
            <p:ph type="title"/>
          </p:nvPr>
        </p:nvSpPr>
        <p:spPr>
          <a:xfrm>
            <a:off x="312883" y="323848"/>
            <a:ext cx="11670783" cy="8595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347336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2883" y="323850"/>
            <a:ext cx="11670783" cy="8595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9C4343-C115-504A-8D4F-0B17318D4A48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3"/>
          </p:nvPr>
        </p:nvSpPr>
        <p:spPr>
          <a:xfrm>
            <a:off x="312882" y="1274826"/>
            <a:ext cx="5701471" cy="4713224"/>
          </a:xfrm>
        </p:spPr>
        <p:txBody>
          <a:bodyPr/>
          <a:lstStyle>
            <a:lvl8pPr>
              <a:defRPr baseline="0"/>
            </a:lvl8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4"/>
          </p:nvPr>
        </p:nvSpPr>
        <p:spPr>
          <a:xfrm>
            <a:off x="6280925" y="1274826"/>
            <a:ext cx="5701471" cy="4713224"/>
          </a:xfrm>
        </p:spPr>
        <p:txBody>
          <a:bodyPr/>
          <a:lstStyle>
            <a:lvl8pPr>
              <a:defRPr baseline="0"/>
            </a:lvl8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52694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12882" y="1274826"/>
            <a:ext cx="5698196" cy="800100"/>
          </a:xfrm>
        </p:spPr>
        <p:txBody>
          <a:bodyPr anchor="t" anchorCtr="0">
            <a:normAutofit/>
          </a:bodyPr>
          <a:lstStyle>
            <a:lvl1pPr marL="0" indent="0">
              <a:buNone/>
              <a:defRPr sz="22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/>
          </a:bodyPr>
          <a:lstStyle/>
          <a:p>
            <a:fld id="{FD9C4343-C115-504A-8D4F-0B17318D4A48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312883" y="323850"/>
            <a:ext cx="11670783" cy="859536"/>
          </a:xfrm>
        </p:spPr>
        <p:txBody>
          <a:bodyPr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3"/>
          </p:nvPr>
        </p:nvSpPr>
        <p:spPr>
          <a:xfrm>
            <a:off x="312882" y="2217798"/>
            <a:ext cx="5698196" cy="3770252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idx="14"/>
          </p:nvPr>
        </p:nvSpPr>
        <p:spPr>
          <a:xfrm>
            <a:off x="6285470" y="1274826"/>
            <a:ext cx="5698196" cy="800100"/>
          </a:xfrm>
        </p:spPr>
        <p:txBody>
          <a:bodyPr anchor="t" anchorCtr="0">
            <a:normAutofit/>
          </a:bodyPr>
          <a:lstStyle>
            <a:lvl1pPr marL="0" indent="0">
              <a:buNone/>
              <a:defRPr sz="22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5"/>
          </p:nvPr>
        </p:nvSpPr>
        <p:spPr>
          <a:xfrm>
            <a:off x="6285470" y="2217798"/>
            <a:ext cx="5698196" cy="3770252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687864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Column_Right Two Quadra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2883" y="323850"/>
            <a:ext cx="11670783" cy="859536"/>
          </a:xfrm>
        </p:spPr>
        <p:txBody>
          <a:bodyPr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9C4343-C115-504A-8D4F-0B17318D4A48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>
          <a:xfrm>
            <a:off x="312882" y="1272033"/>
            <a:ext cx="5698196" cy="471602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6285470" y="1272029"/>
            <a:ext cx="5698196" cy="225222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>
          <a:xfrm>
            <a:off x="6285470" y="3740212"/>
            <a:ext cx="5698196" cy="225222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924091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Column_Left Two Quadra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2883" y="323851"/>
            <a:ext cx="11670783" cy="859536"/>
          </a:xfrm>
        </p:spPr>
        <p:txBody>
          <a:bodyPr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/>
          </a:bodyPr>
          <a:lstStyle/>
          <a:p>
            <a:fld id="{FD9C4343-C115-504A-8D4F-0B17318D4A48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6285470" y="1272033"/>
            <a:ext cx="5698196" cy="4716021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5"/>
          </p:nvPr>
        </p:nvSpPr>
        <p:spPr>
          <a:xfrm>
            <a:off x="312882" y="1272033"/>
            <a:ext cx="5697434" cy="2252222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idx="16"/>
          </p:nvPr>
        </p:nvSpPr>
        <p:spPr>
          <a:xfrm>
            <a:off x="312882" y="3740212"/>
            <a:ext cx="5698196" cy="2252222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230453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ra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2883" y="323851"/>
            <a:ext cx="11670783" cy="859536"/>
          </a:xfrm>
        </p:spPr>
        <p:txBody>
          <a:bodyPr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/>
          </a:bodyPr>
          <a:lstStyle/>
          <a:p>
            <a:fld id="{FD9C4343-C115-504A-8D4F-0B17318D4A48}" type="slidenum">
              <a:rPr lang="en-US" smtClean="0"/>
              <a:t>‹#›</a:t>
            </a:fld>
            <a:endParaRPr lang="en-US"/>
          </a:p>
        </p:txBody>
      </p:sp>
      <p:sp>
        <p:nvSpPr>
          <p:cNvPr id="16" name="Content Placeholder 2"/>
          <p:cNvSpPr>
            <a:spLocks noGrp="1"/>
          </p:cNvSpPr>
          <p:nvPr>
            <p:ph idx="15"/>
          </p:nvPr>
        </p:nvSpPr>
        <p:spPr>
          <a:xfrm>
            <a:off x="312882" y="1272029"/>
            <a:ext cx="5698196" cy="2252222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Content Placeholder 2"/>
          <p:cNvSpPr>
            <a:spLocks noGrp="1"/>
          </p:cNvSpPr>
          <p:nvPr>
            <p:ph idx="16"/>
          </p:nvPr>
        </p:nvSpPr>
        <p:spPr>
          <a:xfrm>
            <a:off x="312882" y="3740212"/>
            <a:ext cx="5698196" cy="2252222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2"/>
          <p:cNvSpPr>
            <a:spLocks noGrp="1"/>
          </p:cNvSpPr>
          <p:nvPr>
            <p:ph idx="17"/>
          </p:nvPr>
        </p:nvSpPr>
        <p:spPr>
          <a:xfrm>
            <a:off x="6285470" y="1272029"/>
            <a:ext cx="5698196" cy="2252222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idx="18"/>
          </p:nvPr>
        </p:nvSpPr>
        <p:spPr>
          <a:xfrm>
            <a:off x="6285470" y="3740212"/>
            <a:ext cx="5698196" cy="2252222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810301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12882" y="1274826"/>
            <a:ext cx="5698196" cy="800100"/>
          </a:xfrm>
        </p:spPr>
        <p:txBody>
          <a:bodyPr anchor="t" anchorCtr="0">
            <a:normAutofit/>
          </a:bodyPr>
          <a:lstStyle>
            <a:lvl1pPr marL="0" indent="0">
              <a:buNone/>
              <a:defRPr sz="22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/>
          </a:bodyPr>
          <a:lstStyle/>
          <a:p>
            <a:fld id="{FD9C4343-C115-504A-8D4F-0B17318D4A48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312883" y="323850"/>
            <a:ext cx="11670783" cy="859536"/>
          </a:xfrm>
        </p:spPr>
        <p:txBody>
          <a:bodyPr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3"/>
          </p:nvPr>
        </p:nvSpPr>
        <p:spPr>
          <a:xfrm>
            <a:off x="312882" y="2217798"/>
            <a:ext cx="5698196" cy="3770252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idx="14"/>
          </p:nvPr>
        </p:nvSpPr>
        <p:spPr>
          <a:xfrm>
            <a:off x="6285470" y="1274826"/>
            <a:ext cx="5698196" cy="800100"/>
          </a:xfrm>
        </p:spPr>
        <p:txBody>
          <a:bodyPr anchor="t" anchorCtr="0">
            <a:normAutofit/>
          </a:bodyPr>
          <a:lstStyle>
            <a:lvl1pPr marL="0" indent="0">
              <a:buNone/>
              <a:defRPr sz="22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5"/>
          </p:nvPr>
        </p:nvSpPr>
        <p:spPr>
          <a:xfrm>
            <a:off x="6285470" y="2217798"/>
            <a:ext cx="5698196" cy="3770252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877256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9C4343-C115-504A-8D4F-0B17318D4A48}" type="slidenum">
              <a:rPr lang="en-US" smtClean="0"/>
              <a:t>‹#›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12883" y="323849"/>
            <a:ext cx="11670783" cy="8595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034400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9C4343-C115-504A-8D4F-0B17318D4A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766285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2883" y="323850"/>
            <a:ext cx="4011084" cy="1162050"/>
          </a:xfrm>
        </p:spPr>
        <p:txBody>
          <a:bodyPr anchor="t" anchorCtr="0">
            <a:normAutofit/>
          </a:bodyPr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12883" y="1530351"/>
            <a:ext cx="4011084" cy="4467226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/>
          </a:bodyPr>
          <a:lstStyle/>
          <a:p>
            <a:fld id="{FD9C4343-C115-504A-8D4F-0B17318D4A48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>
          <a:xfrm>
            <a:off x="4497716" y="323850"/>
            <a:ext cx="7484679" cy="5673726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086846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12883" y="5274398"/>
            <a:ext cx="11670783" cy="72318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9C4343-C115-504A-8D4F-0B17318D4A48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312882" y="1274832"/>
            <a:ext cx="11670783" cy="390024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3"/>
          <p:cNvSpPr>
            <a:spLocks noGrp="1"/>
          </p:cNvSpPr>
          <p:nvPr>
            <p:ph type="title"/>
          </p:nvPr>
        </p:nvSpPr>
        <p:spPr>
          <a:xfrm>
            <a:off x="312882" y="323848"/>
            <a:ext cx="11670783" cy="8595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908828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w/ 8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3AD9D9EF-93A8-4AD0-9293-A912F1609535}"/>
              </a:ext>
            </a:extLst>
          </p:cNvPr>
          <p:cNvSpPr/>
          <p:nvPr userDrawn="1"/>
        </p:nvSpPr>
        <p:spPr>
          <a:xfrm>
            <a:off x="8485838" y="541431"/>
            <a:ext cx="3706162" cy="48212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/>
          </a:p>
        </p:txBody>
      </p:sp>
      <p:sp>
        <p:nvSpPr>
          <p:cNvPr id="11" name="Rectangle 3">
            <a:extLst>
              <a:ext uri="{FF2B5EF4-FFF2-40B4-BE49-F238E27FC236}">
                <a16:creationId xmlns:a16="http://schemas.microsoft.com/office/drawing/2014/main" id="{69E79D0B-0FBC-4730-8F48-331668759A21}"/>
              </a:ext>
            </a:extLst>
          </p:cNvPr>
          <p:cNvSpPr/>
          <p:nvPr userDrawn="1"/>
        </p:nvSpPr>
        <p:spPr>
          <a:xfrm>
            <a:off x="0" y="541746"/>
            <a:ext cx="9077242" cy="482776"/>
          </a:xfrm>
          <a:custGeom>
            <a:avLst/>
            <a:gdLst>
              <a:gd name="connsiteX0" fmla="*/ 0 w 6709251"/>
              <a:gd name="connsiteY0" fmla="*/ 0 h 182880"/>
              <a:gd name="connsiteX1" fmla="*/ 6709251 w 6709251"/>
              <a:gd name="connsiteY1" fmla="*/ 0 h 182880"/>
              <a:gd name="connsiteX2" fmla="*/ 6709251 w 6709251"/>
              <a:gd name="connsiteY2" fmla="*/ 182880 h 182880"/>
              <a:gd name="connsiteX3" fmla="*/ 0 w 6709251"/>
              <a:gd name="connsiteY3" fmla="*/ 182880 h 182880"/>
              <a:gd name="connsiteX4" fmla="*/ 0 w 6709251"/>
              <a:gd name="connsiteY4" fmla="*/ 0 h 182880"/>
              <a:gd name="connsiteX0" fmla="*/ 0 w 7073510"/>
              <a:gd name="connsiteY0" fmla="*/ 0 h 182880"/>
              <a:gd name="connsiteX1" fmla="*/ 7073510 w 7073510"/>
              <a:gd name="connsiteY1" fmla="*/ 0 h 182880"/>
              <a:gd name="connsiteX2" fmla="*/ 6709251 w 7073510"/>
              <a:gd name="connsiteY2" fmla="*/ 182880 h 182880"/>
              <a:gd name="connsiteX3" fmla="*/ 0 w 7073510"/>
              <a:gd name="connsiteY3" fmla="*/ 182880 h 182880"/>
              <a:gd name="connsiteX4" fmla="*/ 0 w 7073510"/>
              <a:gd name="connsiteY4" fmla="*/ 0 h 182880"/>
              <a:gd name="connsiteX0" fmla="*/ 0 w 8678702"/>
              <a:gd name="connsiteY0" fmla="*/ 0 h 182880"/>
              <a:gd name="connsiteX1" fmla="*/ 8678702 w 8678702"/>
              <a:gd name="connsiteY1" fmla="*/ 0 h 182880"/>
              <a:gd name="connsiteX2" fmla="*/ 8314443 w 8678702"/>
              <a:gd name="connsiteY2" fmla="*/ 182880 h 182880"/>
              <a:gd name="connsiteX3" fmla="*/ 1605192 w 8678702"/>
              <a:gd name="connsiteY3" fmla="*/ 182880 h 182880"/>
              <a:gd name="connsiteX4" fmla="*/ 0 w 8678702"/>
              <a:gd name="connsiteY4" fmla="*/ 0 h 182880"/>
              <a:gd name="connsiteX0" fmla="*/ 0 w 8678702"/>
              <a:gd name="connsiteY0" fmla="*/ 0 h 186220"/>
              <a:gd name="connsiteX1" fmla="*/ 8678702 w 8678702"/>
              <a:gd name="connsiteY1" fmla="*/ 0 h 186220"/>
              <a:gd name="connsiteX2" fmla="*/ 8314443 w 8678702"/>
              <a:gd name="connsiteY2" fmla="*/ 182880 h 186220"/>
              <a:gd name="connsiteX3" fmla="*/ 6661 w 8678702"/>
              <a:gd name="connsiteY3" fmla="*/ 186220 h 186220"/>
              <a:gd name="connsiteX4" fmla="*/ 0 w 8678702"/>
              <a:gd name="connsiteY4" fmla="*/ 0 h 186220"/>
              <a:gd name="connsiteX0" fmla="*/ 133211 w 8672041"/>
              <a:gd name="connsiteY0" fmla="*/ 50097 h 186220"/>
              <a:gd name="connsiteX1" fmla="*/ 8672041 w 8672041"/>
              <a:gd name="connsiteY1" fmla="*/ 0 h 186220"/>
              <a:gd name="connsiteX2" fmla="*/ 8307782 w 8672041"/>
              <a:gd name="connsiteY2" fmla="*/ 182880 h 186220"/>
              <a:gd name="connsiteX3" fmla="*/ 0 w 8672041"/>
              <a:gd name="connsiteY3" fmla="*/ 186220 h 186220"/>
              <a:gd name="connsiteX4" fmla="*/ 133211 w 8672041"/>
              <a:gd name="connsiteY4" fmla="*/ 50097 h 186220"/>
              <a:gd name="connsiteX0" fmla="*/ 3330 w 8672041"/>
              <a:gd name="connsiteY0" fmla="*/ 3340 h 186220"/>
              <a:gd name="connsiteX1" fmla="*/ 8672041 w 8672041"/>
              <a:gd name="connsiteY1" fmla="*/ 0 h 186220"/>
              <a:gd name="connsiteX2" fmla="*/ 8307782 w 8672041"/>
              <a:gd name="connsiteY2" fmla="*/ 182880 h 186220"/>
              <a:gd name="connsiteX3" fmla="*/ 0 w 8672041"/>
              <a:gd name="connsiteY3" fmla="*/ 186220 h 186220"/>
              <a:gd name="connsiteX4" fmla="*/ 3330 w 8672041"/>
              <a:gd name="connsiteY4" fmla="*/ 3340 h 186220"/>
              <a:gd name="connsiteX0" fmla="*/ 3330 w 8672041"/>
              <a:gd name="connsiteY0" fmla="*/ 3340 h 186220"/>
              <a:gd name="connsiteX1" fmla="*/ 8672041 w 8672041"/>
              <a:gd name="connsiteY1" fmla="*/ 0 h 186220"/>
              <a:gd name="connsiteX2" fmla="*/ 8307782 w 8672041"/>
              <a:gd name="connsiteY2" fmla="*/ 182880 h 186220"/>
              <a:gd name="connsiteX3" fmla="*/ 0 w 8672041"/>
              <a:gd name="connsiteY3" fmla="*/ 186220 h 186220"/>
              <a:gd name="connsiteX4" fmla="*/ 3330 w 8672041"/>
              <a:gd name="connsiteY4" fmla="*/ 3340 h 186220"/>
              <a:gd name="connsiteX0" fmla="*/ 0 w 8674979"/>
              <a:gd name="connsiteY0" fmla="*/ 3340 h 186220"/>
              <a:gd name="connsiteX1" fmla="*/ 8674979 w 8674979"/>
              <a:gd name="connsiteY1" fmla="*/ 0 h 186220"/>
              <a:gd name="connsiteX2" fmla="*/ 8310720 w 8674979"/>
              <a:gd name="connsiteY2" fmla="*/ 182880 h 186220"/>
              <a:gd name="connsiteX3" fmla="*/ 2938 w 8674979"/>
              <a:gd name="connsiteY3" fmla="*/ 186220 h 186220"/>
              <a:gd name="connsiteX4" fmla="*/ 0 w 8674979"/>
              <a:gd name="connsiteY4" fmla="*/ 3340 h 186220"/>
              <a:gd name="connsiteX0" fmla="*/ 0 w 8674979"/>
              <a:gd name="connsiteY0" fmla="*/ 0 h 189166"/>
              <a:gd name="connsiteX1" fmla="*/ 8674979 w 8674979"/>
              <a:gd name="connsiteY1" fmla="*/ 2946 h 189166"/>
              <a:gd name="connsiteX2" fmla="*/ 8310720 w 8674979"/>
              <a:gd name="connsiteY2" fmla="*/ 185826 h 189166"/>
              <a:gd name="connsiteX3" fmla="*/ 2938 w 8674979"/>
              <a:gd name="connsiteY3" fmla="*/ 189166 h 189166"/>
              <a:gd name="connsiteX4" fmla="*/ 0 w 8674979"/>
              <a:gd name="connsiteY4" fmla="*/ 0 h 189166"/>
              <a:gd name="connsiteX0" fmla="*/ 0 w 8674979"/>
              <a:gd name="connsiteY0" fmla="*/ 444 h 189610"/>
              <a:gd name="connsiteX1" fmla="*/ 8674979 w 8674979"/>
              <a:gd name="connsiteY1" fmla="*/ 0 h 189610"/>
              <a:gd name="connsiteX2" fmla="*/ 8310720 w 8674979"/>
              <a:gd name="connsiteY2" fmla="*/ 186270 h 189610"/>
              <a:gd name="connsiteX3" fmla="*/ 2938 w 8674979"/>
              <a:gd name="connsiteY3" fmla="*/ 189610 h 189610"/>
              <a:gd name="connsiteX4" fmla="*/ 0 w 8674979"/>
              <a:gd name="connsiteY4" fmla="*/ 444 h 189610"/>
              <a:gd name="connsiteX0" fmla="*/ 0 w 8674979"/>
              <a:gd name="connsiteY0" fmla="*/ 444 h 189660"/>
              <a:gd name="connsiteX1" fmla="*/ 8674979 w 8674979"/>
              <a:gd name="connsiteY1" fmla="*/ 0 h 189660"/>
              <a:gd name="connsiteX2" fmla="*/ 8310720 w 8674979"/>
              <a:gd name="connsiteY2" fmla="*/ 189660 h 189660"/>
              <a:gd name="connsiteX3" fmla="*/ 2938 w 8674979"/>
              <a:gd name="connsiteY3" fmla="*/ 189610 h 189660"/>
              <a:gd name="connsiteX4" fmla="*/ 0 w 8674979"/>
              <a:gd name="connsiteY4" fmla="*/ 444 h 189660"/>
              <a:gd name="connsiteX0" fmla="*/ 0 w 10119577"/>
              <a:gd name="connsiteY0" fmla="*/ 0 h 189216"/>
              <a:gd name="connsiteX1" fmla="*/ 10119577 w 10119577"/>
              <a:gd name="connsiteY1" fmla="*/ 686 h 189216"/>
              <a:gd name="connsiteX2" fmla="*/ 8310720 w 10119577"/>
              <a:gd name="connsiteY2" fmla="*/ 189216 h 189216"/>
              <a:gd name="connsiteX3" fmla="*/ 2938 w 10119577"/>
              <a:gd name="connsiteY3" fmla="*/ 189166 h 189216"/>
              <a:gd name="connsiteX4" fmla="*/ 0 w 10119577"/>
              <a:gd name="connsiteY4" fmla="*/ 0 h 189216"/>
              <a:gd name="connsiteX0" fmla="*/ 0 w 10119577"/>
              <a:gd name="connsiteY0" fmla="*/ 173 h 189389"/>
              <a:gd name="connsiteX1" fmla="*/ 10119577 w 10119577"/>
              <a:gd name="connsiteY1" fmla="*/ 0 h 189389"/>
              <a:gd name="connsiteX2" fmla="*/ 8310720 w 10119577"/>
              <a:gd name="connsiteY2" fmla="*/ 189389 h 189389"/>
              <a:gd name="connsiteX3" fmla="*/ 2938 w 10119577"/>
              <a:gd name="connsiteY3" fmla="*/ 189339 h 189389"/>
              <a:gd name="connsiteX4" fmla="*/ 0 w 10119577"/>
              <a:gd name="connsiteY4" fmla="*/ 173 h 189389"/>
              <a:gd name="connsiteX0" fmla="*/ 10004 w 10129581"/>
              <a:gd name="connsiteY0" fmla="*/ 173 h 189389"/>
              <a:gd name="connsiteX1" fmla="*/ 10129581 w 10129581"/>
              <a:gd name="connsiteY1" fmla="*/ 0 h 189389"/>
              <a:gd name="connsiteX2" fmla="*/ 8320724 w 10129581"/>
              <a:gd name="connsiteY2" fmla="*/ 189389 h 189389"/>
              <a:gd name="connsiteX3" fmla="*/ 57 w 10129581"/>
              <a:gd name="connsiteY3" fmla="*/ 189339 h 189389"/>
              <a:gd name="connsiteX4" fmla="*/ 10004 w 10129581"/>
              <a:gd name="connsiteY4" fmla="*/ 173 h 189389"/>
              <a:gd name="connsiteX0" fmla="*/ 9947 w 10129524"/>
              <a:gd name="connsiteY0" fmla="*/ 173 h 189389"/>
              <a:gd name="connsiteX1" fmla="*/ 10129524 w 10129524"/>
              <a:gd name="connsiteY1" fmla="*/ 0 h 189389"/>
              <a:gd name="connsiteX2" fmla="*/ 8320667 w 10129524"/>
              <a:gd name="connsiteY2" fmla="*/ 189389 h 189389"/>
              <a:gd name="connsiteX3" fmla="*/ 0 w 10129524"/>
              <a:gd name="connsiteY3" fmla="*/ 189339 h 189389"/>
              <a:gd name="connsiteX4" fmla="*/ 9947 w 10129524"/>
              <a:gd name="connsiteY4" fmla="*/ 173 h 189389"/>
              <a:gd name="connsiteX0" fmla="*/ 9947 w 10129524"/>
              <a:gd name="connsiteY0" fmla="*/ 173 h 189389"/>
              <a:gd name="connsiteX1" fmla="*/ 10129524 w 10129524"/>
              <a:gd name="connsiteY1" fmla="*/ 0 h 189389"/>
              <a:gd name="connsiteX2" fmla="*/ 8320667 w 10129524"/>
              <a:gd name="connsiteY2" fmla="*/ 189389 h 189389"/>
              <a:gd name="connsiteX3" fmla="*/ 0 w 10129524"/>
              <a:gd name="connsiteY3" fmla="*/ 189339 h 189389"/>
              <a:gd name="connsiteX4" fmla="*/ 9947 w 10129524"/>
              <a:gd name="connsiteY4" fmla="*/ 173 h 189389"/>
              <a:gd name="connsiteX0" fmla="*/ 0 w 10119577"/>
              <a:gd name="connsiteY0" fmla="*/ 173 h 189389"/>
              <a:gd name="connsiteX1" fmla="*/ 10119577 w 10119577"/>
              <a:gd name="connsiteY1" fmla="*/ 0 h 189389"/>
              <a:gd name="connsiteX2" fmla="*/ 8310720 w 10119577"/>
              <a:gd name="connsiteY2" fmla="*/ 189389 h 189389"/>
              <a:gd name="connsiteX3" fmla="*/ 15823 w 10119577"/>
              <a:gd name="connsiteY3" fmla="*/ 189339 h 189389"/>
              <a:gd name="connsiteX4" fmla="*/ 0 w 10119577"/>
              <a:gd name="connsiteY4" fmla="*/ 173 h 189389"/>
              <a:gd name="connsiteX0" fmla="*/ 0 w 10119577"/>
              <a:gd name="connsiteY0" fmla="*/ 173 h 189389"/>
              <a:gd name="connsiteX1" fmla="*/ 10119577 w 10119577"/>
              <a:gd name="connsiteY1" fmla="*/ 0 h 189389"/>
              <a:gd name="connsiteX2" fmla="*/ 8310720 w 10119577"/>
              <a:gd name="connsiteY2" fmla="*/ 189389 h 189389"/>
              <a:gd name="connsiteX3" fmla="*/ 2938 w 10119577"/>
              <a:gd name="connsiteY3" fmla="*/ 189339 h 189389"/>
              <a:gd name="connsiteX4" fmla="*/ 0 w 10119577"/>
              <a:gd name="connsiteY4" fmla="*/ 173 h 189389"/>
              <a:gd name="connsiteX0" fmla="*/ 0 w 21540281"/>
              <a:gd name="connsiteY0" fmla="*/ 9120 h 189389"/>
              <a:gd name="connsiteX1" fmla="*/ 21540281 w 21540281"/>
              <a:gd name="connsiteY1" fmla="*/ 0 h 189389"/>
              <a:gd name="connsiteX2" fmla="*/ 19731424 w 21540281"/>
              <a:gd name="connsiteY2" fmla="*/ 189389 h 189389"/>
              <a:gd name="connsiteX3" fmla="*/ 11423642 w 21540281"/>
              <a:gd name="connsiteY3" fmla="*/ 189339 h 189389"/>
              <a:gd name="connsiteX4" fmla="*/ 0 w 21540281"/>
              <a:gd name="connsiteY4" fmla="*/ 9120 h 189389"/>
              <a:gd name="connsiteX0" fmla="*/ 0 w 21540281"/>
              <a:gd name="connsiteY0" fmla="*/ 9120 h 192321"/>
              <a:gd name="connsiteX1" fmla="*/ 21540281 w 21540281"/>
              <a:gd name="connsiteY1" fmla="*/ 0 h 192321"/>
              <a:gd name="connsiteX2" fmla="*/ 19731424 w 21540281"/>
              <a:gd name="connsiteY2" fmla="*/ 189389 h 192321"/>
              <a:gd name="connsiteX3" fmla="*/ 2942 w 21540281"/>
              <a:gd name="connsiteY3" fmla="*/ 192321 h 192321"/>
              <a:gd name="connsiteX4" fmla="*/ 0 w 21540281"/>
              <a:gd name="connsiteY4" fmla="*/ 9120 h 192321"/>
              <a:gd name="connsiteX0" fmla="*/ 0 w 21540281"/>
              <a:gd name="connsiteY0" fmla="*/ 6138 h 192321"/>
              <a:gd name="connsiteX1" fmla="*/ 21540281 w 21540281"/>
              <a:gd name="connsiteY1" fmla="*/ 0 h 192321"/>
              <a:gd name="connsiteX2" fmla="*/ 19731424 w 21540281"/>
              <a:gd name="connsiteY2" fmla="*/ 189389 h 192321"/>
              <a:gd name="connsiteX3" fmla="*/ 2942 w 21540281"/>
              <a:gd name="connsiteY3" fmla="*/ 192321 h 192321"/>
              <a:gd name="connsiteX4" fmla="*/ 0 w 21540281"/>
              <a:gd name="connsiteY4" fmla="*/ 6138 h 192321"/>
              <a:gd name="connsiteX0" fmla="*/ 2579162 w 24119443"/>
              <a:gd name="connsiteY0" fmla="*/ 6138 h 192321"/>
              <a:gd name="connsiteX1" fmla="*/ 24119443 w 24119443"/>
              <a:gd name="connsiteY1" fmla="*/ 0 h 192321"/>
              <a:gd name="connsiteX2" fmla="*/ 22310586 w 24119443"/>
              <a:gd name="connsiteY2" fmla="*/ 189389 h 192321"/>
              <a:gd name="connsiteX3" fmla="*/ 2582104 w 24119443"/>
              <a:gd name="connsiteY3" fmla="*/ 192321 h 192321"/>
              <a:gd name="connsiteX4" fmla="*/ 2579162 w 24119443"/>
              <a:gd name="connsiteY4" fmla="*/ 6138 h 192321"/>
              <a:gd name="connsiteX0" fmla="*/ 1459081 w 22999362"/>
              <a:gd name="connsiteY0" fmla="*/ 6138 h 192321"/>
              <a:gd name="connsiteX1" fmla="*/ 22999362 w 22999362"/>
              <a:gd name="connsiteY1" fmla="*/ 0 h 192321"/>
              <a:gd name="connsiteX2" fmla="*/ 21190505 w 22999362"/>
              <a:gd name="connsiteY2" fmla="*/ 189389 h 192321"/>
              <a:gd name="connsiteX3" fmla="*/ 1462023 w 22999362"/>
              <a:gd name="connsiteY3" fmla="*/ 192321 h 192321"/>
              <a:gd name="connsiteX4" fmla="*/ 1459081 w 22999362"/>
              <a:gd name="connsiteY4" fmla="*/ 6138 h 192321"/>
              <a:gd name="connsiteX0" fmla="*/ 2579108 w 24119389"/>
              <a:gd name="connsiteY0" fmla="*/ 6138 h 192321"/>
              <a:gd name="connsiteX1" fmla="*/ 24119389 w 24119389"/>
              <a:gd name="connsiteY1" fmla="*/ 0 h 192321"/>
              <a:gd name="connsiteX2" fmla="*/ 22310532 w 24119389"/>
              <a:gd name="connsiteY2" fmla="*/ 189389 h 192321"/>
              <a:gd name="connsiteX3" fmla="*/ 2582050 w 24119389"/>
              <a:gd name="connsiteY3" fmla="*/ 192321 h 192321"/>
              <a:gd name="connsiteX4" fmla="*/ 2579108 w 24119389"/>
              <a:gd name="connsiteY4" fmla="*/ 6138 h 192321"/>
              <a:gd name="connsiteX0" fmla="*/ 1594923 w 23135204"/>
              <a:gd name="connsiteY0" fmla="*/ 6138 h 192321"/>
              <a:gd name="connsiteX1" fmla="*/ 23135204 w 23135204"/>
              <a:gd name="connsiteY1" fmla="*/ 0 h 192321"/>
              <a:gd name="connsiteX2" fmla="*/ 21326347 w 23135204"/>
              <a:gd name="connsiteY2" fmla="*/ 189389 h 192321"/>
              <a:gd name="connsiteX3" fmla="*/ 1597865 w 23135204"/>
              <a:gd name="connsiteY3" fmla="*/ 192321 h 192321"/>
              <a:gd name="connsiteX4" fmla="*/ 1594923 w 23135204"/>
              <a:gd name="connsiteY4" fmla="*/ 6138 h 192321"/>
              <a:gd name="connsiteX0" fmla="*/ 1 w 21540282"/>
              <a:gd name="connsiteY0" fmla="*/ 6138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3 w 21540282"/>
              <a:gd name="connsiteY3" fmla="*/ 192321 h 192321"/>
              <a:gd name="connsiteX4" fmla="*/ 1 w 21540282"/>
              <a:gd name="connsiteY4" fmla="*/ 6138 h 192321"/>
              <a:gd name="connsiteX0" fmla="*/ 0 w 21540282"/>
              <a:gd name="connsiteY0" fmla="*/ 3156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3 w 21540282"/>
              <a:gd name="connsiteY3" fmla="*/ 192321 h 192321"/>
              <a:gd name="connsiteX4" fmla="*/ 0 w 21540282"/>
              <a:gd name="connsiteY4" fmla="*/ 3156 h 192321"/>
              <a:gd name="connsiteX0" fmla="*/ 0 w 21540282"/>
              <a:gd name="connsiteY0" fmla="*/ 347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3 w 21540282"/>
              <a:gd name="connsiteY3" fmla="*/ 192321 h 192321"/>
              <a:gd name="connsiteX4" fmla="*/ 0 w 21540282"/>
              <a:gd name="connsiteY4" fmla="*/ 347 h 192321"/>
              <a:gd name="connsiteX0" fmla="*/ 0 w 21540282"/>
              <a:gd name="connsiteY0" fmla="*/ 347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2 w 21540282"/>
              <a:gd name="connsiteY3" fmla="*/ 192321 h 192321"/>
              <a:gd name="connsiteX4" fmla="*/ 0 w 21540282"/>
              <a:gd name="connsiteY4" fmla="*/ 347 h 192321"/>
              <a:gd name="connsiteX0" fmla="*/ 0 w 21540282"/>
              <a:gd name="connsiteY0" fmla="*/ 347 h 189512"/>
              <a:gd name="connsiteX1" fmla="*/ 21540282 w 21540282"/>
              <a:gd name="connsiteY1" fmla="*/ 0 h 189512"/>
              <a:gd name="connsiteX2" fmla="*/ 19731425 w 21540282"/>
              <a:gd name="connsiteY2" fmla="*/ 189389 h 189512"/>
              <a:gd name="connsiteX3" fmla="*/ 2942 w 21540282"/>
              <a:gd name="connsiteY3" fmla="*/ 189512 h 189512"/>
              <a:gd name="connsiteX4" fmla="*/ 0 w 21540282"/>
              <a:gd name="connsiteY4" fmla="*/ 347 h 189512"/>
              <a:gd name="connsiteX0" fmla="*/ 0 w 20903501"/>
              <a:gd name="connsiteY0" fmla="*/ 347 h 189512"/>
              <a:gd name="connsiteX1" fmla="*/ 20903501 w 20903501"/>
              <a:gd name="connsiteY1" fmla="*/ 0 h 189512"/>
              <a:gd name="connsiteX2" fmla="*/ 19731425 w 20903501"/>
              <a:gd name="connsiteY2" fmla="*/ 189389 h 189512"/>
              <a:gd name="connsiteX3" fmla="*/ 2942 w 20903501"/>
              <a:gd name="connsiteY3" fmla="*/ 189512 h 189512"/>
              <a:gd name="connsiteX4" fmla="*/ 0 w 20903501"/>
              <a:gd name="connsiteY4" fmla="*/ 347 h 189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903501" h="189512">
                <a:moveTo>
                  <a:pt x="0" y="347"/>
                </a:moveTo>
                <a:lnTo>
                  <a:pt x="20903501" y="0"/>
                </a:lnTo>
                <a:lnTo>
                  <a:pt x="19731425" y="189389"/>
                </a:lnTo>
                <a:lnTo>
                  <a:pt x="2942" y="189512"/>
                </a:lnTo>
                <a:cubicBezTo>
                  <a:pt x="1961" y="125521"/>
                  <a:pt x="981" y="64338"/>
                  <a:pt x="0" y="34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2883" y="4301720"/>
            <a:ext cx="8457972" cy="984333"/>
          </a:xfrm>
        </p:spPr>
        <p:txBody>
          <a:bodyPr anchor="b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12883" y="5353788"/>
            <a:ext cx="8457972" cy="640767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12883" y="6133692"/>
            <a:ext cx="3303862" cy="3651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1600">
                <a:solidFill>
                  <a:schemeClr val="tx1"/>
                </a:solidFill>
                <a:latin typeface="+mn-lt"/>
                <a:cs typeface="Arial"/>
              </a:defRPr>
            </a:lvl1pPr>
          </a:lstStyle>
          <a:p>
            <a:endParaRPr lang="en-US" dirty="0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B1B375D4-5229-42D1-ACCC-C091DAB25EB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-11117" y="1057317"/>
            <a:ext cx="3018306" cy="1576263"/>
          </a:xfr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17" name="Picture Placeholder 15">
            <a:extLst>
              <a:ext uri="{FF2B5EF4-FFF2-40B4-BE49-F238E27FC236}">
                <a16:creationId xmlns:a16="http://schemas.microsoft.com/office/drawing/2014/main" id="{9AA1076D-6C42-4BB3-BA4D-45B182AC9A43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050486" y="1057317"/>
            <a:ext cx="3018306" cy="1576263"/>
          </a:xfr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18" name="Picture Placeholder 15">
            <a:extLst>
              <a:ext uri="{FF2B5EF4-FFF2-40B4-BE49-F238E27FC236}">
                <a16:creationId xmlns:a16="http://schemas.microsoft.com/office/drawing/2014/main" id="{94262E97-B7F8-4095-A959-B2C6D66AE08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12090" y="1057317"/>
            <a:ext cx="3018306" cy="1576263"/>
          </a:xfr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19" name="Picture Placeholder 15">
            <a:extLst>
              <a:ext uri="{FF2B5EF4-FFF2-40B4-BE49-F238E27FC236}">
                <a16:creationId xmlns:a16="http://schemas.microsoft.com/office/drawing/2014/main" id="{C14C4D13-49AC-4208-BEFF-0899F4B2E2E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173694" y="1057317"/>
            <a:ext cx="3018306" cy="1576263"/>
          </a:xfr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12" name="Picture Placeholder 15">
            <a:extLst>
              <a:ext uri="{FF2B5EF4-FFF2-40B4-BE49-F238E27FC236}">
                <a16:creationId xmlns:a16="http://schemas.microsoft.com/office/drawing/2014/main" id="{8551A6AA-0DDB-472D-92D8-186C60964D8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-11117" y="2671888"/>
            <a:ext cx="3018306" cy="1576263"/>
          </a:xfr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13" name="Picture Placeholder 15">
            <a:extLst>
              <a:ext uri="{FF2B5EF4-FFF2-40B4-BE49-F238E27FC236}">
                <a16:creationId xmlns:a16="http://schemas.microsoft.com/office/drawing/2014/main" id="{DA54D021-A2D3-452B-9B40-9EA760DA76B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050486" y="2671888"/>
            <a:ext cx="3018306" cy="1576263"/>
          </a:xfr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15" name="Picture Placeholder 15">
            <a:extLst>
              <a:ext uri="{FF2B5EF4-FFF2-40B4-BE49-F238E27FC236}">
                <a16:creationId xmlns:a16="http://schemas.microsoft.com/office/drawing/2014/main" id="{0F441EE1-8684-45D1-B369-F2A4BA5A1F4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112090" y="2671888"/>
            <a:ext cx="3018306" cy="1576263"/>
          </a:xfr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20" name="Picture Placeholder 15">
            <a:extLst>
              <a:ext uri="{FF2B5EF4-FFF2-40B4-BE49-F238E27FC236}">
                <a16:creationId xmlns:a16="http://schemas.microsoft.com/office/drawing/2014/main" id="{77C693E8-D9B1-4809-A109-260467A33600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9173694" y="2671888"/>
            <a:ext cx="3018306" cy="1576263"/>
          </a:xfr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Insert photo here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2212508A-D5DD-6A41-85F1-BAB494B462B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74032" y="5851212"/>
            <a:ext cx="1060725" cy="822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094413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D9C4343-C115-504A-8D4F-0B17318D4A4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12883" y="1274826"/>
            <a:ext cx="11670783" cy="4713224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itle 3"/>
          <p:cNvSpPr>
            <a:spLocks noGrp="1"/>
          </p:cNvSpPr>
          <p:nvPr>
            <p:ph type="title"/>
          </p:nvPr>
        </p:nvSpPr>
        <p:spPr>
          <a:xfrm>
            <a:off x="312883" y="323848"/>
            <a:ext cx="11670783" cy="85953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1161866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2883" y="2947135"/>
            <a:ext cx="8457972" cy="984333"/>
          </a:xfrm>
        </p:spPr>
        <p:txBody>
          <a:bodyPr anchor="b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12883" y="3999203"/>
            <a:ext cx="8457972" cy="640767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12883" y="4779107"/>
            <a:ext cx="3303862" cy="3651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1000">
                <a:solidFill>
                  <a:schemeClr val="tx1"/>
                </a:solidFill>
                <a:latin typeface="+mn-lt"/>
                <a:cs typeface="Arial"/>
              </a:defRPr>
            </a:lvl1pPr>
          </a:lstStyle>
          <a:p>
            <a:endParaRPr lang="en-US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38F46E6-B30F-4BB4-8F82-08AD4C6EA8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74032" y="5851212"/>
            <a:ext cx="1060725" cy="822309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0737FA42-C06C-4BE0-AE35-B6EF2728CBF5}"/>
              </a:ext>
            </a:extLst>
          </p:cNvPr>
          <p:cNvSpPr/>
          <p:nvPr userDrawn="1"/>
        </p:nvSpPr>
        <p:spPr>
          <a:xfrm>
            <a:off x="8485838" y="1"/>
            <a:ext cx="3706162" cy="48212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3" name="Rectangle 3">
            <a:extLst>
              <a:ext uri="{FF2B5EF4-FFF2-40B4-BE49-F238E27FC236}">
                <a16:creationId xmlns:a16="http://schemas.microsoft.com/office/drawing/2014/main" id="{9FCFEBA5-E832-4F45-9A7E-E488F4C2670A}"/>
              </a:ext>
            </a:extLst>
          </p:cNvPr>
          <p:cNvSpPr/>
          <p:nvPr userDrawn="1"/>
        </p:nvSpPr>
        <p:spPr>
          <a:xfrm>
            <a:off x="0" y="316"/>
            <a:ext cx="9077242" cy="482776"/>
          </a:xfrm>
          <a:custGeom>
            <a:avLst/>
            <a:gdLst>
              <a:gd name="connsiteX0" fmla="*/ 0 w 6709251"/>
              <a:gd name="connsiteY0" fmla="*/ 0 h 182880"/>
              <a:gd name="connsiteX1" fmla="*/ 6709251 w 6709251"/>
              <a:gd name="connsiteY1" fmla="*/ 0 h 182880"/>
              <a:gd name="connsiteX2" fmla="*/ 6709251 w 6709251"/>
              <a:gd name="connsiteY2" fmla="*/ 182880 h 182880"/>
              <a:gd name="connsiteX3" fmla="*/ 0 w 6709251"/>
              <a:gd name="connsiteY3" fmla="*/ 182880 h 182880"/>
              <a:gd name="connsiteX4" fmla="*/ 0 w 6709251"/>
              <a:gd name="connsiteY4" fmla="*/ 0 h 182880"/>
              <a:gd name="connsiteX0" fmla="*/ 0 w 7073510"/>
              <a:gd name="connsiteY0" fmla="*/ 0 h 182880"/>
              <a:gd name="connsiteX1" fmla="*/ 7073510 w 7073510"/>
              <a:gd name="connsiteY1" fmla="*/ 0 h 182880"/>
              <a:gd name="connsiteX2" fmla="*/ 6709251 w 7073510"/>
              <a:gd name="connsiteY2" fmla="*/ 182880 h 182880"/>
              <a:gd name="connsiteX3" fmla="*/ 0 w 7073510"/>
              <a:gd name="connsiteY3" fmla="*/ 182880 h 182880"/>
              <a:gd name="connsiteX4" fmla="*/ 0 w 7073510"/>
              <a:gd name="connsiteY4" fmla="*/ 0 h 182880"/>
              <a:gd name="connsiteX0" fmla="*/ 0 w 8678702"/>
              <a:gd name="connsiteY0" fmla="*/ 0 h 182880"/>
              <a:gd name="connsiteX1" fmla="*/ 8678702 w 8678702"/>
              <a:gd name="connsiteY1" fmla="*/ 0 h 182880"/>
              <a:gd name="connsiteX2" fmla="*/ 8314443 w 8678702"/>
              <a:gd name="connsiteY2" fmla="*/ 182880 h 182880"/>
              <a:gd name="connsiteX3" fmla="*/ 1605192 w 8678702"/>
              <a:gd name="connsiteY3" fmla="*/ 182880 h 182880"/>
              <a:gd name="connsiteX4" fmla="*/ 0 w 8678702"/>
              <a:gd name="connsiteY4" fmla="*/ 0 h 182880"/>
              <a:gd name="connsiteX0" fmla="*/ 0 w 8678702"/>
              <a:gd name="connsiteY0" fmla="*/ 0 h 186220"/>
              <a:gd name="connsiteX1" fmla="*/ 8678702 w 8678702"/>
              <a:gd name="connsiteY1" fmla="*/ 0 h 186220"/>
              <a:gd name="connsiteX2" fmla="*/ 8314443 w 8678702"/>
              <a:gd name="connsiteY2" fmla="*/ 182880 h 186220"/>
              <a:gd name="connsiteX3" fmla="*/ 6661 w 8678702"/>
              <a:gd name="connsiteY3" fmla="*/ 186220 h 186220"/>
              <a:gd name="connsiteX4" fmla="*/ 0 w 8678702"/>
              <a:gd name="connsiteY4" fmla="*/ 0 h 186220"/>
              <a:gd name="connsiteX0" fmla="*/ 133211 w 8672041"/>
              <a:gd name="connsiteY0" fmla="*/ 50097 h 186220"/>
              <a:gd name="connsiteX1" fmla="*/ 8672041 w 8672041"/>
              <a:gd name="connsiteY1" fmla="*/ 0 h 186220"/>
              <a:gd name="connsiteX2" fmla="*/ 8307782 w 8672041"/>
              <a:gd name="connsiteY2" fmla="*/ 182880 h 186220"/>
              <a:gd name="connsiteX3" fmla="*/ 0 w 8672041"/>
              <a:gd name="connsiteY3" fmla="*/ 186220 h 186220"/>
              <a:gd name="connsiteX4" fmla="*/ 133211 w 8672041"/>
              <a:gd name="connsiteY4" fmla="*/ 50097 h 186220"/>
              <a:gd name="connsiteX0" fmla="*/ 3330 w 8672041"/>
              <a:gd name="connsiteY0" fmla="*/ 3340 h 186220"/>
              <a:gd name="connsiteX1" fmla="*/ 8672041 w 8672041"/>
              <a:gd name="connsiteY1" fmla="*/ 0 h 186220"/>
              <a:gd name="connsiteX2" fmla="*/ 8307782 w 8672041"/>
              <a:gd name="connsiteY2" fmla="*/ 182880 h 186220"/>
              <a:gd name="connsiteX3" fmla="*/ 0 w 8672041"/>
              <a:gd name="connsiteY3" fmla="*/ 186220 h 186220"/>
              <a:gd name="connsiteX4" fmla="*/ 3330 w 8672041"/>
              <a:gd name="connsiteY4" fmla="*/ 3340 h 186220"/>
              <a:gd name="connsiteX0" fmla="*/ 3330 w 8672041"/>
              <a:gd name="connsiteY0" fmla="*/ 3340 h 186220"/>
              <a:gd name="connsiteX1" fmla="*/ 8672041 w 8672041"/>
              <a:gd name="connsiteY1" fmla="*/ 0 h 186220"/>
              <a:gd name="connsiteX2" fmla="*/ 8307782 w 8672041"/>
              <a:gd name="connsiteY2" fmla="*/ 182880 h 186220"/>
              <a:gd name="connsiteX3" fmla="*/ 0 w 8672041"/>
              <a:gd name="connsiteY3" fmla="*/ 186220 h 186220"/>
              <a:gd name="connsiteX4" fmla="*/ 3330 w 8672041"/>
              <a:gd name="connsiteY4" fmla="*/ 3340 h 186220"/>
              <a:gd name="connsiteX0" fmla="*/ 0 w 8674979"/>
              <a:gd name="connsiteY0" fmla="*/ 3340 h 186220"/>
              <a:gd name="connsiteX1" fmla="*/ 8674979 w 8674979"/>
              <a:gd name="connsiteY1" fmla="*/ 0 h 186220"/>
              <a:gd name="connsiteX2" fmla="*/ 8310720 w 8674979"/>
              <a:gd name="connsiteY2" fmla="*/ 182880 h 186220"/>
              <a:gd name="connsiteX3" fmla="*/ 2938 w 8674979"/>
              <a:gd name="connsiteY3" fmla="*/ 186220 h 186220"/>
              <a:gd name="connsiteX4" fmla="*/ 0 w 8674979"/>
              <a:gd name="connsiteY4" fmla="*/ 3340 h 186220"/>
              <a:gd name="connsiteX0" fmla="*/ 0 w 8674979"/>
              <a:gd name="connsiteY0" fmla="*/ 0 h 189166"/>
              <a:gd name="connsiteX1" fmla="*/ 8674979 w 8674979"/>
              <a:gd name="connsiteY1" fmla="*/ 2946 h 189166"/>
              <a:gd name="connsiteX2" fmla="*/ 8310720 w 8674979"/>
              <a:gd name="connsiteY2" fmla="*/ 185826 h 189166"/>
              <a:gd name="connsiteX3" fmla="*/ 2938 w 8674979"/>
              <a:gd name="connsiteY3" fmla="*/ 189166 h 189166"/>
              <a:gd name="connsiteX4" fmla="*/ 0 w 8674979"/>
              <a:gd name="connsiteY4" fmla="*/ 0 h 189166"/>
              <a:gd name="connsiteX0" fmla="*/ 0 w 8674979"/>
              <a:gd name="connsiteY0" fmla="*/ 444 h 189610"/>
              <a:gd name="connsiteX1" fmla="*/ 8674979 w 8674979"/>
              <a:gd name="connsiteY1" fmla="*/ 0 h 189610"/>
              <a:gd name="connsiteX2" fmla="*/ 8310720 w 8674979"/>
              <a:gd name="connsiteY2" fmla="*/ 186270 h 189610"/>
              <a:gd name="connsiteX3" fmla="*/ 2938 w 8674979"/>
              <a:gd name="connsiteY3" fmla="*/ 189610 h 189610"/>
              <a:gd name="connsiteX4" fmla="*/ 0 w 8674979"/>
              <a:gd name="connsiteY4" fmla="*/ 444 h 189610"/>
              <a:gd name="connsiteX0" fmla="*/ 0 w 8674979"/>
              <a:gd name="connsiteY0" fmla="*/ 444 h 189660"/>
              <a:gd name="connsiteX1" fmla="*/ 8674979 w 8674979"/>
              <a:gd name="connsiteY1" fmla="*/ 0 h 189660"/>
              <a:gd name="connsiteX2" fmla="*/ 8310720 w 8674979"/>
              <a:gd name="connsiteY2" fmla="*/ 189660 h 189660"/>
              <a:gd name="connsiteX3" fmla="*/ 2938 w 8674979"/>
              <a:gd name="connsiteY3" fmla="*/ 189610 h 189660"/>
              <a:gd name="connsiteX4" fmla="*/ 0 w 8674979"/>
              <a:gd name="connsiteY4" fmla="*/ 444 h 189660"/>
              <a:gd name="connsiteX0" fmla="*/ 0 w 10119577"/>
              <a:gd name="connsiteY0" fmla="*/ 0 h 189216"/>
              <a:gd name="connsiteX1" fmla="*/ 10119577 w 10119577"/>
              <a:gd name="connsiteY1" fmla="*/ 686 h 189216"/>
              <a:gd name="connsiteX2" fmla="*/ 8310720 w 10119577"/>
              <a:gd name="connsiteY2" fmla="*/ 189216 h 189216"/>
              <a:gd name="connsiteX3" fmla="*/ 2938 w 10119577"/>
              <a:gd name="connsiteY3" fmla="*/ 189166 h 189216"/>
              <a:gd name="connsiteX4" fmla="*/ 0 w 10119577"/>
              <a:gd name="connsiteY4" fmla="*/ 0 h 189216"/>
              <a:gd name="connsiteX0" fmla="*/ 0 w 10119577"/>
              <a:gd name="connsiteY0" fmla="*/ 173 h 189389"/>
              <a:gd name="connsiteX1" fmla="*/ 10119577 w 10119577"/>
              <a:gd name="connsiteY1" fmla="*/ 0 h 189389"/>
              <a:gd name="connsiteX2" fmla="*/ 8310720 w 10119577"/>
              <a:gd name="connsiteY2" fmla="*/ 189389 h 189389"/>
              <a:gd name="connsiteX3" fmla="*/ 2938 w 10119577"/>
              <a:gd name="connsiteY3" fmla="*/ 189339 h 189389"/>
              <a:gd name="connsiteX4" fmla="*/ 0 w 10119577"/>
              <a:gd name="connsiteY4" fmla="*/ 173 h 189389"/>
              <a:gd name="connsiteX0" fmla="*/ 10004 w 10129581"/>
              <a:gd name="connsiteY0" fmla="*/ 173 h 189389"/>
              <a:gd name="connsiteX1" fmla="*/ 10129581 w 10129581"/>
              <a:gd name="connsiteY1" fmla="*/ 0 h 189389"/>
              <a:gd name="connsiteX2" fmla="*/ 8320724 w 10129581"/>
              <a:gd name="connsiteY2" fmla="*/ 189389 h 189389"/>
              <a:gd name="connsiteX3" fmla="*/ 57 w 10129581"/>
              <a:gd name="connsiteY3" fmla="*/ 189339 h 189389"/>
              <a:gd name="connsiteX4" fmla="*/ 10004 w 10129581"/>
              <a:gd name="connsiteY4" fmla="*/ 173 h 189389"/>
              <a:gd name="connsiteX0" fmla="*/ 9947 w 10129524"/>
              <a:gd name="connsiteY0" fmla="*/ 173 h 189389"/>
              <a:gd name="connsiteX1" fmla="*/ 10129524 w 10129524"/>
              <a:gd name="connsiteY1" fmla="*/ 0 h 189389"/>
              <a:gd name="connsiteX2" fmla="*/ 8320667 w 10129524"/>
              <a:gd name="connsiteY2" fmla="*/ 189389 h 189389"/>
              <a:gd name="connsiteX3" fmla="*/ 0 w 10129524"/>
              <a:gd name="connsiteY3" fmla="*/ 189339 h 189389"/>
              <a:gd name="connsiteX4" fmla="*/ 9947 w 10129524"/>
              <a:gd name="connsiteY4" fmla="*/ 173 h 189389"/>
              <a:gd name="connsiteX0" fmla="*/ 9947 w 10129524"/>
              <a:gd name="connsiteY0" fmla="*/ 173 h 189389"/>
              <a:gd name="connsiteX1" fmla="*/ 10129524 w 10129524"/>
              <a:gd name="connsiteY1" fmla="*/ 0 h 189389"/>
              <a:gd name="connsiteX2" fmla="*/ 8320667 w 10129524"/>
              <a:gd name="connsiteY2" fmla="*/ 189389 h 189389"/>
              <a:gd name="connsiteX3" fmla="*/ 0 w 10129524"/>
              <a:gd name="connsiteY3" fmla="*/ 189339 h 189389"/>
              <a:gd name="connsiteX4" fmla="*/ 9947 w 10129524"/>
              <a:gd name="connsiteY4" fmla="*/ 173 h 189389"/>
              <a:gd name="connsiteX0" fmla="*/ 0 w 10119577"/>
              <a:gd name="connsiteY0" fmla="*/ 173 h 189389"/>
              <a:gd name="connsiteX1" fmla="*/ 10119577 w 10119577"/>
              <a:gd name="connsiteY1" fmla="*/ 0 h 189389"/>
              <a:gd name="connsiteX2" fmla="*/ 8310720 w 10119577"/>
              <a:gd name="connsiteY2" fmla="*/ 189389 h 189389"/>
              <a:gd name="connsiteX3" fmla="*/ 15823 w 10119577"/>
              <a:gd name="connsiteY3" fmla="*/ 189339 h 189389"/>
              <a:gd name="connsiteX4" fmla="*/ 0 w 10119577"/>
              <a:gd name="connsiteY4" fmla="*/ 173 h 189389"/>
              <a:gd name="connsiteX0" fmla="*/ 0 w 10119577"/>
              <a:gd name="connsiteY0" fmla="*/ 173 h 189389"/>
              <a:gd name="connsiteX1" fmla="*/ 10119577 w 10119577"/>
              <a:gd name="connsiteY1" fmla="*/ 0 h 189389"/>
              <a:gd name="connsiteX2" fmla="*/ 8310720 w 10119577"/>
              <a:gd name="connsiteY2" fmla="*/ 189389 h 189389"/>
              <a:gd name="connsiteX3" fmla="*/ 2938 w 10119577"/>
              <a:gd name="connsiteY3" fmla="*/ 189339 h 189389"/>
              <a:gd name="connsiteX4" fmla="*/ 0 w 10119577"/>
              <a:gd name="connsiteY4" fmla="*/ 173 h 189389"/>
              <a:gd name="connsiteX0" fmla="*/ 0 w 21540281"/>
              <a:gd name="connsiteY0" fmla="*/ 9120 h 189389"/>
              <a:gd name="connsiteX1" fmla="*/ 21540281 w 21540281"/>
              <a:gd name="connsiteY1" fmla="*/ 0 h 189389"/>
              <a:gd name="connsiteX2" fmla="*/ 19731424 w 21540281"/>
              <a:gd name="connsiteY2" fmla="*/ 189389 h 189389"/>
              <a:gd name="connsiteX3" fmla="*/ 11423642 w 21540281"/>
              <a:gd name="connsiteY3" fmla="*/ 189339 h 189389"/>
              <a:gd name="connsiteX4" fmla="*/ 0 w 21540281"/>
              <a:gd name="connsiteY4" fmla="*/ 9120 h 189389"/>
              <a:gd name="connsiteX0" fmla="*/ 0 w 21540281"/>
              <a:gd name="connsiteY0" fmla="*/ 9120 h 192321"/>
              <a:gd name="connsiteX1" fmla="*/ 21540281 w 21540281"/>
              <a:gd name="connsiteY1" fmla="*/ 0 h 192321"/>
              <a:gd name="connsiteX2" fmla="*/ 19731424 w 21540281"/>
              <a:gd name="connsiteY2" fmla="*/ 189389 h 192321"/>
              <a:gd name="connsiteX3" fmla="*/ 2942 w 21540281"/>
              <a:gd name="connsiteY3" fmla="*/ 192321 h 192321"/>
              <a:gd name="connsiteX4" fmla="*/ 0 w 21540281"/>
              <a:gd name="connsiteY4" fmla="*/ 9120 h 192321"/>
              <a:gd name="connsiteX0" fmla="*/ 0 w 21540281"/>
              <a:gd name="connsiteY0" fmla="*/ 6138 h 192321"/>
              <a:gd name="connsiteX1" fmla="*/ 21540281 w 21540281"/>
              <a:gd name="connsiteY1" fmla="*/ 0 h 192321"/>
              <a:gd name="connsiteX2" fmla="*/ 19731424 w 21540281"/>
              <a:gd name="connsiteY2" fmla="*/ 189389 h 192321"/>
              <a:gd name="connsiteX3" fmla="*/ 2942 w 21540281"/>
              <a:gd name="connsiteY3" fmla="*/ 192321 h 192321"/>
              <a:gd name="connsiteX4" fmla="*/ 0 w 21540281"/>
              <a:gd name="connsiteY4" fmla="*/ 6138 h 192321"/>
              <a:gd name="connsiteX0" fmla="*/ 2579162 w 24119443"/>
              <a:gd name="connsiteY0" fmla="*/ 6138 h 192321"/>
              <a:gd name="connsiteX1" fmla="*/ 24119443 w 24119443"/>
              <a:gd name="connsiteY1" fmla="*/ 0 h 192321"/>
              <a:gd name="connsiteX2" fmla="*/ 22310586 w 24119443"/>
              <a:gd name="connsiteY2" fmla="*/ 189389 h 192321"/>
              <a:gd name="connsiteX3" fmla="*/ 2582104 w 24119443"/>
              <a:gd name="connsiteY3" fmla="*/ 192321 h 192321"/>
              <a:gd name="connsiteX4" fmla="*/ 2579162 w 24119443"/>
              <a:gd name="connsiteY4" fmla="*/ 6138 h 192321"/>
              <a:gd name="connsiteX0" fmla="*/ 1459081 w 22999362"/>
              <a:gd name="connsiteY0" fmla="*/ 6138 h 192321"/>
              <a:gd name="connsiteX1" fmla="*/ 22999362 w 22999362"/>
              <a:gd name="connsiteY1" fmla="*/ 0 h 192321"/>
              <a:gd name="connsiteX2" fmla="*/ 21190505 w 22999362"/>
              <a:gd name="connsiteY2" fmla="*/ 189389 h 192321"/>
              <a:gd name="connsiteX3" fmla="*/ 1462023 w 22999362"/>
              <a:gd name="connsiteY3" fmla="*/ 192321 h 192321"/>
              <a:gd name="connsiteX4" fmla="*/ 1459081 w 22999362"/>
              <a:gd name="connsiteY4" fmla="*/ 6138 h 192321"/>
              <a:gd name="connsiteX0" fmla="*/ 2579108 w 24119389"/>
              <a:gd name="connsiteY0" fmla="*/ 6138 h 192321"/>
              <a:gd name="connsiteX1" fmla="*/ 24119389 w 24119389"/>
              <a:gd name="connsiteY1" fmla="*/ 0 h 192321"/>
              <a:gd name="connsiteX2" fmla="*/ 22310532 w 24119389"/>
              <a:gd name="connsiteY2" fmla="*/ 189389 h 192321"/>
              <a:gd name="connsiteX3" fmla="*/ 2582050 w 24119389"/>
              <a:gd name="connsiteY3" fmla="*/ 192321 h 192321"/>
              <a:gd name="connsiteX4" fmla="*/ 2579108 w 24119389"/>
              <a:gd name="connsiteY4" fmla="*/ 6138 h 192321"/>
              <a:gd name="connsiteX0" fmla="*/ 1594923 w 23135204"/>
              <a:gd name="connsiteY0" fmla="*/ 6138 h 192321"/>
              <a:gd name="connsiteX1" fmla="*/ 23135204 w 23135204"/>
              <a:gd name="connsiteY1" fmla="*/ 0 h 192321"/>
              <a:gd name="connsiteX2" fmla="*/ 21326347 w 23135204"/>
              <a:gd name="connsiteY2" fmla="*/ 189389 h 192321"/>
              <a:gd name="connsiteX3" fmla="*/ 1597865 w 23135204"/>
              <a:gd name="connsiteY3" fmla="*/ 192321 h 192321"/>
              <a:gd name="connsiteX4" fmla="*/ 1594923 w 23135204"/>
              <a:gd name="connsiteY4" fmla="*/ 6138 h 192321"/>
              <a:gd name="connsiteX0" fmla="*/ 1 w 21540282"/>
              <a:gd name="connsiteY0" fmla="*/ 6138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3 w 21540282"/>
              <a:gd name="connsiteY3" fmla="*/ 192321 h 192321"/>
              <a:gd name="connsiteX4" fmla="*/ 1 w 21540282"/>
              <a:gd name="connsiteY4" fmla="*/ 6138 h 192321"/>
              <a:gd name="connsiteX0" fmla="*/ 0 w 21540282"/>
              <a:gd name="connsiteY0" fmla="*/ 3156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3 w 21540282"/>
              <a:gd name="connsiteY3" fmla="*/ 192321 h 192321"/>
              <a:gd name="connsiteX4" fmla="*/ 0 w 21540282"/>
              <a:gd name="connsiteY4" fmla="*/ 3156 h 192321"/>
              <a:gd name="connsiteX0" fmla="*/ 0 w 21540282"/>
              <a:gd name="connsiteY0" fmla="*/ 347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3 w 21540282"/>
              <a:gd name="connsiteY3" fmla="*/ 192321 h 192321"/>
              <a:gd name="connsiteX4" fmla="*/ 0 w 21540282"/>
              <a:gd name="connsiteY4" fmla="*/ 347 h 192321"/>
              <a:gd name="connsiteX0" fmla="*/ 0 w 21540282"/>
              <a:gd name="connsiteY0" fmla="*/ 347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2 w 21540282"/>
              <a:gd name="connsiteY3" fmla="*/ 192321 h 192321"/>
              <a:gd name="connsiteX4" fmla="*/ 0 w 21540282"/>
              <a:gd name="connsiteY4" fmla="*/ 347 h 192321"/>
              <a:gd name="connsiteX0" fmla="*/ 0 w 21540282"/>
              <a:gd name="connsiteY0" fmla="*/ 347 h 189512"/>
              <a:gd name="connsiteX1" fmla="*/ 21540282 w 21540282"/>
              <a:gd name="connsiteY1" fmla="*/ 0 h 189512"/>
              <a:gd name="connsiteX2" fmla="*/ 19731425 w 21540282"/>
              <a:gd name="connsiteY2" fmla="*/ 189389 h 189512"/>
              <a:gd name="connsiteX3" fmla="*/ 2942 w 21540282"/>
              <a:gd name="connsiteY3" fmla="*/ 189512 h 189512"/>
              <a:gd name="connsiteX4" fmla="*/ 0 w 21540282"/>
              <a:gd name="connsiteY4" fmla="*/ 347 h 189512"/>
              <a:gd name="connsiteX0" fmla="*/ 0 w 20903501"/>
              <a:gd name="connsiteY0" fmla="*/ 347 h 189512"/>
              <a:gd name="connsiteX1" fmla="*/ 20903501 w 20903501"/>
              <a:gd name="connsiteY1" fmla="*/ 0 h 189512"/>
              <a:gd name="connsiteX2" fmla="*/ 19731425 w 20903501"/>
              <a:gd name="connsiteY2" fmla="*/ 189389 h 189512"/>
              <a:gd name="connsiteX3" fmla="*/ 2942 w 20903501"/>
              <a:gd name="connsiteY3" fmla="*/ 189512 h 189512"/>
              <a:gd name="connsiteX4" fmla="*/ 0 w 20903501"/>
              <a:gd name="connsiteY4" fmla="*/ 347 h 189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903501" h="189512">
                <a:moveTo>
                  <a:pt x="0" y="347"/>
                </a:moveTo>
                <a:lnTo>
                  <a:pt x="20903501" y="0"/>
                </a:lnTo>
                <a:lnTo>
                  <a:pt x="19731425" y="189389"/>
                </a:lnTo>
                <a:lnTo>
                  <a:pt x="2942" y="189512"/>
                </a:lnTo>
                <a:cubicBezTo>
                  <a:pt x="1961" y="125521"/>
                  <a:pt x="981" y="64338"/>
                  <a:pt x="0" y="34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214975268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/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3AD9D9EF-93A8-4AD0-9293-A912F1609535}"/>
              </a:ext>
            </a:extLst>
          </p:cNvPr>
          <p:cNvSpPr/>
          <p:nvPr userDrawn="1"/>
        </p:nvSpPr>
        <p:spPr>
          <a:xfrm>
            <a:off x="8485838" y="1411870"/>
            <a:ext cx="3706162" cy="48212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1" name="Rectangle 3">
            <a:extLst>
              <a:ext uri="{FF2B5EF4-FFF2-40B4-BE49-F238E27FC236}">
                <a16:creationId xmlns:a16="http://schemas.microsoft.com/office/drawing/2014/main" id="{69E79D0B-0FBC-4730-8F48-331668759A21}"/>
              </a:ext>
            </a:extLst>
          </p:cNvPr>
          <p:cNvSpPr/>
          <p:nvPr userDrawn="1"/>
        </p:nvSpPr>
        <p:spPr>
          <a:xfrm>
            <a:off x="0" y="1412185"/>
            <a:ext cx="9077242" cy="482776"/>
          </a:xfrm>
          <a:custGeom>
            <a:avLst/>
            <a:gdLst>
              <a:gd name="connsiteX0" fmla="*/ 0 w 6709251"/>
              <a:gd name="connsiteY0" fmla="*/ 0 h 182880"/>
              <a:gd name="connsiteX1" fmla="*/ 6709251 w 6709251"/>
              <a:gd name="connsiteY1" fmla="*/ 0 h 182880"/>
              <a:gd name="connsiteX2" fmla="*/ 6709251 w 6709251"/>
              <a:gd name="connsiteY2" fmla="*/ 182880 h 182880"/>
              <a:gd name="connsiteX3" fmla="*/ 0 w 6709251"/>
              <a:gd name="connsiteY3" fmla="*/ 182880 h 182880"/>
              <a:gd name="connsiteX4" fmla="*/ 0 w 6709251"/>
              <a:gd name="connsiteY4" fmla="*/ 0 h 182880"/>
              <a:gd name="connsiteX0" fmla="*/ 0 w 7073510"/>
              <a:gd name="connsiteY0" fmla="*/ 0 h 182880"/>
              <a:gd name="connsiteX1" fmla="*/ 7073510 w 7073510"/>
              <a:gd name="connsiteY1" fmla="*/ 0 h 182880"/>
              <a:gd name="connsiteX2" fmla="*/ 6709251 w 7073510"/>
              <a:gd name="connsiteY2" fmla="*/ 182880 h 182880"/>
              <a:gd name="connsiteX3" fmla="*/ 0 w 7073510"/>
              <a:gd name="connsiteY3" fmla="*/ 182880 h 182880"/>
              <a:gd name="connsiteX4" fmla="*/ 0 w 7073510"/>
              <a:gd name="connsiteY4" fmla="*/ 0 h 182880"/>
              <a:gd name="connsiteX0" fmla="*/ 0 w 8678702"/>
              <a:gd name="connsiteY0" fmla="*/ 0 h 182880"/>
              <a:gd name="connsiteX1" fmla="*/ 8678702 w 8678702"/>
              <a:gd name="connsiteY1" fmla="*/ 0 h 182880"/>
              <a:gd name="connsiteX2" fmla="*/ 8314443 w 8678702"/>
              <a:gd name="connsiteY2" fmla="*/ 182880 h 182880"/>
              <a:gd name="connsiteX3" fmla="*/ 1605192 w 8678702"/>
              <a:gd name="connsiteY3" fmla="*/ 182880 h 182880"/>
              <a:gd name="connsiteX4" fmla="*/ 0 w 8678702"/>
              <a:gd name="connsiteY4" fmla="*/ 0 h 182880"/>
              <a:gd name="connsiteX0" fmla="*/ 0 w 8678702"/>
              <a:gd name="connsiteY0" fmla="*/ 0 h 186220"/>
              <a:gd name="connsiteX1" fmla="*/ 8678702 w 8678702"/>
              <a:gd name="connsiteY1" fmla="*/ 0 h 186220"/>
              <a:gd name="connsiteX2" fmla="*/ 8314443 w 8678702"/>
              <a:gd name="connsiteY2" fmla="*/ 182880 h 186220"/>
              <a:gd name="connsiteX3" fmla="*/ 6661 w 8678702"/>
              <a:gd name="connsiteY3" fmla="*/ 186220 h 186220"/>
              <a:gd name="connsiteX4" fmla="*/ 0 w 8678702"/>
              <a:gd name="connsiteY4" fmla="*/ 0 h 186220"/>
              <a:gd name="connsiteX0" fmla="*/ 133211 w 8672041"/>
              <a:gd name="connsiteY0" fmla="*/ 50097 h 186220"/>
              <a:gd name="connsiteX1" fmla="*/ 8672041 w 8672041"/>
              <a:gd name="connsiteY1" fmla="*/ 0 h 186220"/>
              <a:gd name="connsiteX2" fmla="*/ 8307782 w 8672041"/>
              <a:gd name="connsiteY2" fmla="*/ 182880 h 186220"/>
              <a:gd name="connsiteX3" fmla="*/ 0 w 8672041"/>
              <a:gd name="connsiteY3" fmla="*/ 186220 h 186220"/>
              <a:gd name="connsiteX4" fmla="*/ 133211 w 8672041"/>
              <a:gd name="connsiteY4" fmla="*/ 50097 h 186220"/>
              <a:gd name="connsiteX0" fmla="*/ 3330 w 8672041"/>
              <a:gd name="connsiteY0" fmla="*/ 3340 h 186220"/>
              <a:gd name="connsiteX1" fmla="*/ 8672041 w 8672041"/>
              <a:gd name="connsiteY1" fmla="*/ 0 h 186220"/>
              <a:gd name="connsiteX2" fmla="*/ 8307782 w 8672041"/>
              <a:gd name="connsiteY2" fmla="*/ 182880 h 186220"/>
              <a:gd name="connsiteX3" fmla="*/ 0 w 8672041"/>
              <a:gd name="connsiteY3" fmla="*/ 186220 h 186220"/>
              <a:gd name="connsiteX4" fmla="*/ 3330 w 8672041"/>
              <a:gd name="connsiteY4" fmla="*/ 3340 h 186220"/>
              <a:gd name="connsiteX0" fmla="*/ 3330 w 8672041"/>
              <a:gd name="connsiteY0" fmla="*/ 3340 h 186220"/>
              <a:gd name="connsiteX1" fmla="*/ 8672041 w 8672041"/>
              <a:gd name="connsiteY1" fmla="*/ 0 h 186220"/>
              <a:gd name="connsiteX2" fmla="*/ 8307782 w 8672041"/>
              <a:gd name="connsiteY2" fmla="*/ 182880 h 186220"/>
              <a:gd name="connsiteX3" fmla="*/ 0 w 8672041"/>
              <a:gd name="connsiteY3" fmla="*/ 186220 h 186220"/>
              <a:gd name="connsiteX4" fmla="*/ 3330 w 8672041"/>
              <a:gd name="connsiteY4" fmla="*/ 3340 h 186220"/>
              <a:gd name="connsiteX0" fmla="*/ 0 w 8674979"/>
              <a:gd name="connsiteY0" fmla="*/ 3340 h 186220"/>
              <a:gd name="connsiteX1" fmla="*/ 8674979 w 8674979"/>
              <a:gd name="connsiteY1" fmla="*/ 0 h 186220"/>
              <a:gd name="connsiteX2" fmla="*/ 8310720 w 8674979"/>
              <a:gd name="connsiteY2" fmla="*/ 182880 h 186220"/>
              <a:gd name="connsiteX3" fmla="*/ 2938 w 8674979"/>
              <a:gd name="connsiteY3" fmla="*/ 186220 h 186220"/>
              <a:gd name="connsiteX4" fmla="*/ 0 w 8674979"/>
              <a:gd name="connsiteY4" fmla="*/ 3340 h 186220"/>
              <a:gd name="connsiteX0" fmla="*/ 0 w 8674979"/>
              <a:gd name="connsiteY0" fmla="*/ 0 h 189166"/>
              <a:gd name="connsiteX1" fmla="*/ 8674979 w 8674979"/>
              <a:gd name="connsiteY1" fmla="*/ 2946 h 189166"/>
              <a:gd name="connsiteX2" fmla="*/ 8310720 w 8674979"/>
              <a:gd name="connsiteY2" fmla="*/ 185826 h 189166"/>
              <a:gd name="connsiteX3" fmla="*/ 2938 w 8674979"/>
              <a:gd name="connsiteY3" fmla="*/ 189166 h 189166"/>
              <a:gd name="connsiteX4" fmla="*/ 0 w 8674979"/>
              <a:gd name="connsiteY4" fmla="*/ 0 h 189166"/>
              <a:gd name="connsiteX0" fmla="*/ 0 w 8674979"/>
              <a:gd name="connsiteY0" fmla="*/ 444 h 189610"/>
              <a:gd name="connsiteX1" fmla="*/ 8674979 w 8674979"/>
              <a:gd name="connsiteY1" fmla="*/ 0 h 189610"/>
              <a:gd name="connsiteX2" fmla="*/ 8310720 w 8674979"/>
              <a:gd name="connsiteY2" fmla="*/ 186270 h 189610"/>
              <a:gd name="connsiteX3" fmla="*/ 2938 w 8674979"/>
              <a:gd name="connsiteY3" fmla="*/ 189610 h 189610"/>
              <a:gd name="connsiteX4" fmla="*/ 0 w 8674979"/>
              <a:gd name="connsiteY4" fmla="*/ 444 h 189610"/>
              <a:gd name="connsiteX0" fmla="*/ 0 w 8674979"/>
              <a:gd name="connsiteY0" fmla="*/ 444 h 189660"/>
              <a:gd name="connsiteX1" fmla="*/ 8674979 w 8674979"/>
              <a:gd name="connsiteY1" fmla="*/ 0 h 189660"/>
              <a:gd name="connsiteX2" fmla="*/ 8310720 w 8674979"/>
              <a:gd name="connsiteY2" fmla="*/ 189660 h 189660"/>
              <a:gd name="connsiteX3" fmla="*/ 2938 w 8674979"/>
              <a:gd name="connsiteY3" fmla="*/ 189610 h 189660"/>
              <a:gd name="connsiteX4" fmla="*/ 0 w 8674979"/>
              <a:gd name="connsiteY4" fmla="*/ 444 h 189660"/>
              <a:gd name="connsiteX0" fmla="*/ 0 w 10119577"/>
              <a:gd name="connsiteY0" fmla="*/ 0 h 189216"/>
              <a:gd name="connsiteX1" fmla="*/ 10119577 w 10119577"/>
              <a:gd name="connsiteY1" fmla="*/ 686 h 189216"/>
              <a:gd name="connsiteX2" fmla="*/ 8310720 w 10119577"/>
              <a:gd name="connsiteY2" fmla="*/ 189216 h 189216"/>
              <a:gd name="connsiteX3" fmla="*/ 2938 w 10119577"/>
              <a:gd name="connsiteY3" fmla="*/ 189166 h 189216"/>
              <a:gd name="connsiteX4" fmla="*/ 0 w 10119577"/>
              <a:gd name="connsiteY4" fmla="*/ 0 h 189216"/>
              <a:gd name="connsiteX0" fmla="*/ 0 w 10119577"/>
              <a:gd name="connsiteY0" fmla="*/ 173 h 189389"/>
              <a:gd name="connsiteX1" fmla="*/ 10119577 w 10119577"/>
              <a:gd name="connsiteY1" fmla="*/ 0 h 189389"/>
              <a:gd name="connsiteX2" fmla="*/ 8310720 w 10119577"/>
              <a:gd name="connsiteY2" fmla="*/ 189389 h 189389"/>
              <a:gd name="connsiteX3" fmla="*/ 2938 w 10119577"/>
              <a:gd name="connsiteY3" fmla="*/ 189339 h 189389"/>
              <a:gd name="connsiteX4" fmla="*/ 0 w 10119577"/>
              <a:gd name="connsiteY4" fmla="*/ 173 h 189389"/>
              <a:gd name="connsiteX0" fmla="*/ 10004 w 10129581"/>
              <a:gd name="connsiteY0" fmla="*/ 173 h 189389"/>
              <a:gd name="connsiteX1" fmla="*/ 10129581 w 10129581"/>
              <a:gd name="connsiteY1" fmla="*/ 0 h 189389"/>
              <a:gd name="connsiteX2" fmla="*/ 8320724 w 10129581"/>
              <a:gd name="connsiteY2" fmla="*/ 189389 h 189389"/>
              <a:gd name="connsiteX3" fmla="*/ 57 w 10129581"/>
              <a:gd name="connsiteY3" fmla="*/ 189339 h 189389"/>
              <a:gd name="connsiteX4" fmla="*/ 10004 w 10129581"/>
              <a:gd name="connsiteY4" fmla="*/ 173 h 189389"/>
              <a:gd name="connsiteX0" fmla="*/ 9947 w 10129524"/>
              <a:gd name="connsiteY0" fmla="*/ 173 h 189389"/>
              <a:gd name="connsiteX1" fmla="*/ 10129524 w 10129524"/>
              <a:gd name="connsiteY1" fmla="*/ 0 h 189389"/>
              <a:gd name="connsiteX2" fmla="*/ 8320667 w 10129524"/>
              <a:gd name="connsiteY2" fmla="*/ 189389 h 189389"/>
              <a:gd name="connsiteX3" fmla="*/ 0 w 10129524"/>
              <a:gd name="connsiteY3" fmla="*/ 189339 h 189389"/>
              <a:gd name="connsiteX4" fmla="*/ 9947 w 10129524"/>
              <a:gd name="connsiteY4" fmla="*/ 173 h 189389"/>
              <a:gd name="connsiteX0" fmla="*/ 9947 w 10129524"/>
              <a:gd name="connsiteY0" fmla="*/ 173 h 189389"/>
              <a:gd name="connsiteX1" fmla="*/ 10129524 w 10129524"/>
              <a:gd name="connsiteY1" fmla="*/ 0 h 189389"/>
              <a:gd name="connsiteX2" fmla="*/ 8320667 w 10129524"/>
              <a:gd name="connsiteY2" fmla="*/ 189389 h 189389"/>
              <a:gd name="connsiteX3" fmla="*/ 0 w 10129524"/>
              <a:gd name="connsiteY3" fmla="*/ 189339 h 189389"/>
              <a:gd name="connsiteX4" fmla="*/ 9947 w 10129524"/>
              <a:gd name="connsiteY4" fmla="*/ 173 h 189389"/>
              <a:gd name="connsiteX0" fmla="*/ 0 w 10119577"/>
              <a:gd name="connsiteY0" fmla="*/ 173 h 189389"/>
              <a:gd name="connsiteX1" fmla="*/ 10119577 w 10119577"/>
              <a:gd name="connsiteY1" fmla="*/ 0 h 189389"/>
              <a:gd name="connsiteX2" fmla="*/ 8310720 w 10119577"/>
              <a:gd name="connsiteY2" fmla="*/ 189389 h 189389"/>
              <a:gd name="connsiteX3" fmla="*/ 15823 w 10119577"/>
              <a:gd name="connsiteY3" fmla="*/ 189339 h 189389"/>
              <a:gd name="connsiteX4" fmla="*/ 0 w 10119577"/>
              <a:gd name="connsiteY4" fmla="*/ 173 h 189389"/>
              <a:gd name="connsiteX0" fmla="*/ 0 w 10119577"/>
              <a:gd name="connsiteY0" fmla="*/ 173 h 189389"/>
              <a:gd name="connsiteX1" fmla="*/ 10119577 w 10119577"/>
              <a:gd name="connsiteY1" fmla="*/ 0 h 189389"/>
              <a:gd name="connsiteX2" fmla="*/ 8310720 w 10119577"/>
              <a:gd name="connsiteY2" fmla="*/ 189389 h 189389"/>
              <a:gd name="connsiteX3" fmla="*/ 2938 w 10119577"/>
              <a:gd name="connsiteY3" fmla="*/ 189339 h 189389"/>
              <a:gd name="connsiteX4" fmla="*/ 0 w 10119577"/>
              <a:gd name="connsiteY4" fmla="*/ 173 h 189389"/>
              <a:gd name="connsiteX0" fmla="*/ 0 w 21540281"/>
              <a:gd name="connsiteY0" fmla="*/ 9120 h 189389"/>
              <a:gd name="connsiteX1" fmla="*/ 21540281 w 21540281"/>
              <a:gd name="connsiteY1" fmla="*/ 0 h 189389"/>
              <a:gd name="connsiteX2" fmla="*/ 19731424 w 21540281"/>
              <a:gd name="connsiteY2" fmla="*/ 189389 h 189389"/>
              <a:gd name="connsiteX3" fmla="*/ 11423642 w 21540281"/>
              <a:gd name="connsiteY3" fmla="*/ 189339 h 189389"/>
              <a:gd name="connsiteX4" fmla="*/ 0 w 21540281"/>
              <a:gd name="connsiteY4" fmla="*/ 9120 h 189389"/>
              <a:gd name="connsiteX0" fmla="*/ 0 w 21540281"/>
              <a:gd name="connsiteY0" fmla="*/ 9120 h 192321"/>
              <a:gd name="connsiteX1" fmla="*/ 21540281 w 21540281"/>
              <a:gd name="connsiteY1" fmla="*/ 0 h 192321"/>
              <a:gd name="connsiteX2" fmla="*/ 19731424 w 21540281"/>
              <a:gd name="connsiteY2" fmla="*/ 189389 h 192321"/>
              <a:gd name="connsiteX3" fmla="*/ 2942 w 21540281"/>
              <a:gd name="connsiteY3" fmla="*/ 192321 h 192321"/>
              <a:gd name="connsiteX4" fmla="*/ 0 w 21540281"/>
              <a:gd name="connsiteY4" fmla="*/ 9120 h 192321"/>
              <a:gd name="connsiteX0" fmla="*/ 0 w 21540281"/>
              <a:gd name="connsiteY0" fmla="*/ 6138 h 192321"/>
              <a:gd name="connsiteX1" fmla="*/ 21540281 w 21540281"/>
              <a:gd name="connsiteY1" fmla="*/ 0 h 192321"/>
              <a:gd name="connsiteX2" fmla="*/ 19731424 w 21540281"/>
              <a:gd name="connsiteY2" fmla="*/ 189389 h 192321"/>
              <a:gd name="connsiteX3" fmla="*/ 2942 w 21540281"/>
              <a:gd name="connsiteY3" fmla="*/ 192321 h 192321"/>
              <a:gd name="connsiteX4" fmla="*/ 0 w 21540281"/>
              <a:gd name="connsiteY4" fmla="*/ 6138 h 192321"/>
              <a:gd name="connsiteX0" fmla="*/ 2579162 w 24119443"/>
              <a:gd name="connsiteY0" fmla="*/ 6138 h 192321"/>
              <a:gd name="connsiteX1" fmla="*/ 24119443 w 24119443"/>
              <a:gd name="connsiteY1" fmla="*/ 0 h 192321"/>
              <a:gd name="connsiteX2" fmla="*/ 22310586 w 24119443"/>
              <a:gd name="connsiteY2" fmla="*/ 189389 h 192321"/>
              <a:gd name="connsiteX3" fmla="*/ 2582104 w 24119443"/>
              <a:gd name="connsiteY3" fmla="*/ 192321 h 192321"/>
              <a:gd name="connsiteX4" fmla="*/ 2579162 w 24119443"/>
              <a:gd name="connsiteY4" fmla="*/ 6138 h 192321"/>
              <a:gd name="connsiteX0" fmla="*/ 1459081 w 22999362"/>
              <a:gd name="connsiteY0" fmla="*/ 6138 h 192321"/>
              <a:gd name="connsiteX1" fmla="*/ 22999362 w 22999362"/>
              <a:gd name="connsiteY1" fmla="*/ 0 h 192321"/>
              <a:gd name="connsiteX2" fmla="*/ 21190505 w 22999362"/>
              <a:gd name="connsiteY2" fmla="*/ 189389 h 192321"/>
              <a:gd name="connsiteX3" fmla="*/ 1462023 w 22999362"/>
              <a:gd name="connsiteY3" fmla="*/ 192321 h 192321"/>
              <a:gd name="connsiteX4" fmla="*/ 1459081 w 22999362"/>
              <a:gd name="connsiteY4" fmla="*/ 6138 h 192321"/>
              <a:gd name="connsiteX0" fmla="*/ 2579108 w 24119389"/>
              <a:gd name="connsiteY0" fmla="*/ 6138 h 192321"/>
              <a:gd name="connsiteX1" fmla="*/ 24119389 w 24119389"/>
              <a:gd name="connsiteY1" fmla="*/ 0 h 192321"/>
              <a:gd name="connsiteX2" fmla="*/ 22310532 w 24119389"/>
              <a:gd name="connsiteY2" fmla="*/ 189389 h 192321"/>
              <a:gd name="connsiteX3" fmla="*/ 2582050 w 24119389"/>
              <a:gd name="connsiteY3" fmla="*/ 192321 h 192321"/>
              <a:gd name="connsiteX4" fmla="*/ 2579108 w 24119389"/>
              <a:gd name="connsiteY4" fmla="*/ 6138 h 192321"/>
              <a:gd name="connsiteX0" fmla="*/ 1594923 w 23135204"/>
              <a:gd name="connsiteY0" fmla="*/ 6138 h 192321"/>
              <a:gd name="connsiteX1" fmla="*/ 23135204 w 23135204"/>
              <a:gd name="connsiteY1" fmla="*/ 0 h 192321"/>
              <a:gd name="connsiteX2" fmla="*/ 21326347 w 23135204"/>
              <a:gd name="connsiteY2" fmla="*/ 189389 h 192321"/>
              <a:gd name="connsiteX3" fmla="*/ 1597865 w 23135204"/>
              <a:gd name="connsiteY3" fmla="*/ 192321 h 192321"/>
              <a:gd name="connsiteX4" fmla="*/ 1594923 w 23135204"/>
              <a:gd name="connsiteY4" fmla="*/ 6138 h 192321"/>
              <a:gd name="connsiteX0" fmla="*/ 1 w 21540282"/>
              <a:gd name="connsiteY0" fmla="*/ 6138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3 w 21540282"/>
              <a:gd name="connsiteY3" fmla="*/ 192321 h 192321"/>
              <a:gd name="connsiteX4" fmla="*/ 1 w 21540282"/>
              <a:gd name="connsiteY4" fmla="*/ 6138 h 192321"/>
              <a:gd name="connsiteX0" fmla="*/ 0 w 21540282"/>
              <a:gd name="connsiteY0" fmla="*/ 3156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3 w 21540282"/>
              <a:gd name="connsiteY3" fmla="*/ 192321 h 192321"/>
              <a:gd name="connsiteX4" fmla="*/ 0 w 21540282"/>
              <a:gd name="connsiteY4" fmla="*/ 3156 h 192321"/>
              <a:gd name="connsiteX0" fmla="*/ 0 w 21540282"/>
              <a:gd name="connsiteY0" fmla="*/ 347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3 w 21540282"/>
              <a:gd name="connsiteY3" fmla="*/ 192321 h 192321"/>
              <a:gd name="connsiteX4" fmla="*/ 0 w 21540282"/>
              <a:gd name="connsiteY4" fmla="*/ 347 h 192321"/>
              <a:gd name="connsiteX0" fmla="*/ 0 w 21540282"/>
              <a:gd name="connsiteY0" fmla="*/ 347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2 w 21540282"/>
              <a:gd name="connsiteY3" fmla="*/ 192321 h 192321"/>
              <a:gd name="connsiteX4" fmla="*/ 0 w 21540282"/>
              <a:gd name="connsiteY4" fmla="*/ 347 h 192321"/>
              <a:gd name="connsiteX0" fmla="*/ 0 w 21540282"/>
              <a:gd name="connsiteY0" fmla="*/ 347 h 189512"/>
              <a:gd name="connsiteX1" fmla="*/ 21540282 w 21540282"/>
              <a:gd name="connsiteY1" fmla="*/ 0 h 189512"/>
              <a:gd name="connsiteX2" fmla="*/ 19731425 w 21540282"/>
              <a:gd name="connsiteY2" fmla="*/ 189389 h 189512"/>
              <a:gd name="connsiteX3" fmla="*/ 2942 w 21540282"/>
              <a:gd name="connsiteY3" fmla="*/ 189512 h 189512"/>
              <a:gd name="connsiteX4" fmla="*/ 0 w 21540282"/>
              <a:gd name="connsiteY4" fmla="*/ 347 h 189512"/>
              <a:gd name="connsiteX0" fmla="*/ 0 w 20903501"/>
              <a:gd name="connsiteY0" fmla="*/ 347 h 189512"/>
              <a:gd name="connsiteX1" fmla="*/ 20903501 w 20903501"/>
              <a:gd name="connsiteY1" fmla="*/ 0 h 189512"/>
              <a:gd name="connsiteX2" fmla="*/ 19731425 w 20903501"/>
              <a:gd name="connsiteY2" fmla="*/ 189389 h 189512"/>
              <a:gd name="connsiteX3" fmla="*/ 2942 w 20903501"/>
              <a:gd name="connsiteY3" fmla="*/ 189512 h 189512"/>
              <a:gd name="connsiteX4" fmla="*/ 0 w 20903501"/>
              <a:gd name="connsiteY4" fmla="*/ 347 h 189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903501" h="189512">
                <a:moveTo>
                  <a:pt x="0" y="347"/>
                </a:moveTo>
                <a:lnTo>
                  <a:pt x="20903501" y="0"/>
                </a:lnTo>
                <a:lnTo>
                  <a:pt x="19731425" y="189389"/>
                </a:lnTo>
                <a:lnTo>
                  <a:pt x="2942" y="189512"/>
                </a:lnTo>
                <a:cubicBezTo>
                  <a:pt x="1961" y="125521"/>
                  <a:pt x="981" y="64338"/>
                  <a:pt x="0" y="34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2883" y="3748408"/>
            <a:ext cx="8457972" cy="984333"/>
          </a:xfrm>
        </p:spPr>
        <p:txBody>
          <a:bodyPr anchor="b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12883" y="4800476"/>
            <a:ext cx="8457972" cy="640767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12883" y="5580380"/>
            <a:ext cx="3303862" cy="3651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1000">
                <a:solidFill>
                  <a:schemeClr val="tx1"/>
                </a:solidFill>
                <a:latin typeface="+mn-lt"/>
                <a:cs typeface="Arial"/>
              </a:defRPr>
            </a:lvl1pPr>
          </a:lstStyle>
          <a:p>
            <a:endParaRPr lang="en-US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38F46E6-B30F-4BB4-8F82-08AD4C6EA8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74032" y="5851212"/>
            <a:ext cx="1060725" cy="822309"/>
          </a:xfrm>
          <a:prstGeom prst="rect">
            <a:avLst/>
          </a:prstGeom>
        </p:spPr>
      </p:pic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B1B375D4-5229-42D1-ACCC-C091DAB25EB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-11117" y="1927755"/>
            <a:ext cx="3018306" cy="1706562"/>
          </a:xfr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17" name="Picture Placeholder 15">
            <a:extLst>
              <a:ext uri="{FF2B5EF4-FFF2-40B4-BE49-F238E27FC236}">
                <a16:creationId xmlns:a16="http://schemas.microsoft.com/office/drawing/2014/main" id="{9AA1076D-6C42-4BB3-BA4D-45B182AC9A43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050486" y="1927755"/>
            <a:ext cx="3018306" cy="1706562"/>
          </a:xfr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18" name="Picture Placeholder 15">
            <a:extLst>
              <a:ext uri="{FF2B5EF4-FFF2-40B4-BE49-F238E27FC236}">
                <a16:creationId xmlns:a16="http://schemas.microsoft.com/office/drawing/2014/main" id="{94262E97-B7F8-4095-A959-B2C6D66AE08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12090" y="1927755"/>
            <a:ext cx="3018306" cy="1706562"/>
          </a:xfr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19" name="Picture Placeholder 15">
            <a:extLst>
              <a:ext uri="{FF2B5EF4-FFF2-40B4-BE49-F238E27FC236}">
                <a16:creationId xmlns:a16="http://schemas.microsoft.com/office/drawing/2014/main" id="{C14C4D13-49AC-4208-BEFF-0899F4B2E2E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173694" y="1927755"/>
            <a:ext cx="3018306" cy="1706562"/>
          </a:xfr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Insert photo here</a:t>
            </a:r>
          </a:p>
        </p:txBody>
      </p:sp>
    </p:spTree>
    <p:extLst>
      <p:ext uri="{BB962C8B-B14F-4D97-AF65-F5344CB8AC3E}">
        <p14:creationId xmlns:p14="http://schemas.microsoft.com/office/powerpoint/2010/main" val="109337551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2883" y="2817077"/>
            <a:ext cx="8457972" cy="984333"/>
          </a:xfrm>
        </p:spPr>
        <p:txBody>
          <a:bodyPr anchor="b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12883" y="3869145"/>
            <a:ext cx="8457972" cy="640767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A85F325-7987-4A1E-820A-9A64A1B13356}"/>
              </a:ext>
            </a:extLst>
          </p:cNvPr>
          <p:cNvSpPr/>
          <p:nvPr userDrawn="1"/>
        </p:nvSpPr>
        <p:spPr>
          <a:xfrm>
            <a:off x="8485838" y="2209311"/>
            <a:ext cx="3706162" cy="48212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3" name="Rectangle 3">
            <a:extLst>
              <a:ext uri="{FF2B5EF4-FFF2-40B4-BE49-F238E27FC236}">
                <a16:creationId xmlns:a16="http://schemas.microsoft.com/office/drawing/2014/main" id="{352936BF-BEFE-420D-886B-904153FF49AA}"/>
              </a:ext>
            </a:extLst>
          </p:cNvPr>
          <p:cNvSpPr/>
          <p:nvPr userDrawn="1"/>
        </p:nvSpPr>
        <p:spPr>
          <a:xfrm>
            <a:off x="0" y="2209626"/>
            <a:ext cx="9077242" cy="482776"/>
          </a:xfrm>
          <a:custGeom>
            <a:avLst/>
            <a:gdLst>
              <a:gd name="connsiteX0" fmla="*/ 0 w 6709251"/>
              <a:gd name="connsiteY0" fmla="*/ 0 h 182880"/>
              <a:gd name="connsiteX1" fmla="*/ 6709251 w 6709251"/>
              <a:gd name="connsiteY1" fmla="*/ 0 h 182880"/>
              <a:gd name="connsiteX2" fmla="*/ 6709251 w 6709251"/>
              <a:gd name="connsiteY2" fmla="*/ 182880 h 182880"/>
              <a:gd name="connsiteX3" fmla="*/ 0 w 6709251"/>
              <a:gd name="connsiteY3" fmla="*/ 182880 h 182880"/>
              <a:gd name="connsiteX4" fmla="*/ 0 w 6709251"/>
              <a:gd name="connsiteY4" fmla="*/ 0 h 182880"/>
              <a:gd name="connsiteX0" fmla="*/ 0 w 7073510"/>
              <a:gd name="connsiteY0" fmla="*/ 0 h 182880"/>
              <a:gd name="connsiteX1" fmla="*/ 7073510 w 7073510"/>
              <a:gd name="connsiteY1" fmla="*/ 0 h 182880"/>
              <a:gd name="connsiteX2" fmla="*/ 6709251 w 7073510"/>
              <a:gd name="connsiteY2" fmla="*/ 182880 h 182880"/>
              <a:gd name="connsiteX3" fmla="*/ 0 w 7073510"/>
              <a:gd name="connsiteY3" fmla="*/ 182880 h 182880"/>
              <a:gd name="connsiteX4" fmla="*/ 0 w 7073510"/>
              <a:gd name="connsiteY4" fmla="*/ 0 h 182880"/>
              <a:gd name="connsiteX0" fmla="*/ 0 w 8678702"/>
              <a:gd name="connsiteY0" fmla="*/ 0 h 182880"/>
              <a:gd name="connsiteX1" fmla="*/ 8678702 w 8678702"/>
              <a:gd name="connsiteY1" fmla="*/ 0 h 182880"/>
              <a:gd name="connsiteX2" fmla="*/ 8314443 w 8678702"/>
              <a:gd name="connsiteY2" fmla="*/ 182880 h 182880"/>
              <a:gd name="connsiteX3" fmla="*/ 1605192 w 8678702"/>
              <a:gd name="connsiteY3" fmla="*/ 182880 h 182880"/>
              <a:gd name="connsiteX4" fmla="*/ 0 w 8678702"/>
              <a:gd name="connsiteY4" fmla="*/ 0 h 182880"/>
              <a:gd name="connsiteX0" fmla="*/ 0 w 8678702"/>
              <a:gd name="connsiteY0" fmla="*/ 0 h 186220"/>
              <a:gd name="connsiteX1" fmla="*/ 8678702 w 8678702"/>
              <a:gd name="connsiteY1" fmla="*/ 0 h 186220"/>
              <a:gd name="connsiteX2" fmla="*/ 8314443 w 8678702"/>
              <a:gd name="connsiteY2" fmla="*/ 182880 h 186220"/>
              <a:gd name="connsiteX3" fmla="*/ 6661 w 8678702"/>
              <a:gd name="connsiteY3" fmla="*/ 186220 h 186220"/>
              <a:gd name="connsiteX4" fmla="*/ 0 w 8678702"/>
              <a:gd name="connsiteY4" fmla="*/ 0 h 186220"/>
              <a:gd name="connsiteX0" fmla="*/ 133211 w 8672041"/>
              <a:gd name="connsiteY0" fmla="*/ 50097 h 186220"/>
              <a:gd name="connsiteX1" fmla="*/ 8672041 w 8672041"/>
              <a:gd name="connsiteY1" fmla="*/ 0 h 186220"/>
              <a:gd name="connsiteX2" fmla="*/ 8307782 w 8672041"/>
              <a:gd name="connsiteY2" fmla="*/ 182880 h 186220"/>
              <a:gd name="connsiteX3" fmla="*/ 0 w 8672041"/>
              <a:gd name="connsiteY3" fmla="*/ 186220 h 186220"/>
              <a:gd name="connsiteX4" fmla="*/ 133211 w 8672041"/>
              <a:gd name="connsiteY4" fmla="*/ 50097 h 186220"/>
              <a:gd name="connsiteX0" fmla="*/ 3330 w 8672041"/>
              <a:gd name="connsiteY0" fmla="*/ 3340 h 186220"/>
              <a:gd name="connsiteX1" fmla="*/ 8672041 w 8672041"/>
              <a:gd name="connsiteY1" fmla="*/ 0 h 186220"/>
              <a:gd name="connsiteX2" fmla="*/ 8307782 w 8672041"/>
              <a:gd name="connsiteY2" fmla="*/ 182880 h 186220"/>
              <a:gd name="connsiteX3" fmla="*/ 0 w 8672041"/>
              <a:gd name="connsiteY3" fmla="*/ 186220 h 186220"/>
              <a:gd name="connsiteX4" fmla="*/ 3330 w 8672041"/>
              <a:gd name="connsiteY4" fmla="*/ 3340 h 186220"/>
              <a:gd name="connsiteX0" fmla="*/ 3330 w 8672041"/>
              <a:gd name="connsiteY0" fmla="*/ 3340 h 186220"/>
              <a:gd name="connsiteX1" fmla="*/ 8672041 w 8672041"/>
              <a:gd name="connsiteY1" fmla="*/ 0 h 186220"/>
              <a:gd name="connsiteX2" fmla="*/ 8307782 w 8672041"/>
              <a:gd name="connsiteY2" fmla="*/ 182880 h 186220"/>
              <a:gd name="connsiteX3" fmla="*/ 0 w 8672041"/>
              <a:gd name="connsiteY3" fmla="*/ 186220 h 186220"/>
              <a:gd name="connsiteX4" fmla="*/ 3330 w 8672041"/>
              <a:gd name="connsiteY4" fmla="*/ 3340 h 186220"/>
              <a:gd name="connsiteX0" fmla="*/ 0 w 8674979"/>
              <a:gd name="connsiteY0" fmla="*/ 3340 h 186220"/>
              <a:gd name="connsiteX1" fmla="*/ 8674979 w 8674979"/>
              <a:gd name="connsiteY1" fmla="*/ 0 h 186220"/>
              <a:gd name="connsiteX2" fmla="*/ 8310720 w 8674979"/>
              <a:gd name="connsiteY2" fmla="*/ 182880 h 186220"/>
              <a:gd name="connsiteX3" fmla="*/ 2938 w 8674979"/>
              <a:gd name="connsiteY3" fmla="*/ 186220 h 186220"/>
              <a:gd name="connsiteX4" fmla="*/ 0 w 8674979"/>
              <a:gd name="connsiteY4" fmla="*/ 3340 h 186220"/>
              <a:gd name="connsiteX0" fmla="*/ 0 w 8674979"/>
              <a:gd name="connsiteY0" fmla="*/ 0 h 189166"/>
              <a:gd name="connsiteX1" fmla="*/ 8674979 w 8674979"/>
              <a:gd name="connsiteY1" fmla="*/ 2946 h 189166"/>
              <a:gd name="connsiteX2" fmla="*/ 8310720 w 8674979"/>
              <a:gd name="connsiteY2" fmla="*/ 185826 h 189166"/>
              <a:gd name="connsiteX3" fmla="*/ 2938 w 8674979"/>
              <a:gd name="connsiteY3" fmla="*/ 189166 h 189166"/>
              <a:gd name="connsiteX4" fmla="*/ 0 w 8674979"/>
              <a:gd name="connsiteY4" fmla="*/ 0 h 189166"/>
              <a:gd name="connsiteX0" fmla="*/ 0 w 8674979"/>
              <a:gd name="connsiteY0" fmla="*/ 444 h 189610"/>
              <a:gd name="connsiteX1" fmla="*/ 8674979 w 8674979"/>
              <a:gd name="connsiteY1" fmla="*/ 0 h 189610"/>
              <a:gd name="connsiteX2" fmla="*/ 8310720 w 8674979"/>
              <a:gd name="connsiteY2" fmla="*/ 186270 h 189610"/>
              <a:gd name="connsiteX3" fmla="*/ 2938 w 8674979"/>
              <a:gd name="connsiteY3" fmla="*/ 189610 h 189610"/>
              <a:gd name="connsiteX4" fmla="*/ 0 w 8674979"/>
              <a:gd name="connsiteY4" fmla="*/ 444 h 189610"/>
              <a:gd name="connsiteX0" fmla="*/ 0 w 8674979"/>
              <a:gd name="connsiteY0" fmla="*/ 444 h 189660"/>
              <a:gd name="connsiteX1" fmla="*/ 8674979 w 8674979"/>
              <a:gd name="connsiteY1" fmla="*/ 0 h 189660"/>
              <a:gd name="connsiteX2" fmla="*/ 8310720 w 8674979"/>
              <a:gd name="connsiteY2" fmla="*/ 189660 h 189660"/>
              <a:gd name="connsiteX3" fmla="*/ 2938 w 8674979"/>
              <a:gd name="connsiteY3" fmla="*/ 189610 h 189660"/>
              <a:gd name="connsiteX4" fmla="*/ 0 w 8674979"/>
              <a:gd name="connsiteY4" fmla="*/ 444 h 189660"/>
              <a:gd name="connsiteX0" fmla="*/ 0 w 10119577"/>
              <a:gd name="connsiteY0" fmla="*/ 0 h 189216"/>
              <a:gd name="connsiteX1" fmla="*/ 10119577 w 10119577"/>
              <a:gd name="connsiteY1" fmla="*/ 686 h 189216"/>
              <a:gd name="connsiteX2" fmla="*/ 8310720 w 10119577"/>
              <a:gd name="connsiteY2" fmla="*/ 189216 h 189216"/>
              <a:gd name="connsiteX3" fmla="*/ 2938 w 10119577"/>
              <a:gd name="connsiteY3" fmla="*/ 189166 h 189216"/>
              <a:gd name="connsiteX4" fmla="*/ 0 w 10119577"/>
              <a:gd name="connsiteY4" fmla="*/ 0 h 189216"/>
              <a:gd name="connsiteX0" fmla="*/ 0 w 10119577"/>
              <a:gd name="connsiteY0" fmla="*/ 173 h 189389"/>
              <a:gd name="connsiteX1" fmla="*/ 10119577 w 10119577"/>
              <a:gd name="connsiteY1" fmla="*/ 0 h 189389"/>
              <a:gd name="connsiteX2" fmla="*/ 8310720 w 10119577"/>
              <a:gd name="connsiteY2" fmla="*/ 189389 h 189389"/>
              <a:gd name="connsiteX3" fmla="*/ 2938 w 10119577"/>
              <a:gd name="connsiteY3" fmla="*/ 189339 h 189389"/>
              <a:gd name="connsiteX4" fmla="*/ 0 w 10119577"/>
              <a:gd name="connsiteY4" fmla="*/ 173 h 189389"/>
              <a:gd name="connsiteX0" fmla="*/ 10004 w 10129581"/>
              <a:gd name="connsiteY0" fmla="*/ 173 h 189389"/>
              <a:gd name="connsiteX1" fmla="*/ 10129581 w 10129581"/>
              <a:gd name="connsiteY1" fmla="*/ 0 h 189389"/>
              <a:gd name="connsiteX2" fmla="*/ 8320724 w 10129581"/>
              <a:gd name="connsiteY2" fmla="*/ 189389 h 189389"/>
              <a:gd name="connsiteX3" fmla="*/ 57 w 10129581"/>
              <a:gd name="connsiteY3" fmla="*/ 189339 h 189389"/>
              <a:gd name="connsiteX4" fmla="*/ 10004 w 10129581"/>
              <a:gd name="connsiteY4" fmla="*/ 173 h 189389"/>
              <a:gd name="connsiteX0" fmla="*/ 9947 w 10129524"/>
              <a:gd name="connsiteY0" fmla="*/ 173 h 189389"/>
              <a:gd name="connsiteX1" fmla="*/ 10129524 w 10129524"/>
              <a:gd name="connsiteY1" fmla="*/ 0 h 189389"/>
              <a:gd name="connsiteX2" fmla="*/ 8320667 w 10129524"/>
              <a:gd name="connsiteY2" fmla="*/ 189389 h 189389"/>
              <a:gd name="connsiteX3" fmla="*/ 0 w 10129524"/>
              <a:gd name="connsiteY3" fmla="*/ 189339 h 189389"/>
              <a:gd name="connsiteX4" fmla="*/ 9947 w 10129524"/>
              <a:gd name="connsiteY4" fmla="*/ 173 h 189389"/>
              <a:gd name="connsiteX0" fmla="*/ 9947 w 10129524"/>
              <a:gd name="connsiteY0" fmla="*/ 173 h 189389"/>
              <a:gd name="connsiteX1" fmla="*/ 10129524 w 10129524"/>
              <a:gd name="connsiteY1" fmla="*/ 0 h 189389"/>
              <a:gd name="connsiteX2" fmla="*/ 8320667 w 10129524"/>
              <a:gd name="connsiteY2" fmla="*/ 189389 h 189389"/>
              <a:gd name="connsiteX3" fmla="*/ 0 w 10129524"/>
              <a:gd name="connsiteY3" fmla="*/ 189339 h 189389"/>
              <a:gd name="connsiteX4" fmla="*/ 9947 w 10129524"/>
              <a:gd name="connsiteY4" fmla="*/ 173 h 189389"/>
              <a:gd name="connsiteX0" fmla="*/ 0 w 10119577"/>
              <a:gd name="connsiteY0" fmla="*/ 173 h 189389"/>
              <a:gd name="connsiteX1" fmla="*/ 10119577 w 10119577"/>
              <a:gd name="connsiteY1" fmla="*/ 0 h 189389"/>
              <a:gd name="connsiteX2" fmla="*/ 8310720 w 10119577"/>
              <a:gd name="connsiteY2" fmla="*/ 189389 h 189389"/>
              <a:gd name="connsiteX3" fmla="*/ 15823 w 10119577"/>
              <a:gd name="connsiteY3" fmla="*/ 189339 h 189389"/>
              <a:gd name="connsiteX4" fmla="*/ 0 w 10119577"/>
              <a:gd name="connsiteY4" fmla="*/ 173 h 189389"/>
              <a:gd name="connsiteX0" fmla="*/ 0 w 10119577"/>
              <a:gd name="connsiteY0" fmla="*/ 173 h 189389"/>
              <a:gd name="connsiteX1" fmla="*/ 10119577 w 10119577"/>
              <a:gd name="connsiteY1" fmla="*/ 0 h 189389"/>
              <a:gd name="connsiteX2" fmla="*/ 8310720 w 10119577"/>
              <a:gd name="connsiteY2" fmla="*/ 189389 h 189389"/>
              <a:gd name="connsiteX3" fmla="*/ 2938 w 10119577"/>
              <a:gd name="connsiteY3" fmla="*/ 189339 h 189389"/>
              <a:gd name="connsiteX4" fmla="*/ 0 w 10119577"/>
              <a:gd name="connsiteY4" fmla="*/ 173 h 189389"/>
              <a:gd name="connsiteX0" fmla="*/ 0 w 21540281"/>
              <a:gd name="connsiteY0" fmla="*/ 9120 h 189389"/>
              <a:gd name="connsiteX1" fmla="*/ 21540281 w 21540281"/>
              <a:gd name="connsiteY1" fmla="*/ 0 h 189389"/>
              <a:gd name="connsiteX2" fmla="*/ 19731424 w 21540281"/>
              <a:gd name="connsiteY2" fmla="*/ 189389 h 189389"/>
              <a:gd name="connsiteX3" fmla="*/ 11423642 w 21540281"/>
              <a:gd name="connsiteY3" fmla="*/ 189339 h 189389"/>
              <a:gd name="connsiteX4" fmla="*/ 0 w 21540281"/>
              <a:gd name="connsiteY4" fmla="*/ 9120 h 189389"/>
              <a:gd name="connsiteX0" fmla="*/ 0 w 21540281"/>
              <a:gd name="connsiteY0" fmla="*/ 9120 h 192321"/>
              <a:gd name="connsiteX1" fmla="*/ 21540281 w 21540281"/>
              <a:gd name="connsiteY1" fmla="*/ 0 h 192321"/>
              <a:gd name="connsiteX2" fmla="*/ 19731424 w 21540281"/>
              <a:gd name="connsiteY2" fmla="*/ 189389 h 192321"/>
              <a:gd name="connsiteX3" fmla="*/ 2942 w 21540281"/>
              <a:gd name="connsiteY3" fmla="*/ 192321 h 192321"/>
              <a:gd name="connsiteX4" fmla="*/ 0 w 21540281"/>
              <a:gd name="connsiteY4" fmla="*/ 9120 h 192321"/>
              <a:gd name="connsiteX0" fmla="*/ 0 w 21540281"/>
              <a:gd name="connsiteY0" fmla="*/ 6138 h 192321"/>
              <a:gd name="connsiteX1" fmla="*/ 21540281 w 21540281"/>
              <a:gd name="connsiteY1" fmla="*/ 0 h 192321"/>
              <a:gd name="connsiteX2" fmla="*/ 19731424 w 21540281"/>
              <a:gd name="connsiteY2" fmla="*/ 189389 h 192321"/>
              <a:gd name="connsiteX3" fmla="*/ 2942 w 21540281"/>
              <a:gd name="connsiteY3" fmla="*/ 192321 h 192321"/>
              <a:gd name="connsiteX4" fmla="*/ 0 w 21540281"/>
              <a:gd name="connsiteY4" fmla="*/ 6138 h 192321"/>
              <a:gd name="connsiteX0" fmla="*/ 2579162 w 24119443"/>
              <a:gd name="connsiteY0" fmla="*/ 6138 h 192321"/>
              <a:gd name="connsiteX1" fmla="*/ 24119443 w 24119443"/>
              <a:gd name="connsiteY1" fmla="*/ 0 h 192321"/>
              <a:gd name="connsiteX2" fmla="*/ 22310586 w 24119443"/>
              <a:gd name="connsiteY2" fmla="*/ 189389 h 192321"/>
              <a:gd name="connsiteX3" fmla="*/ 2582104 w 24119443"/>
              <a:gd name="connsiteY3" fmla="*/ 192321 h 192321"/>
              <a:gd name="connsiteX4" fmla="*/ 2579162 w 24119443"/>
              <a:gd name="connsiteY4" fmla="*/ 6138 h 192321"/>
              <a:gd name="connsiteX0" fmla="*/ 1459081 w 22999362"/>
              <a:gd name="connsiteY0" fmla="*/ 6138 h 192321"/>
              <a:gd name="connsiteX1" fmla="*/ 22999362 w 22999362"/>
              <a:gd name="connsiteY1" fmla="*/ 0 h 192321"/>
              <a:gd name="connsiteX2" fmla="*/ 21190505 w 22999362"/>
              <a:gd name="connsiteY2" fmla="*/ 189389 h 192321"/>
              <a:gd name="connsiteX3" fmla="*/ 1462023 w 22999362"/>
              <a:gd name="connsiteY3" fmla="*/ 192321 h 192321"/>
              <a:gd name="connsiteX4" fmla="*/ 1459081 w 22999362"/>
              <a:gd name="connsiteY4" fmla="*/ 6138 h 192321"/>
              <a:gd name="connsiteX0" fmla="*/ 2579108 w 24119389"/>
              <a:gd name="connsiteY0" fmla="*/ 6138 h 192321"/>
              <a:gd name="connsiteX1" fmla="*/ 24119389 w 24119389"/>
              <a:gd name="connsiteY1" fmla="*/ 0 h 192321"/>
              <a:gd name="connsiteX2" fmla="*/ 22310532 w 24119389"/>
              <a:gd name="connsiteY2" fmla="*/ 189389 h 192321"/>
              <a:gd name="connsiteX3" fmla="*/ 2582050 w 24119389"/>
              <a:gd name="connsiteY3" fmla="*/ 192321 h 192321"/>
              <a:gd name="connsiteX4" fmla="*/ 2579108 w 24119389"/>
              <a:gd name="connsiteY4" fmla="*/ 6138 h 192321"/>
              <a:gd name="connsiteX0" fmla="*/ 1594923 w 23135204"/>
              <a:gd name="connsiteY0" fmla="*/ 6138 h 192321"/>
              <a:gd name="connsiteX1" fmla="*/ 23135204 w 23135204"/>
              <a:gd name="connsiteY1" fmla="*/ 0 h 192321"/>
              <a:gd name="connsiteX2" fmla="*/ 21326347 w 23135204"/>
              <a:gd name="connsiteY2" fmla="*/ 189389 h 192321"/>
              <a:gd name="connsiteX3" fmla="*/ 1597865 w 23135204"/>
              <a:gd name="connsiteY3" fmla="*/ 192321 h 192321"/>
              <a:gd name="connsiteX4" fmla="*/ 1594923 w 23135204"/>
              <a:gd name="connsiteY4" fmla="*/ 6138 h 192321"/>
              <a:gd name="connsiteX0" fmla="*/ 1 w 21540282"/>
              <a:gd name="connsiteY0" fmla="*/ 6138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3 w 21540282"/>
              <a:gd name="connsiteY3" fmla="*/ 192321 h 192321"/>
              <a:gd name="connsiteX4" fmla="*/ 1 w 21540282"/>
              <a:gd name="connsiteY4" fmla="*/ 6138 h 192321"/>
              <a:gd name="connsiteX0" fmla="*/ 0 w 21540282"/>
              <a:gd name="connsiteY0" fmla="*/ 3156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3 w 21540282"/>
              <a:gd name="connsiteY3" fmla="*/ 192321 h 192321"/>
              <a:gd name="connsiteX4" fmla="*/ 0 w 21540282"/>
              <a:gd name="connsiteY4" fmla="*/ 3156 h 192321"/>
              <a:gd name="connsiteX0" fmla="*/ 0 w 21540282"/>
              <a:gd name="connsiteY0" fmla="*/ 347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3 w 21540282"/>
              <a:gd name="connsiteY3" fmla="*/ 192321 h 192321"/>
              <a:gd name="connsiteX4" fmla="*/ 0 w 21540282"/>
              <a:gd name="connsiteY4" fmla="*/ 347 h 192321"/>
              <a:gd name="connsiteX0" fmla="*/ 0 w 21540282"/>
              <a:gd name="connsiteY0" fmla="*/ 347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2 w 21540282"/>
              <a:gd name="connsiteY3" fmla="*/ 192321 h 192321"/>
              <a:gd name="connsiteX4" fmla="*/ 0 w 21540282"/>
              <a:gd name="connsiteY4" fmla="*/ 347 h 192321"/>
              <a:gd name="connsiteX0" fmla="*/ 0 w 21540282"/>
              <a:gd name="connsiteY0" fmla="*/ 347 h 189512"/>
              <a:gd name="connsiteX1" fmla="*/ 21540282 w 21540282"/>
              <a:gd name="connsiteY1" fmla="*/ 0 h 189512"/>
              <a:gd name="connsiteX2" fmla="*/ 19731425 w 21540282"/>
              <a:gd name="connsiteY2" fmla="*/ 189389 h 189512"/>
              <a:gd name="connsiteX3" fmla="*/ 2942 w 21540282"/>
              <a:gd name="connsiteY3" fmla="*/ 189512 h 189512"/>
              <a:gd name="connsiteX4" fmla="*/ 0 w 21540282"/>
              <a:gd name="connsiteY4" fmla="*/ 347 h 189512"/>
              <a:gd name="connsiteX0" fmla="*/ 0 w 20903501"/>
              <a:gd name="connsiteY0" fmla="*/ 347 h 189512"/>
              <a:gd name="connsiteX1" fmla="*/ 20903501 w 20903501"/>
              <a:gd name="connsiteY1" fmla="*/ 0 h 189512"/>
              <a:gd name="connsiteX2" fmla="*/ 19731425 w 20903501"/>
              <a:gd name="connsiteY2" fmla="*/ 189389 h 189512"/>
              <a:gd name="connsiteX3" fmla="*/ 2942 w 20903501"/>
              <a:gd name="connsiteY3" fmla="*/ 189512 h 189512"/>
              <a:gd name="connsiteX4" fmla="*/ 0 w 20903501"/>
              <a:gd name="connsiteY4" fmla="*/ 347 h 189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903501" h="189512">
                <a:moveTo>
                  <a:pt x="0" y="347"/>
                </a:moveTo>
                <a:lnTo>
                  <a:pt x="20903501" y="0"/>
                </a:lnTo>
                <a:lnTo>
                  <a:pt x="19731425" y="189389"/>
                </a:lnTo>
                <a:lnTo>
                  <a:pt x="2942" y="189512"/>
                </a:lnTo>
                <a:cubicBezTo>
                  <a:pt x="1961" y="125521"/>
                  <a:pt x="981" y="64338"/>
                  <a:pt x="0" y="34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355EA5B-0213-49CD-B934-926AAD46209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74032" y="5851212"/>
            <a:ext cx="1060725" cy="822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065853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D9C4343-C115-504A-8D4F-0B17318D4A4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12883" y="1274826"/>
            <a:ext cx="11670783" cy="47132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itle 3"/>
          <p:cNvSpPr>
            <a:spLocks noGrp="1"/>
          </p:cNvSpPr>
          <p:nvPr>
            <p:ph type="title"/>
          </p:nvPr>
        </p:nvSpPr>
        <p:spPr>
          <a:xfrm>
            <a:off x="312883" y="323848"/>
            <a:ext cx="11670783" cy="8595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06098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ft Column_Right Two Quadra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2883" y="323850"/>
            <a:ext cx="11670783" cy="859536"/>
          </a:xfrm>
        </p:spPr>
        <p:txBody>
          <a:bodyPr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9C4343-C115-504A-8D4F-0B17318D4A48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>
          <a:xfrm>
            <a:off x="312882" y="1272033"/>
            <a:ext cx="5698196" cy="471602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6285470" y="1272029"/>
            <a:ext cx="5698196" cy="225222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>
          <a:xfrm>
            <a:off x="6285470" y="3740212"/>
            <a:ext cx="5698196" cy="225222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407924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2883" y="323850"/>
            <a:ext cx="11670783" cy="8595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9C4343-C115-504A-8D4F-0B17318D4A48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3"/>
          </p:nvPr>
        </p:nvSpPr>
        <p:spPr>
          <a:xfrm>
            <a:off x="312882" y="1274826"/>
            <a:ext cx="5701471" cy="4713224"/>
          </a:xfrm>
        </p:spPr>
        <p:txBody>
          <a:bodyPr/>
          <a:lstStyle>
            <a:lvl8pPr>
              <a:defRPr baseline="0"/>
            </a:lvl8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4"/>
          </p:nvPr>
        </p:nvSpPr>
        <p:spPr>
          <a:xfrm>
            <a:off x="6280925" y="1274826"/>
            <a:ext cx="5701471" cy="4713224"/>
          </a:xfrm>
        </p:spPr>
        <p:txBody>
          <a:bodyPr/>
          <a:lstStyle>
            <a:lvl8pPr>
              <a:defRPr baseline="0"/>
            </a:lvl8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351284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12882" y="1274826"/>
            <a:ext cx="5698196" cy="800100"/>
          </a:xfrm>
        </p:spPr>
        <p:txBody>
          <a:bodyPr anchor="t" anchorCtr="0">
            <a:normAutofit/>
          </a:bodyPr>
          <a:lstStyle>
            <a:lvl1pPr marL="0" indent="0">
              <a:buNone/>
              <a:defRPr sz="22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/>
          </a:bodyPr>
          <a:lstStyle/>
          <a:p>
            <a:fld id="{FD9C4343-C115-504A-8D4F-0B17318D4A48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312883" y="323850"/>
            <a:ext cx="11670783" cy="859536"/>
          </a:xfrm>
        </p:spPr>
        <p:txBody>
          <a:bodyPr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3"/>
          </p:nvPr>
        </p:nvSpPr>
        <p:spPr>
          <a:xfrm>
            <a:off x="312882" y="2217798"/>
            <a:ext cx="5698196" cy="3770252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idx="14"/>
          </p:nvPr>
        </p:nvSpPr>
        <p:spPr>
          <a:xfrm>
            <a:off x="6285470" y="1274826"/>
            <a:ext cx="5698196" cy="800100"/>
          </a:xfrm>
        </p:spPr>
        <p:txBody>
          <a:bodyPr anchor="t" anchorCtr="0">
            <a:normAutofit/>
          </a:bodyPr>
          <a:lstStyle>
            <a:lvl1pPr marL="0" indent="0">
              <a:buNone/>
              <a:defRPr sz="22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5"/>
          </p:nvPr>
        </p:nvSpPr>
        <p:spPr>
          <a:xfrm>
            <a:off x="6285470" y="2217798"/>
            <a:ext cx="5698196" cy="3770252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648661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Column_Right Two Quadra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2883" y="323850"/>
            <a:ext cx="11670783" cy="859536"/>
          </a:xfrm>
        </p:spPr>
        <p:txBody>
          <a:bodyPr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9C4343-C115-504A-8D4F-0B17318D4A48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>
          <a:xfrm>
            <a:off x="312882" y="1272033"/>
            <a:ext cx="5698196" cy="471602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6285470" y="1272029"/>
            <a:ext cx="5698196" cy="225222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>
          <a:xfrm>
            <a:off x="6285470" y="3740212"/>
            <a:ext cx="5698196" cy="225222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4402563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Column_Left Two Quadra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2883" y="323851"/>
            <a:ext cx="11670783" cy="859536"/>
          </a:xfrm>
        </p:spPr>
        <p:txBody>
          <a:bodyPr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/>
          </a:bodyPr>
          <a:lstStyle/>
          <a:p>
            <a:fld id="{FD9C4343-C115-504A-8D4F-0B17318D4A48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6285470" y="1272033"/>
            <a:ext cx="5698196" cy="4716021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5"/>
          </p:nvPr>
        </p:nvSpPr>
        <p:spPr>
          <a:xfrm>
            <a:off x="312882" y="1272033"/>
            <a:ext cx="5697434" cy="2252222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idx="16"/>
          </p:nvPr>
        </p:nvSpPr>
        <p:spPr>
          <a:xfrm>
            <a:off x="312882" y="3740212"/>
            <a:ext cx="5698196" cy="2252222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605409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ra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2883" y="323851"/>
            <a:ext cx="11670783" cy="859536"/>
          </a:xfrm>
        </p:spPr>
        <p:txBody>
          <a:bodyPr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/>
          </a:bodyPr>
          <a:lstStyle/>
          <a:p>
            <a:fld id="{FD9C4343-C115-504A-8D4F-0B17318D4A48}" type="slidenum">
              <a:rPr lang="en-US" smtClean="0"/>
              <a:t>‹#›</a:t>
            </a:fld>
            <a:endParaRPr lang="en-US"/>
          </a:p>
        </p:txBody>
      </p:sp>
      <p:sp>
        <p:nvSpPr>
          <p:cNvPr id="16" name="Content Placeholder 2"/>
          <p:cNvSpPr>
            <a:spLocks noGrp="1"/>
          </p:cNvSpPr>
          <p:nvPr>
            <p:ph idx="15"/>
          </p:nvPr>
        </p:nvSpPr>
        <p:spPr>
          <a:xfrm>
            <a:off x="312882" y="1272029"/>
            <a:ext cx="5698196" cy="2252222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Content Placeholder 2"/>
          <p:cNvSpPr>
            <a:spLocks noGrp="1"/>
          </p:cNvSpPr>
          <p:nvPr>
            <p:ph idx="16"/>
          </p:nvPr>
        </p:nvSpPr>
        <p:spPr>
          <a:xfrm>
            <a:off x="312882" y="3740212"/>
            <a:ext cx="5698196" cy="2252222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2"/>
          <p:cNvSpPr>
            <a:spLocks noGrp="1"/>
          </p:cNvSpPr>
          <p:nvPr>
            <p:ph idx="17"/>
          </p:nvPr>
        </p:nvSpPr>
        <p:spPr>
          <a:xfrm>
            <a:off x="6285470" y="1272029"/>
            <a:ext cx="5698196" cy="2252222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idx="18"/>
          </p:nvPr>
        </p:nvSpPr>
        <p:spPr>
          <a:xfrm>
            <a:off x="6285470" y="3740212"/>
            <a:ext cx="5698196" cy="2252222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057597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9C4343-C115-504A-8D4F-0B17318D4A48}" type="slidenum">
              <a:rPr lang="en-US" smtClean="0"/>
              <a:t>‹#›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12883" y="323849"/>
            <a:ext cx="11670783" cy="8595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530931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9C4343-C115-504A-8D4F-0B17318D4A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12751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2883" y="323850"/>
            <a:ext cx="4011084" cy="1162050"/>
          </a:xfrm>
        </p:spPr>
        <p:txBody>
          <a:bodyPr anchor="t" anchorCtr="0">
            <a:normAutofit/>
          </a:bodyPr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12883" y="1530351"/>
            <a:ext cx="4011084" cy="4467226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/>
          </a:bodyPr>
          <a:lstStyle/>
          <a:p>
            <a:fld id="{FD9C4343-C115-504A-8D4F-0B17318D4A48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>
          <a:xfrm>
            <a:off x="4497716" y="323850"/>
            <a:ext cx="7484679" cy="5673726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7408385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12883" y="5274398"/>
            <a:ext cx="11670783" cy="72318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9C4343-C115-504A-8D4F-0B17318D4A48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312882" y="1274832"/>
            <a:ext cx="11670783" cy="390024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3"/>
          <p:cNvSpPr>
            <a:spLocks noGrp="1"/>
          </p:cNvSpPr>
          <p:nvPr>
            <p:ph type="title"/>
          </p:nvPr>
        </p:nvSpPr>
        <p:spPr>
          <a:xfrm>
            <a:off x="312882" y="323848"/>
            <a:ext cx="11670783" cy="8595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022257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9B4B4D2-7974-42CF-895B-E7C95ABDC1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9B4B4D2-7974-42CF-895B-E7C95ABDC1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5291B11-C163-4CA2-8CD2-CE4591217E4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599" b="0" i="0" baseline="0"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50245A9-1299-49B4-9661-97DC6C0833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667" y="122164"/>
            <a:ext cx="9385351" cy="468000"/>
          </a:xfrm>
        </p:spPr>
        <p:txBody>
          <a:bodyPr anchor="b">
            <a:noAutofit/>
          </a:bodyPr>
          <a:lstStyle>
            <a:lvl1pPr>
              <a:defRPr sz="2599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Title / Segoe UI / 26pt</a:t>
            </a:r>
            <a:endParaRPr lang="es-MX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D2557D7-49E0-456D-85FF-B1EDA2E1870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64399" y="717627"/>
            <a:ext cx="11516810" cy="703023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999" b="1">
                <a:solidFill>
                  <a:srgbClr val="2C6EFF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457063" indent="0">
              <a:buNone/>
              <a:defRPr sz="1999">
                <a:solidFill>
                  <a:schemeClr val="tx1">
                    <a:tint val="75000"/>
                  </a:schemeClr>
                </a:solidFill>
              </a:defRPr>
            </a:lvl2pPr>
            <a:lvl3pPr marL="914126" indent="0">
              <a:buNone/>
              <a:defRPr sz="1799">
                <a:solidFill>
                  <a:schemeClr val="tx1">
                    <a:tint val="75000"/>
                  </a:schemeClr>
                </a:solidFill>
              </a:defRPr>
            </a:lvl3pPr>
            <a:lvl4pPr marL="137118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25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3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3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4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50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Subtitle / Segoe UI / 20pt / Max 2 lines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8B808D6-DC4A-432D-AF64-9E614DE23B1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36244" y="191502"/>
            <a:ext cx="1687590" cy="393542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B297023-DCC5-4D96-A209-5E27292A3E07}"/>
              </a:ext>
            </a:extLst>
          </p:cNvPr>
          <p:cNvCxnSpPr>
            <a:cxnSpLocks/>
          </p:cNvCxnSpPr>
          <p:nvPr userDrawn="1"/>
        </p:nvCxnSpPr>
        <p:spPr>
          <a:xfrm>
            <a:off x="364399" y="602621"/>
            <a:ext cx="3918234" cy="0"/>
          </a:xfrm>
          <a:prstGeom prst="line">
            <a:avLst/>
          </a:prstGeom>
          <a:ln w="12700">
            <a:solidFill>
              <a:srgbClr val="2C6E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A91003BE-B0D6-4A3B-94DB-5912534CB5DE}"/>
              </a:ext>
            </a:extLst>
          </p:cNvPr>
          <p:cNvSpPr/>
          <p:nvPr userDrawn="1"/>
        </p:nvSpPr>
        <p:spPr>
          <a:xfrm>
            <a:off x="9645574" y="6485127"/>
            <a:ext cx="2286203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n-US" sz="1000" b="0" i="0">
                <a:solidFill>
                  <a:schemeClr val="bg1">
                    <a:lumMod val="50000"/>
                  </a:schemeClr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© 2019. Metalsa. All Rights Reserved.</a:t>
            </a:r>
            <a:endParaRPr lang="es-MX" sz="1000">
              <a:solidFill>
                <a:schemeClr val="bg1">
                  <a:lumMod val="50000"/>
                </a:scheme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CA3EE090-A529-45FE-9134-FD6054317C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1490" y="6120002"/>
            <a:ext cx="47234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59069A6-7598-4ADD-AE3D-A8CDEF4AFD51}" type="slidenum">
              <a:rPr lang="es-MX" smtClean="0"/>
              <a:t>‹#›</a:t>
            </a:fld>
            <a:endParaRPr lang="es-MX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98C94A0A-21E0-4FF4-A509-C4DEB72C7C42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8861854" y="6120002"/>
            <a:ext cx="2489637" cy="365125"/>
          </a:xfrm>
        </p:spPr>
        <p:txBody>
          <a:bodyPr anchor="ctr">
            <a:noAutofit/>
          </a:bodyPr>
          <a:lstStyle>
            <a:lvl1pPr marL="0" indent="0" algn="r">
              <a:spcBef>
                <a:spcPts val="0"/>
              </a:spcBef>
              <a:buNone/>
              <a:defRPr sz="1000" b="0">
                <a:solidFill>
                  <a:schemeClr val="bg1">
                    <a:lumMod val="7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457063" indent="0">
              <a:buNone/>
              <a:defRPr sz="1999">
                <a:solidFill>
                  <a:schemeClr val="tx1">
                    <a:tint val="75000"/>
                  </a:schemeClr>
                </a:solidFill>
              </a:defRPr>
            </a:lvl2pPr>
            <a:lvl3pPr marL="914126" indent="0">
              <a:buNone/>
              <a:defRPr sz="1799">
                <a:solidFill>
                  <a:schemeClr val="tx1">
                    <a:tint val="75000"/>
                  </a:schemeClr>
                </a:solidFill>
              </a:defRPr>
            </a:lvl3pPr>
            <a:lvl4pPr marL="137118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25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3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3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4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50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err="1"/>
              <a:t>departament</a:t>
            </a:r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1797623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ight Column_Left Two Quadra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2883" y="323851"/>
            <a:ext cx="11670783" cy="859536"/>
          </a:xfrm>
        </p:spPr>
        <p:txBody>
          <a:bodyPr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/>
          </a:bodyPr>
          <a:lstStyle/>
          <a:p>
            <a:fld id="{FD9C4343-C115-504A-8D4F-0B17318D4A48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6285470" y="1272033"/>
            <a:ext cx="5698196" cy="4716021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5"/>
          </p:nvPr>
        </p:nvSpPr>
        <p:spPr>
          <a:xfrm>
            <a:off x="312882" y="1272033"/>
            <a:ext cx="5697434" cy="2252222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idx="16"/>
          </p:nvPr>
        </p:nvSpPr>
        <p:spPr>
          <a:xfrm>
            <a:off x="312882" y="3740212"/>
            <a:ext cx="5698196" cy="2252222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5014096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601" y="500025"/>
            <a:ext cx="4823012" cy="1325563"/>
          </a:xfrm>
        </p:spPr>
        <p:txBody>
          <a:bodyPr>
            <a:normAutofit/>
          </a:bodyPr>
          <a:lstStyle>
            <a:lvl1pPr>
              <a:defRPr sz="3999">
                <a:latin typeface="Gotham Light" pitchFamily="50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4600" y="2220688"/>
            <a:ext cx="11128802" cy="4080665"/>
          </a:xfrm>
        </p:spPr>
        <p:txBody>
          <a:bodyPr>
            <a:normAutofit/>
          </a:bodyPr>
          <a:lstStyle>
            <a:lvl1pPr>
              <a:defRPr sz="140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>
              <a:defRPr sz="1400">
                <a:latin typeface="Segoe UI Semilight" panose="020B0402040204020203" pitchFamily="34" charset="0"/>
                <a:cs typeface="Segoe UI Semilight" panose="020B0402040204020203" pitchFamily="34" charset="0"/>
              </a:defRPr>
            </a:lvl2pPr>
            <a:lvl3pPr>
              <a:defRPr sz="1400">
                <a:latin typeface="Segoe UI Semilight" panose="020B0402040204020203" pitchFamily="34" charset="0"/>
                <a:cs typeface="Segoe UI Semilight" panose="020B0402040204020203" pitchFamily="34" charset="0"/>
              </a:defRPr>
            </a:lvl3pPr>
            <a:lvl4pPr>
              <a:defRPr sz="1400">
                <a:latin typeface="Segoe UI Semilight" panose="020B0402040204020203" pitchFamily="34" charset="0"/>
                <a:cs typeface="Segoe UI Semilight" panose="020B0402040204020203" pitchFamily="34" charset="0"/>
              </a:defRPr>
            </a:lvl4pPr>
            <a:lvl5pPr>
              <a:defRPr sz="1400">
                <a:latin typeface="Segoe UI Semilight" panose="020B0402040204020203" pitchFamily="34" charset="0"/>
                <a:cs typeface="Segoe UI Semilight" panose="020B0402040204020203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39344215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2885" y="2817081"/>
            <a:ext cx="8457972" cy="984333"/>
          </a:xfrm>
        </p:spPr>
        <p:txBody>
          <a:bodyPr anchor="b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12885" y="3869148"/>
            <a:ext cx="8457972" cy="640767"/>
          </a:xfrm>
        </p:spPr>
        <p:txBody>
          <a:bodyPr>
            <a:normAutofit/>
          </a:bodyPr>
          <a:lstStyle>
            <a:lvl1pPr marL="0" indent="0" algn="l">
              <a:buNone/>
              <a:defRPr sz="1998">
                <a:solidFill>
                  <a:schemeClr val="tx1"/>
                </a:solidFill>
              </a:defRPr>
            </a:lvl1pPr>
            <a:lvl2pPr marL="456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8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7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7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6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5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A85F325-7987-4A1E-820A-9A64A1B13356}"/>
              </a:ext>
            </a:extLst>
          </p:cNvPr>
          <p:cNvSpPr/>
          <p:nvPr userDrawn="1"/>
        </p:nvSpPr>
        <p:spPr>
          <a:xfrm>
            <a:off x="8485838" y="2209315"/>
            <a:ext cx="3706162" cy="48212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8"/>
          </a:p>
        </p:txBody>
      </p:sp>
      <p:sp>
        <p:nvSpPr>
          <p:cNvPr id="13" name="Rectangle 3">
            <a:extLst>
              <a:ext uri="{FF2B5EF4-FFF2-40B4-BE49-F238E27FC236}">
                <a16:creationId xmlns:a16="http://schemas.microsoft.com/office/drawing/2014/main" id="{352936BF-BEFE-420D-886B-904153FF49AA}"/>
              </a:ext>
            </a:extLst>
          </p:cNvPr>
          <p:cNvSpPr/>
          <p:nvPr userDrawn="1"/>
        </p:nvSpPr>
        <p:spPr>
          <a:xfrm>
            <a:off x="0" y="2209626"/>
            <a:ext cx="9077242" cy="482776"/>
          </a:xfrm>
          <a:custGeom>
            <a:avLst/>
            <a:gdLst>
              <a:gd name="connsiteX0" fmla="*/ 0 w 6709251"/>
              <a:gd name="connsiteY0" fmla="*/ 0 h 182880"/>
              <a:gd name="connsiteX1" fmla="*/ 6709251 w 6709251"/>
              <a:gd name="connsiteY1" fmla="*/ 0 h 182880"/>
              <a:gd name="connsiteX2" fmla="*/ 6709251 w 6709251"/>
              <a:gd name="connsiteY2" fmla="*/ 182880 h 182880"/>
              <a:gd name="connsiteX3" fmla="*/ 0 w 6709251"/>
              <a:gd name="connsiteY3" fmla="*/ 182880 h 182880"/>
              <a:gd name="connsiteX4" fmla="*/ 0 w 6709251"/>
              <a:gd name="connsiteY4" fmla="*/ 0 h 182880"/>
              <a:gd name="connsiteX0" fmla="*/ 0 w 7073510"/>
              <a:gd name="connsiteY0" fmla="*/ 0 h 182880"/>
              <a:gd name="connsiteX1" fmla="*/ 7073510 w 7073510"/>
              <a:gd name="connsiteY1" fmla="*/ 0 h 182880"/>
              <a:gd name="connsiteX2" fmla="*/ 6709251 w 7073510"/>
              <a:gd name="connsiteY2" fmla="*/ 182880 h 182880"/>
              <a:gd name="connsiteX3" fmla="*/ 0 w 7073510"/>
              <a:gd name="connsiteY3" fmla="*/ 182880 h 182880"/>
              <a:gd name="connsiteX4" fmla="*/ 0 w 7073510"/>
              <a:gd name="connsiteY4" fmla="*/ 0 h 182880"/>
              <a:gd name="connsiteX0" fmla="*/ 0 w 8678702"/>
              <a:gd name="connsiteY0" fmla="*/ 0 h 182880"/>
              <a:gd name="connsiteX1" fmla="*/ 8678702 w 8678702"/>
              <a:gd name="connsiteY1" fmla="*/ 0 h 182880"/>
              <a:gd name="connsiteX2" fmla="*/ 8314443 w 8678702"/>
              <a:gd name="connsiteY2" fmla="*/ 182880 h 182880"/>
              <a:gd name="connsiteX3" fmla="*/ 1605192 w 8678702"/>
              <a:gd name="connsiteY3" fmla="*/ 182880 h 182880"/>
              <a:gd name="connsiteX4" fmla="*/ 0 w 8678702"/>
              <a:gd name="connsiteY4" fmla="*/ 0 h 182880"/>
              <a:gd name="connsiteX0" fmla="*/ 0 w 8678702"/>
              <a:gd name="connsiteY0" fmla="*/ 0 h 186220"/>
              <a:gd name="connsiteX1" fmla="*/ 8678702 w 8678702"/>
              <a:gd name="connsiteY1" fmla="*/ 0 h 186220"/>
              <a:gd name="connsiteX2" fmla="*/ 8314443 w 8678702"/>
              <a:gd name="connsiteY2" fmla="*/ 182880 h 186220"/>
              <a:gd name="connsiteX3" fmla="*/ 6661 w 8678702"/>
              <a:gd name="connsiteY3" fmla="*/ 186220 h 186220"/>
              <a:gd name="connsiteX4" fmla="*/ 0 w 8678702"/>
              <a:gd name="connsiteY4" fmla="*/ 0 h 186220"/>
              <a:gd name="connsiteX0" fmla="*/ 133211 w 8672041"/>
              <a:gd name="connsiteY0" fmla="*/ 50097 h 186220"/>
              <a:gd name="connsiteX1" fmla="*/ 8672041 w 8672041"/>
              <a:gd name="connsiteY1" fmla="*/ 0 h 186220"/>
              <a:gd name="connsiteX2" fmla="*/ 8307782 w 8672041"/>
              <a:gd name="connsiteY2" fmla="*/ 182880 h 186220"/>
              <a:gd name="connsiteX3" fmla="*/ 0 w 8672041"/>
              <a:gd name="connsiteY3" fmla="*/ 186220 h 186220"/>
              <a:gd name="connsiteX4" fmla="*/ 133211 w 8672041"/>
              <a:gd name="connsiteY4" fmla="*/ 50097 h 186220"/>
              <a:gd name="connsiteX0" fmla="*/ 3330 w 8672041"/>
              <a:gd name="connsiteY0" fmla="*/ 3340 h 186220"/>
              <a:gd name="connsiteX1" fmla="*/ 8672041 w 8672041"/>
              <a:gd name="connsiteY1" fmla="*/ 0 h 186220"/>
              <a:gd name="connsiteX2" fmla="*/ 8307782 w 8672041"/>
              <a:gd name="connsiteY2" fmla="*/ 182880 h 186220"/>
              <a:gd name="connsiteX3" fmla="*/ 0 w 8672041"/>
              <a:gd name="connsiteY3" fmla="*/ 186220 h 186220"/>
              <a:gd name="connsiteX4" fmla="*/ 3330 w 8672041"/>
              <a:gd name="connsiteY4" fmla="*/ 3340 h 186220"/>
              <a:gd name="connsiteX0" fmla="*/ 3330 w 8672041"/>
              <a:gd name="connsiteY0" fmla="*/ 3340 h 186220"/>
              <a:gd name="connsiteX1" fmla="*/ 8672041 w 8672041"/>
              <a:gd name="connsiteY1" fmla="*/ 0 h 186220"/>
              <a:gd name="connsiteX2" fmla="*/ 8307782 w 8672041"/>
              <a:gd name="connsiteY2" fmla="*/ 182880 h 186220"/>
              <a:gd name="connsiteX3" fmla="*/ 0 w 8672041"/>
              <a:gd name="connsiteY3" fmla="*/ 186220 h 186220"/>
              <a:gd name="connsiteX4" fmla="*/ 3330 w 8672041"/>
              <a:gd name="connsiteY4" fmla="*/ 3340 h 186220"/>
              <a:gd name="connsiteX0" fmla="*/ 0 w 8674979"/>
              <a:gd name="connsiteY0" fmla="*/ 3340 h 186220"/>
              <a:gd name="connsiteX1" fmla="*/ 8674979 w 8674979"/>
              <a:gd name="connsiteY1" fmla="*/ 0 h 186220"/>
              <a:gd name="connsiteX2" fmla="*/ 8310720 w 8674979"/>
              <a:gd name="connsiteY2" fmla="*/ 182880 h 186220"/>
              <a:gd name="connsiteX3" fmla="*/ 2938 w 8674979"/>
              <a:gd name="connsiteY3" fmla="*/ 186220 h 186220"/>
              <a:gd name="connsiteX4" fmla="*/ 0 w 8674979"/>
              <a:gd name="connsiteY4" fmla="*/ 3340 h 186220"/>
              <a:gd name="connsiteX0" fmla="*/ 0 w 8674979"/>
              <a:gd name="connsiteY0" fmla="*/ 0 h 189166"/>
              <a:gd name="connsiteX1" fmla="*/ 8674979 w 8674979"/>
              <a:gd name="connsiteY1" fmla="*/ 2946 h 189166"/>
              <a:gd name="connsiteX2" fmla="*/ 8310720 w 8674979"/>
              <a:gd name="connsiteY2" fmla="*/ 185826 h 189166"/>
              <a:gd name="connsiteX3" fmla="*/ 2938 w 8674979"/>
              <a:gd name="connsiteY3" fmla="*/ 189166 h 189166"/>
              <a:gd name="connsiteX4" fmla="*/ 0 w 8674979"/>
              <a:gd name="connsiteY4" fmla="*/ 0 h 189166"/>
              <a:gd name="connsiteX0" fmla="*/ 0 w 8674979"/>
              <a:gd name="connsiteY0" fmla="*/ 444 h 189610"/>
              <a:gd name="connsiteX1" fmla="*/ 8674979 w 8674979"/>
              <a:gd name="connsiteY1" fmla="*/ 0 h 189610"/>
              <a:gd name="connsiteX2" fmla="*/ 8310720 w 8674979"/>
              <a:gd name="connsiteY2" fmla="*/ 186270 h 189610"/>
              <a:gd name="connsiteX3" fmla="*/ 2938 w 8674979"/>
              <a:gd name="connsiteY3" fmla="*/ 189610 h 189610"/>
              <a:gd name="connsiteX4" fmla="*/ 0 w 8674979"/>
              <a:gd name="connsiteY4" fmla="*/ 444 h 189610"/>
              <a:gd name="connsiteX0" fmla="*/ 0 w 8674979"/>
              <a:gd name="connsiteY0" fmla="*/ 444 h 189660"/>
              <a:gd name="connsiteX1" fmla="*/ 8674979 w 8674979"/>
              <a:gd name="connsiteY1" fmla="*/ 0 h 189660"/>
              <a:gd name="connsiteX2" fmla="*/ 8310720 w 8674979"/>
              <a:gd name="connsiteY2" fmla="*/ 189660 h 189660"/>
              <a:gd name="connsiteX3" fmla="*/ 2938 w 8674979"/>
              <a:gd name="connsiteY3" fmla="*/ 189610 h 189660"/>
              <a:gd name="connsiteX4" fmla="*/ 0 w 8674979"/>
              <a:gd name="connsiteY4" fmla="*/ 444 h 189660"/>
              <a:gd name="connsiteX0" fmla="*/ 0 w 10119577"/>
              <a:gd name="connsiteY0" fmla="*/ 0 h 189216"/>
              <a:gd name="connsiteX1" fmla="*/ 10119577 w 10119577"/>
              <a:gd name="connsiteY1" fmla="*/ 686 h 189216"/>
              <a:gd name="connsiteX2" fmla="*/ 8310720 w 10119577"/>
              <a:gd name="connsiteY2" fmla="*/ 189216 h 189216"/>
              <a:gd name="connsiteX3" fmla="*/ 2938 w 10119577"/>
              <a:gd name="connsiteY3" fmla="*/ 189166 h 189216"/>
              <a:gd name="connsiteX4" fmla="*/ 0 w 10119577"/>
              <a:gd name="connsiteY4" fmla="*/ 0 h 189216"/>
              <a:gd name="connsiteX0" fmla="*/ 0 w 10119577"/>
              <a:gd name="connsiteY0" fmla="*/ 173 h 189389"/>
              <a:gd name="connsiteX1" fmla="*/ 10119577 w 10119577"/>
              <a:gd name="connsiteY1" fmla="*/ 0 h 189389"/>
              <a:gd name="connsiteX2" fmla="*/ 8310720 w 10119577"/>
              <a:gd name="connsiteY2" fmla="*/ 189389 h 189389"/>
              <a:gd name="connsiteX3" fmla="*/ 2938 w 10119577"/>
              <a:gd name="connsiteY3" fmla="*/ 189339 h 189389"/>
              <a:gd name="connsiteX4" fmla="*/ 0 w 10119577"/>
              <a:gd name="connsiteY4" fmla="*/ 173 h 189389"/>
              <a:gd name="connsiteX0" fmla="*/ 10004 w 10129581"/>
              <a:gd name="connsiteY0" fmla="*/ 173 h 189389"/>
              <a:gd name="connsiteX1" fmla="*/ 10129581 w 10129581"/>
              <a:gd name="connsiteY1" fmla="*/ 0 h 189389"/>
              <a:gd name="connsiteX2" fmla="*/ 8320724 w 10129581"/>
              <a:gd name="connsiteY2" fmla="*/ 189389 h 189389"/>
              <a:gd name="connsiteX3" fmla="*/ 57 w 10129581"/>
              <a:gd name="connsiteY3" fmla="*/ 189339 h 189389"/>
              <a:gd name="connsiteX4" fmla="*/ 10004 w 10129581"/>
              <a:gd name="connsiteY4" fmla="*/ 173 h 189389"/>
              <a:gd name="connsiteX0" fmla="*/ 9947 w 10129524"/>
              <a:gd name="connsiteY0" fmla="*/ 173 h 189389"/>
              <a:gd name="connsiteX1" fmla="*/ 10129524 w 10129524"/>
              <a:gd name="connsiteY1" fmla="*/ 0 h 189389"/>
              <a:gd name="connsiteX2" fmla="*/ 8320667 w 10129524"/>
              <a:gd name="connsiteY2" fmla="*/ 189389 h 189389"/>
              <a:gd name="connsiteX3" fmla="*/ 0 w 10129524"/>
              <a:gd name="connsiteY3" fmla="*/ 189339 h 189389"/>
              <a:gd name="connsiteX4" fmla="*/ 9947 w 10129524"/>
              <a:gd name="connsiteY4" fmla="*/ 173 h 189389"/>
              <a:gd name="connsiteX0" fmla="*/ 9947 w 10129524"/>
              <a:gd name="connsiteY0" fmla="*/ 173 h 189389"/>
              <a:gd name="connsiteX1" fmla="*/ 10129524 w 10129524"/>
              <a:gd name="connsiteY1" fmla="*/ 0 h 189389"/>
              <a:gd name="connsiteX2" fmla="*/ 8320667 w 10129524"/>
              <a:gd name="connsiteY2" fmla="*/ 189389 h 189389"/>
              <a:gd name="connsiteX3" fmla="*/ 0 w 10129524"/>
              <a:gd name="connsiteY3" fmla="*/ 189339 h 189389"/>
              <a:gd name="connsiteX4" fmla="*/ 9947 w 10129524"/>
              <a:gd name="connsiteY4" fmla="*/ 173 h 189389"/>
              <a:gd name="connsiteX0" fmla="*/ 0 w 10119577"/>
              <a:gd name="connsiteY0" fmla="*/ 173 h 189389"/>
              <a:gd name="connsiteX1" fmla="*/ 10119577 w 10119577"/>
              <a:gd name="connsiteY1" fmla="*/ 0 h 189389"/>
              <a:gd name="connsiteX2" fmla="*/ 8310720 w 10119577"/>
              <a:gd name="connsiteY2" fmla="*/ 189389 h 189389"/>
              <a:gd name="connsiteX3" fmla="*/ 15823 w 10119577"/>
              <a:gd name="connsiteY3" fmla="*/ 189339 h 189389"/>
              <a:gd name="connsiteX4" fmla="*/ 0 w 10119577"/>
              <a:gd name="connsiteY4" fmla="*/ 173 h 189389"/>
              <a:gd name="connsiteX0" fmla="*/ 0 w 10119577"/>
              <a:gd name="connsiteY0" fmla="*/ 173 h 189389"/>
              <a:gd name="connsiteX1" fmla="*/ 10119577 w 10119577"/>
              <a:gd name="connsiteY1" fmla="*/ 0 h 189389"/>
              <a:gd name="connsiteX2" fmla="*/ 8310720 w 10119577"/>
              <a:gd name="connsiteY2" fmla="*/ 189389 h 189389"/>
              <a:gd name="connsiteX3" fmla="*/ 2938 w 10119577"/>
              <a:gd name="connsiteY3" fmla="*/ 189339 h 189389"/>
              <a:gd name="connsiteX4" fmla="*/ 0 w 10119577"/>
              <a:gd name="connsiteY4" fmla="*/ 173 h 189389"/>
              <a:gd name="connsiteX0" fmla="*/ 0 w 21540281"/>
              <a:gd name="connsiteY0" fmla="*/ 9120 h 189389"/>
              <a:gd name="connsiteX1" fmla="*/ 21540281 w 21540281"/>
              <a:gd name="connsiteY1" fmla="*/ 0 h 189389"/>
              <a:gd name="connsiteX2" fmla="*/ 19731424 w 21540281"/>
              <a:gd name="connsiteY2" fmla="*/ 189389 h 189389"/>
              <a:gd name="connsiteX3" fmla="*/ 11423642 w 21540281"/>
              <a:gd name="connsiteY3" fmla="*/ 189339 h 189389"/>
              <a:gd name="connsiteX4" fmla="*/ 0 w 21540281"/>
              <a:gd name="connsiteY4" fmla="*/ 9120 h 189389"/>
              <a:gd name="connsiteX0" fmla="*/ 0 w 21540281"/>
              <a:gd name="connsiteY0" fmla="*/ 9120 h 192321"/>
              <a:gd name="connsiteX1" fmla="*/ 21540281 w 21540281"/>
              <a:gd name="connsiteY1" fmla="*/ 0 h 192321"/>
              <a:gd name="connsiteX2" fmla="*/ 19731424 w 21540281"/>
              <a:gd name="connsiteY2" fmla="*/ 189389 h 192321"/>
              <a:gd name="connsiteX3" fmla="*/ 2942 w 21540281"/>
              <a:gd name="connsiteY3" fmla="*/ 192321 h 192321"/>
              <a:gd name="connsiteX4" fmla="*/ 0 w 21540281"/>
              <a:gd name="connsiteY4" fmla="*/ 9120 h 192321"/>
              <a:gd name="connsiteX0" fmla="*/ 0 w 21540281"/>
              <a:gd name="connsiteY0" fmla="*/ 6138 h 192321"/>
              <a:gd name="connsiteX1" fmla="*/ 21540281 w 21540281"/>
              <a:gd name="connsiteY1" fmla="*/ 0 h 192321"/>
              <a:gd name="connsiteX2" fmla="*/ 19731424 w 21540281"/>
              <a:gd name="connsiteY2" fmla="*/ 189389 h 192321"/>
              <a:gd name="connsiteX3" fmla="*/ 2942 w 21540281"/>
              <a:gd name="connsiteY3" fmla="*/ 192321 h 192321"/>
              <a:gd name="connsiteX4" fmla="*/ 0 w 21540281"/>
              <a:gd name="connsiteY4" fmla="*/ 6138 h 192321"/>
              <a:gd name="connsiteX0" fmla="*/ 2579162 w 24119443"/>
              <a:gd name="connsiteY0" fmla="*/ 6138 h 192321"/>
              <a:gd name="connsiteX1" fmla="*/ 24119443 w 24119443"/>
              <a:gd name="connsiteY1" fmla="*/ 0 h 192321"/>
              <a:gd name="connsiteX2" fmla="*/ 22310586 w 24119443"/>
              <a:gd name="connsiteY2" fmla="*/ 189389 h 192321"/>
              <a:gd name="connsiteX3" fmla="*/ 2582104 w 24119443"/>
              <a:gd name="connsiteY3" fmla="*/ 192321 h 192321"/>
              <a:gd name="connsiteX4" fmla="*/ 2579162 w 24119443"/>
              <a:gd name="connsiteY4" fmla="*/ 6138 h 192321"/>
              <a:gd name="connsiteX0" fmla="*/ 1459081 w 22999362"/>
              <a:gd name="connsiteY0" fmla="*/ 6138 h 192321"/>
              <a:gd name="connsiteX1" fmla="*/ 22999362 w 22999362"/>
              <a:gd name="connsiteY1" fmla="*/ 0 h 192321"/>
              <a:gd name="connsiteX2" fmla="*/ 21190505 w 22999362"/>
              <a:gd name="connsiteY2" fmla="*/ 189389 h 192321"/>
              <a:gd name="connsiteX3" fmla="*/ 1462023 w 22999362"/>
              <a:gd name="connsiteY3" fmla="*/ 192321 h 192321"/>
              <a:gd name="connsiteX4" fmla="*/ 1459081 w 22999362"/>
              <a:gd name="connsiteY4" fmla="*/ 6138 h 192321"/>
              <a:gd name="connsiteX0" fmla="*/ 2579108 w 24119389"/>
              <a:gd name="connsiteY0" fmla="*/ 6138 h 192321"/>
              <a:gd name="connsiteX1" fmla="*/ 24119389 w 24119389"/>
              <a:gd name="connsiteY1" fmla="*/ 0 h 192321"/>
              <a:gd name="connsiteX2" fmla="*/ 22310532 w 24119389"/>
              <a:gd name="connsiteY2" fmla="*/ 189389 h 192321"/>
              <a:gd name="connsiteX3" fmla="*/ 2582050 w 24119389"/>
              <a:gd name="connsiteY3" fmla="*/ 192321 h 192321"/>
              <a:gd name="connsiteX4" fmla="*/ 2579108 w 24119389"/>
              <a:gd name="connsiteY4" fmla="*/ 6138 h 192321"/>
              <a:gd name="connsiteX0" fmla="*/ 1594923 w 23135204"/>
              <a:gd name="connsiteY0" fmla="*/ 6138 h 192321"/>
              <a:gd name="connsiteX1" fmla="*/ 23135204 w 23135204"/>
              <a:gd name="connsiteY1" fmla="*/ 0 h 192321"/>
              <a:gd name="connsiteX2" fmla="*/ 21326347 w 23135204"/>
              <a:gd name="connsiteY2" fmla="*/ 189389 h 192321"/>
              <a:gd name="connsiteX3" fmla="*/ 1597865 w 23135204"/>
              <a:gd name="connsiteY3" fmla="*/ 192321 h 192321"/>
              <a:gd name="connsiteX4" fmla="*/ 1594923 w 23135204"/>
              <a:gd name="connsiteY4" fmla="*/ 6138 h 192321"/>
              <a:gd name="connsiteX0" fmla="*/ 1 w 21540282"/>
              <a:gd name="connsiteY0" fmla="*/ 6138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3 w 21540282"/>
              <a:gd name="connsiteY3" fmla="*/ 192321 h 192321"/>
              <a:gd name="connsiteX4" fmla="*/ 1 w 21540282"/>
              <a:gd name="connsiteY4" fmla="*/ 6138 h 192321"/>
              <a:gd name="connsiteX0" fmla="*/ 0 w 21540282"/>
              <a:gd name="connsiteY0" fmla="*/ 3156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3 w 21540282"/>
              <a:gd name="connsiteY3" fmla="*/ 192321 h 192321"/>
              <a:gd name="connsiteX4" fmla="*/ 0 w 21540282"/>
              <a:gd name="connsiteY4" fmla="*/ 3156 h 192321"/>
              <a:gd name="connsiteX0" fmla="*/ 0 w 21540282"/>
              <a:gd name="connsiteY0" fmla="*/ 347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3 w 21540282"/>
              <a:gd name="connsiteY3" fmla="*/ 192321 h 192321"/>
              <a:gd name="connsiteX4" fmla="*/ 0 w 21540282"/>
              <a:gd name="connsiteY4" fmla="*/ 347 h 192321"/>
              <a:gd name="connsiteX0" fmla="*/ 0 w 21540282"/>
              <a:gd name="connsiteY0" fmla="*/ 347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2 w 21540282"/>
              <a:gd name="connsiteY3" fmla="*/ 192321 h 192321"/>
              <a:gd name="connsiteX4" fmla="*/ 0 w 21540282"/>
              <a:gd name="connsiteY4" fmla="*/ 347 h 192321"/>
              <a:gd name="connsiteX0" fmla="*/ 0 w 21540282"/>
              <a:gd name="connsiteY0" fmla="*/ 347 h 189512"/>
              <a:gd name="connsiteX1" fmla="*/ 21540282 w 21540282"/>
              <a:gd name="connsiteY1" fmla="*/ 0 h 189512"/>
              <a:gd name="connsiteX2" fmla="*/ 19731425 w 21540282"/>
              <a:gd name="connsiteY2" fmla="*/ 189389 h 189512"/>
              <a:gd name="connsiteX3" fmla="*/ 2942 w 21540282"/>
              <a:gd name="connsiteY3" fmla="*/ 189512 h 189512"/>
              <a:gd name="connsiteX4" fmla="*/ 0 w 21540282"/>
              <a:gd name="connsiteY4" fmla="*/ 347 h 189512"/>
              <a:gd name="connsiteX0" fmla="*/ 0 w 20903501"/>
              <a:gd name="connsiteY0" fmla="*/ 347 h 189512"/>
              <a:gd name="connsiteX1" fmla="*/ 20903501 w 20903501"/>
              <a:gd name="connsiteY1" fmla="*/ 0 h 189512"/>
              <a:gd name="connsiteX2" fmla="*/ 19731425 w 20903501"/>
              <a:gd name="connsiteY2" fmla="*/ 189389 h 189512"/>
              <a:gd name="connsiteX3" fmla="*/ 2942 w 20903501"/>
              <a:gd name="connsiteY3" fmla="*/ 189512 h 189512"/>
              <a:gd name="connsiteX4" fmla="*/ 0 w 20903501"/>
              <a:gd name="connsiteY4" fmla="*/ 347 h 189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903501" h="189512">
                <a:moveTo>
                  <a:pt x="0" y="347"/>
                </a:moveTo>
                <a:lnTo>
                  <a:pt x="20903501" y="0"/>
                </a:lnTo>
                <a:lnTo>
                  <a:pt x="19731425" y="189389"/>
                </a:lnTo>
                <a:lnTo>
                  <a:pt x="2942" y="189512"/>
                </a:lnTo>
                <a:cubicBezTo>
                  <a:pt x="1961" y="125521"/>
                  <a:pt x="981" y="64338"/>
                  <a:pt x="0" y="34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8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355EA5B-0213-49CD-B934-926AAD46209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74034" y="5851216"/>
            <a:ext cx="1060725" cy="822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118285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: 3 Photos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97402" y="341316"/>
            <a:ext cx="7035799" cy="97948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97402" y="1333501"/>
            <a:ext cx="7035799" cy="467201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698501" y="552452"/>
            <a:ext cx="3441700" cy="1584183"/>
          </a:xfrm>
          <a:solidFill>
            <a:schemeClr val="bg1">
              <a:lumMod val="95000"/>
            </a:schemeClr>
          </a:solidFill>
          <a:ln w="44450">
            <a:noFill/>
          </a:ln>
          <a:effectLst/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 b="1" dirty="0">
                <a:solidFill>
                  <a:schemeClr val="accent1"/>
                </a:solidFill>
              </a:defRPr>
            </a:lvl1pPr>
          </a:lstStyle>
          <a:p>
            <a:pPr lvl="0" algn="ctr">
              <a:buFont typeface="Arial" pitchFamily="34" charset="0"/>
            </a:pPr>
            <a:r>
              <a:rPr lang="en-US" dirty="0"/>
              <a:t>Picture</a:t>
            </a:r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711201" y="2338389"/>
            <a:ext cx="3441700" cy="1584183"/>
          </a:xfrm>
          <a:solidFill>
            <a:schemeClr val="bg1">
              <a:lumMod val="95000"/>
            </a:schemeClr>
          </a:solidFill>
          <a:ln w="44450">
            <a:noFill/>
          </a:ln>
          <a:effectLst/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 b="1" dirty="0">
                <a:solidFill>
                  <a:schemeClr val="accent1"/>
                </a:solidFill>
              </a:defRPr>
            </a:lvl1pPr>
          </a:lstStyle>
          <a:p>
            <a:pPr lvl="0" algn="ctr">
              <a:buFont typeface="Arial" pitchFamily="34" charset="0"/>
            </a:pPr>
            <a:r>
              <a:rPr lang="en-US" dirty="0"/>
              <a:t>Picture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698501" y="4124327"/>
            <a:ext cx="3441700" cy="1584183"/>
          </a:xfrm>
          <a:solidFill>
            <a:schemeClr val="bg1">
              <a:lumMod val="95000"/>
            </a:schemeClr>
          </a:solidFill>
          <a:ln w="44450">
            <a:noFill/>
          </a:ln>
          <a:effectLst/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 b="1" dirty="0">
                <a:solidFill>
                  <a:schemeClr val="accent1"/>
                </a:solidFill>
              </a:defRPr>
            </a:lvl1pPr>
          </a:lstStyle>
          <a:p>
            <a:pPr lvl="0" algn="ctr">
              <a:buFont typeface="Arial" pitchFamily="34" charset="0"/>
            </a:pPr>
            <a:r>
              <a:rPr lang="en-US" dirty="0"/>
              <a:t>Picture</a:t>
            </a:r>
          </a:p>
        </p:txBody>
      </p:sp>
      <p:sp>
        <p:nvSpPr>
          <p:cNvPr id="12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716173" y="6496407"/>
            <a:ext cx="9460550" cy="172221"/>
          </a:xfrm>
        </p:spPr>
        <p:txBody>
          <a:bodyPr>
            <a:normAutofit/>
          </a:bodyPr>
          <a:lstStyle/>
          <a:p>
            <a:r>
              <a:rPr lang="en-US"/>
              <a:t>PPG CONFIDENTIAL</a:t>
            </a:r>
            <a:endParaRPr lang="en-US" dirty="0"/>
          </a:p>
        </p:txBody>
      </p:sp>
      <p:sp>
        <p:nvSpPr>
          <p:cNvPr id="13" name="Slide Number Placeholder 8"/>
          <p:cNvSpPr>
            <a:spLocks noGrp="1"/>
          </p:cNvSpPr>
          <p:nvPr>
            <p:ph type="sldNum" sz="quarter" idx="15"/>
          </p:nvPr>
        </p:nvSpPr>
        <p:spPr>
          <a:xfrm>
            <a:off x="260418" y="6496407"/>
            <a:ext cx="455756" cy="172221"/>
          </a:xfrm>
        </p:spPr>
        <p:txBody>
          <a:bodyPr>
            <a:normAutofit/>
          </a:bodyPr>
          <a:lstStyle/>
          <a:p>
            <a:fld id="{FD9C4343-C115-504A-8D4F-0B17318D4A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2689100"/>
      </p:ext>
    </p:extLst>
  </p:cSld>
  <p:clrMapOvr>
    <a:masterClrMapping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71311565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2884" y="2947137"/>
            <a:ext cx="8457972" cy="984333"/>
          </a:xfrm>
        </p:spPr>
        <p:txBody>
          <a:bodyPr anchor="b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12884" y="3999205"/>
            <a:ext cx="8457972" cy="640767"/>
          </a:xfrm>
        </p:spPr>
        <p:txBody>
          <a:bodyPr>
            <a:normAutofit/>
          </a:bodyPr>
          <a:lstStyle>
            <a:lvl1pPr marL="0" indent="0" algn="l">
              <a:buNone/>
              <a:defRPr sz="1999">
                <a:solidFill>
                  <a:schemeClr val="tx1"/>
                </a:solidFill>
              </a:defRPr>
            </a:lvl1pPr>
            <a:lvl2pPr marL="4570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12883" y="4779109"/>
            <a:ext cx="3303862" cy="3651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1000">
                <a:solidFill>
                  <a:schemeClr val="tx1"/>
                </a:solidFill>
                <a:latin typeface="+mn-lt"/>
                <a:cs typeface="Arial"/>
              </a:defRPr>
            </a:lvl1pPr>
          </a:lstStyle>
          <a:p>
            <a:endParaRPr lang="en-US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38F46E6-B30F-4BB4-8F82-08AD4C6EA8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74033" y="5851214"/>
            <a:ext cx="1060725" cy="822309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0737FA42-C06C-4BE0-AE35-B6EF2728CBF5}"/>
              </a:ext>
            </a:extLst>
          </p:cNvPr>
          <p:cNvSpPr/>
          <p:nvPr userDrawn="1"/>
        </p:nvSpPr>
        <p:spPr>
          <a:xfrm>
            <a:off x="8485838" y="3"/>
            <a:ext cx="3706162" cy="48212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/>
          </a:p>
        </p:txBody>
      </p:sp>
      <p:sp>
        <p:nvSpPr>
          <p:cNvPr id="13" name="Rectangle 3">
            <a:extLst>
              <a:ext uri="{FF2B5EF4-FFF2-40B4-BE49-F238E27FC236}">
                <a16:creationId xmlns:a16="http://schemas.microsoft.com/office/drawing/2014/main" id="{9FCFEBA5-E832-4F45-9A7E-E488F4C2670A}"/>
              </a:ext>
            </a:extLst>
          </p:cNvPr>
          <p:cNvSpPr/>
          <p:nvPr userDrawn="1"/>
        </p:nvSpPr>
        <p:spPr>
          <a:xfrm>
            <a:off x="0" y="316"/>
            <a:ext cx="9077242" cy="482776"/>
          </a:xfrm>
          <a:custGeom>
            <a:avLst/>
            <a:gdLst>
              <a:gd name="connsiteX0" fmla="*/ 0 w 6709251"/>
              <a:gd name="connsiteY0" fmla="*/ 0 h 182880"/>
              <a:gd name="connsiteX1" fmla="*/ 6709251 w 6709251"/>
              <a:gd name="connsiteY1" fmla="*/ 0 h 182880"/>
              <a:gd name="connsiteX2" fmla="*/ 6709251 w 6709251"/>
              <a:gd name="connsiteY2" fmla="*/ 182880 h 182880"/>
              <a:gd name="connsiteX3" fmla="*/ 0 w 6709251"/>
              <a:gd name="connsiteY3" fmla="*/ 182880 h 182880"/>
              <a:gd name="connsiteX4" fmla="*/ 0 w 6709251"/>
              <a:gd name="connsiteY4" fmla="*/ 0 h 182880"/>
              <a:gd name="connsiteX0" fmla="*/ 0 w 7073510"/>
              <a:gd name="connsiteY0" fmla="*/ 0 h 182880"/>
              <a:gd name="connsiteX1" fmla="*/ 7073510 w 7073510"/>
              <a:gd name="connsiteY1" fmla="*/ 0 h 182880"/>
              <a:gd name="connsiteX2" fmla="*/ 6709251 w 7073510"/>
              <a:gd name="connsiteY2" fmla="*/ 182880 h 182880"/>
              <a:gd name="connsiteX3" fmla="*/ 0 w 7073510"/>
              <a:gd name="connsiteY3" fmla="*/ 182880 h 182880"/>
              <a:gd name="connsiteX4" fmla="*/ 0 w 7073510"/>
              <a:gd name="connsiteY4" fmla="*/ 0 h 182880"/>
              <a:gd name="connsiteX0" fmla="*/ 0 w 8678702"/>
              <a:gd name="connsiteY0" fmla="*/ 0 h 182880"/>
              <a:gd name="connsiteX1" fmla="*/ 8678702 w 8678702"/>
              <a:gd name="connsiteY1" fmla="*/ 0 h 182880"/>
              <a:gd name="connsiteX2" fmla="*/ 8314443 w 8678702"/>
              <a:gd name="connsiteY2" fmla="*/ 182880 h 182880"/>
              <a:gd name="connsiteX3" fmla="*/ 1605192 w 8678702"/>
              <a:gd name="connsiteY3" fmla="*/ 182880 h 182880"/>
              <a:gd name="connsiteX4" fmla="*/ 0 w 8678702"/>
              <a:gd name="connsiteY4" fmla="*/ 0 h 182880"/>
              <a:gd name="connsiteX0" fmla="*/ 0 w 8678702"/>
              <a:gd name="connsiteY0" fmla="*/ 0 h 186220"/>
              <a:gd name="connsiteX1" fmla="*/ 8678702 w 8678702"/>
              <a:gd name="connsiteY1" fmla="*/ 0 h 186220"/>
              <a:gd name="connsiteX2" fmla="*/ 8314443 w 8678702"/>
              <a:gd name="connsiteY2" fmla="*/ 182880 h 186220"/>
              <a:gd name="connsiteX3" fmla="*/ 6661 w 8678702"/>
              <a:gd name="connsiteY3" fmla="*/ 186220 h 186220"/>
              <a:gd name="connsiteX4" fmla="*/ 0 w 8678702"/>
              <a:gd name="connsiteY4" fmla="*/ 0 h 186220"/>
              <a:gd name="connsiteX0" fmla="*/ 133211 w 8672041"/>
              <a:gd name="connsiteY0" fmla="*/ 50097 h 186220"/>
              <a:gd name="connsiteX1" fmla="*/ 8672041 w 8672041"/>
              <a:gd name="connsiteY1" fmla="*/ 0 h 186220"/>
              <a:gd name="connsiteX2" fmla="*/ 8307782 w 8672041"/>
              <a:gd name="connsiteY2" fmla="*/ 182880 h 186220"/>
              <a:gd name="connsiteX3" fmla="*/ 0 w 8672041"/>
              <a:gd name="connsiteY3" fmla="*/ 186220 h 186220"/>
              <a:gd name="connsiteX4" fmla="*/ 133211 w 8672041"/>
              <a:gd name="connsiteY4" fmla="*/ 50097 h 186220"/>
              <a:gd name="connsiteX0" fmla="*/ 3330 w 8672041"/>
              <a:gd name="connsiteY0" fmla="*/ 3340 h 186220"/>
              <a:gd name="connsiteX1" fmla="*/ 8672041 w 8672041"/>
              <a:gd name="connsiteY1" fmla="*/ 0 h 186220"/>
              <a:gd name="connsiteX2" fmla="*/ 8307782 w 8672041"/>
              <a:gd name="connsiteY2" fmla="*/ 182880 h 186220"/>
              <a:gd name="connsiteX3" fmla="*/ 0 w 8672041"/>
              <a:gd name="connsiteY3" fmla="*/ 186220 h 186220"/>
              <a:gd name="connsiteX4" fmla="*/ 3330 w 8672041"/>
              <a:gd name="connsiteY4" fmla="*/ 3340 h 186220"/>
              <a:gd name="connsiteX0" fmla="*/ 3330 w 8672041"/>
              <a:gd name="connsiteY0" fmla="*/ 3340 h 186220"/>
              <a:gd name="connsiteX1" fmla="*/ 8672041 w 8672041"/>
              <a:gd name="connsiteY1" fmla="*/ 0 h 186220"/>
              <a:gd name="connsiteX2" fmla="*/ 8307782 w 8672041"/>
              <a:gd name="connsiteY2" fmla="*/ 182880 h 186220"/>
              <a:gd name="connsiteX3" fmla="*/ 0 w 8672041"/>
              <a:gd name="connsiteY3" fmla="*/ 186220 h 186220"/>
              <a:gd name="connsiteX4" fmla="*/ 3330 w 8672041"/>
              <a:gd name="connsiteY4" fmla="*/ 3340 h 186220"/>
              <a:gd name="connsiteX0" fmla="*/ 0 w 8674979"/>
              <a:gd name="connsiteY0" fmla="*/ 3340 h 186220"/>
              <a:gd name="connsiteX1" fmla="*/ 8674979 w 8674979"/>
              <a:gd name="connsiteY1" fmla="*/ 0 h 186220"/>
              <a:gd name="connsiteX2" fmla="*/ 8310720 w 8674979"/>
              <a:gd name="connsiteY2" fmla="*/ 182880 h 186220"/>
              <a:gd name="connsiteX3" fmla="*/ 2938 w 8674979"/>
              <a:gd name="connsiteY3" fmla="*/ 186220 h 186220"/>
              <a:gd name="connsiteX4" fmla="*/ 0 w 8674979"/>
              <a:gd name="connsiteY4" fmla="*/ 3340 h 186220"/>
              <a:gd name="connsiteX0" fmla="*/ 0 w 8674979"/>
              <a:gd name="connsiteY0" fmla="*/ 0 h 189166"/>
              <a:gd name="connsiteX1" fmla="*/ 8674979 w 8674979"/>
              <a:gd name="connsiteY1" fmla="*/ 2946 h 189166"/>
              <a:gd name="connsiteX2" fmla="*/ 8310720 w 8674979"/>
              <a:gd name="connsiteY2" fmla="*/ 185826 h 189166"/>
              <a:gd name="connsiteX3" fmla="*/ 2938 w 8674979"/>
              <a:gd name="connsiteY3" fmla="*/ 189166 h 189166"/>
              <a:gd name="connsiteX4" fmla="*/ 0 w 8674979"/>
              <a:gd name="connsiteY4" fmla="*/ 0 h 189166"/>
              <a:gd name="connsiteX0" fmla="*/ 0 w 8674979"/>
              <a:gd name="connsiteY0" fmla="*/ 444 h 189610"/>
              <a:gd name="connsiteX1" fmla="*/ 8674979 w 8674979"/>
              <a:gd name="connsiteY1" fmla="*/ 0 h 189610"/>
              <a:gd name="connsiteX2" fmla="*/ 8310720 w 8674979"/>
              <a:gd name="connsiteY2" fmla="*/ 186270 h 189610"/>
              <a:gd name="connsiteX3" fmla="*/ 2938 w 8674979"/>
              <a:gd name="connsiteY3" fmla="*/ 189610 h 189610"/>
              <a:gd name="connsiteX4" fmla="*/ 0 w 8674979"/>
              <a:gd name="connsiteY4" fmla="*/ 444 h 189610"/>
              <a:gd name="connsiteX0" fmla="*/ 0 w 8674979"/>
              <a:gd name="connsiteY0" fmla="*/ 444 h 189660"/>
              <a:gd name="connsiteX1" fmla="*/ 8674979 w 8674979"/>
              <a:gd name="connsiteY1" fmla="*/ 0 h 189660"/>
              <a:gd name="connsiteX2" fmla="*/ 8310720 w 8674979"/>
              <a:gd name="connsiteY2" fmla="*/ 189660 h 189660"/>
              <a:gd name="connsiteX3" fmla="*/ 2938 w 8674979"/>
              <a:gd name="connsiteY3" fmla="*/ 189610 h 189660"/>
              <a:gd name="connsiteX4" fmla="*/ 0 w 8674979"/>
              <a:gd name="connsiteY4" fmla="*/ 444 h 189660"/>
              <a:gd name="connsiteX0" fmla="*/ 0 w 10119577"/>
              <a:gd name="connsiteY0" fmla="*/ 0 h 189216"/>
              <a:gd name="connsiteX1" fmla="*/ 10119577 w 10119577"/>
              <a:gd name="connsiteY1" fmla="*/ 686 h 189216"/>
              <a:gd name="connsiteX2" fmla="*/ 8310720 w 10119577"/>
              <a:gd name="connsiteY2" fmla="*/ 189216 h 189216"/>
              <a:gd name="connsiteX3" fmla="*/ 2938 w 10119577"/>
              <a:gd name="connsiteY3" fmla="*/ 189166 h 189216"/>
              <a:gd name="connsiteX4" fmla="*/ 0 w 10119577"/>
              <a:gd name="connsiteY4" fmla="*/ 0 h 189216"/>
              <a:gd name="connsiteX0" fmla="*/ 0 w 10119577"/>
              <a:gd name="connsiteY0" fmla="*/ 173 h 189389"/>
              <a:gd name="connsiteX1" fmla="*/ 10119577 w 10119577"/>
              <a:gd name="connsiteY1" fmla="*/ 0 h 189389"/>
              <a:gd name="connsiteX2" fmla="*/ 8310720 w 10119577"/>
              <a:gd name="connsiteY2" fmla="*/ 189389 h 189389"/>
              <a:gd name="connsiteX3" fmla="*/ 2938 w 10119577"/>
              <a:gd name="connsiteY3" fmla="*/ 189339 h 189389"/>
              <a:gd name="connsiteX4" fmla="*/ 0 w 10119577"/>
              <a:gd name="connsiteY4" fmla="*/ 173 h 189389"/>
              <a:gd name="connsiteX0" fmla="*/ 10004 w 10129581"/>
              <a:gd name="connsiteY0" fmla="*/ 173 h 189389"/>
              <a:gd name="connsiteX1" fmla="*/ 10129581 w 10129581"/>
              <a:gd name="connsiteY1" fmla="*/ 0 h 189389"/>
              <a:gd name="connsiteX2" fmla="*/ 8320724 w 10129581"/>
              <a:gd name="connsiteY2" fmla="*/ 189389 h 189389"/>
              <a:gd name="connsiteX3" fmla="*/ 57 w 10129581"/>
              <a:gd name="connsiteY3" fmla="*/ 189339 h 189389"/>
              <a:gd name="connsiteX4" fmla="*/ 10004 w 10129581"/>
              <a:gd name="connsiteY4" fmla="*/ 173 h 189389"/>
              <a:gd name="connsiteX0" fmla="*/ 9947 w 10129524"/>
              <a:gd name="connsiteY0" fmla="*/ 173 h 189389"/>
              <a:gd name="connsiteX1" fmla="*/ 10129524 w 10129524"/>
              <a:gd name="connsiteY1" fmla="*/ 0 h 189389"/>
              <a:gd name="connsiteX2" fmla="*/ 8320667 w 10129524"/>
              <a:gd name="connsiteY2" fmla="*/ 189389 h 189389"/>
              <a:gd name="connsiteX3" fmla="*/ 0 w 10129524"/>
              <a:gd name="connsiteY3" fmla="*/ 189339 h 189389"/>
              <a:gd name="connsiteX4" fmla="*/ 9947 w 10129524"/>
              <a:gd name="connsiteY4" fmla="*/ 173 h 189389"/>
              <a:gd name="connsiteX0" fmla="*/ 9947 w 10129524"/>
              <a:gd name="connsiteY0" fmla="*/ 173 h 189389"/>
              <a:gd name="connsiteX1" fmla="*/ 10129524 w 10129524"/>
              <a:gd name="connsiteY1" fmla="*/ 0 h 189389"/>
              <a:gd name="connsiteX2" fmla="*/ 8320667 w 10129524"/>
              <a:gd name="connsiteY2" fmla="*/ 189389 h 189389"/>
              <a:gd name="connsiteX3" fmla="*/ 0 w 10129524"/>
              <a:gd name="connsiteY3" fmla="*/ 189339 h 189389"/>
              <a:gd name="connsiteX4" fmla="*/ 9947 w 10129524"/>
              <a:gd name="connsiteY4" fmla="*/ 173 h 189389"/>
              <a:gd name="connsiteX0" fmla="*/ 0 w 10119577"/>
              <a:gd name="connsiteY0" fmla="*/ 173 h 189389"/>
              <a:gd name="connsiteX1" fmla="*/ 10119577 w 10119577"/>
              <a:gd name="connsiteY1" fmla="*/ 0 h 189389"/>
              <a:gd name="connsiteX2" fmla="*/ 8310720 w 10119577"/>
              <a:gd name="connsiteY2" fmla="*/ 189389 h 189389"/>
              <a:gd name="connsiteX3" fmla="*/ 15823 w 10119577"/>
              <a:gd name="connsiteY3" fmla="*/ 189339 h 189389"/>
              <a:gd name="connsiteX4" fmla="*/ 0 w 10119577"/>
              <a:gd name="connsiteY4" fmla="*/ 173 h 189389"/>
              <a:gd name="connsiteX0" fmla="*/ 0 w 10119577"/>
              <a:gd name="connsiteY0" fmla="*/ 173 h 189389"/>
              <a:gd name="connsiteX1" fmla="*/ 10119577 w 10119577"/>
              <a:gd name="connsiteY1" fmla="*/ 0 h 189389"/>
              <a:gd name="connsiteX2" fmla="*/ 8310720 w 10119577"/>
              <a:gd name="connsiteY2" fmla="*/ 189389 h 189389"/>
              <a:gd name="connsiteX3" fmla="*/ 2938 w 10119577"/>
              <a:gd name="connsiteY3" fmla="*/ 189339 h 189389"/>
              <a:gd name="connsiteX4" fmla="*/ 0 w 10119577"/>
              <a:gd name="connsiteY4" fmla="*/ 173 h 189389"/>
              <a:gd name="connsiteX0" fmla="*/ 0 w 21540281"/>
              <a:gd name="connsiteY0" fmla="*/ 9120 h 189389"/>
              <a:gd name="connsiteX1" fmla="*/ 21540281 w 21540281"/>
              <a:gd name="connsiteY1" fmla="*/ 0 h 189389"/>
              <a:gd name="connsiteX2" fmla="*/ 19731424 w 21540281"/>
              <a:gd name="connsiteY2" fmla="*/ 189389 h 189389"/>
              <a:gd name="connsiteX3" fmla="*/ 11423642 w 21540281"/>
              <a:gd name="connsiteY3" fmla="*/ 189339 h 189389"/>
              <a:gd name="connsiteX4" fmla="*/ 0 w 21540281"/>
              <a:gd name="connsiteY4" fmla="*/ 9120 h 189389"/>
              <a:gd name="connsiteX0" fmla="*/ 0 w 21540281"/>
              <a:gd name="connsiteY0" fmla="*/ 9120 h 192321"/>
              <a:gd name="connsiteX1" fmla="*/ 21540281 w 21540281"/>
              <a:gd name="connsiteY1" fmla="*/ 0 h 192321"/>
              <a:gd name="connsiteX2" fmla="*/ 19731424 w 21540281"/>
              <a:gd name="connsiteY2" fmla="*/ 189389 h 192321"/>
              <a:gd name="connsiteX3" fmla="*/ 2942 w 21540281"/>
              <a:gd name="connsiteY3" fmla="*/ 192321 h 192321"/>
              <a:gd name="connsiteX4" fmla="*/ 0 w 21540281"/>
              <a:gd name="connsiteY4" fmla="*/ 9120 h 192321"/>
              <a:gd name="connsiteX0" fmla="*/ 0 w 21540281"/>
              <a:gd name="connsiteY0" fmla="*/ 6138 h 192321"/>
              <a:gd name="connsiteX1" fmla="*/ 21540281 w 21540281"/>
              <a:gd name="connsiteY1" fmla="*/ 0 h 192321"/>
              <a:gd name="connsiteX2" fmla="*/ 19731424 w 21540281"/>
              <a:gd name="connsiteY2" fmla="*/ 189389 h 192321"/>
              <a:gd name="connsiteX3" fmla="*/ 2942 w 21540281"/>
              <a:gd name="connsiteY3" fmla="*/ 192321 h 192321"/>
              <a:gd name="connsiteX4" fmla="*/ 0 w 21540281"/>
              <a:gd name="connsiteY4" fmla="*/ 6138 h 192321"/>
              <a:gd name="connsiteX0" fmla="*/ 2579162 w 24119443"/>
              <a:gd name="connsiteY0" fmla="*/ 6138 h 192321"/>
              <a:gd name="connsiteX1" fmla="*/ 24119443 w 24119443"/>
              <a:gd name="connsiteY1" fmla="*/ 0 h 192321"/>
              <a:gd name="connsiteX2" fmla="*/ 22310586 w 24119443"/>
              <a:gd name="connsiteY2" fmla="*/ 189389 h 192321"/>
              <a:gd name="connsiteX3" fmla="*/ 2582104 w 24119443"/>
              <a:gd name="connsiteY3" fmla="*/ 192321 h 192321"/>
              <a:gd name="connsiteX4" fmla="*/ 2579162 w 24119443"/>
              <a:gd name="connsiteY4" fmla="*/ 6138 h 192321"/>
              <a:gd name="connsiteX0" fmla="*/ 1459081 w 22999362"/>
              <a:gd name="connsiteY0" fmla="*/ 6138 h 192321"/>
              <a:gd name="connsiteX1" fmla="*/ 22999362 w 22999362"/>
              <a:gd name="connsiteY1" fmla="*/ 0 h 192321"/>
              <a:gd name="connsiteX2" fmla="*/ 21190505 w 22999362"/>
              <a:gd name="connsiteY2" fmla="*/ 189389 h 192321"/>
              <a:gd name="connsiteX3" fmla="*/ 1462023 w 22999362"/>
              <a:gd name="connsiteY3" fmla="*/ 192321 h 192321"/>
              <a:gd name="connsiteX4" fmla="*/ 1459081 w 22999362"/>
              <a:gd name="connsiteY4" fmla="*/ 6138 h 192321"/>
              <a:gd name="connsiteX0" fmla="*/ 2579108 w 24119389"/>
              <a:gd name="connsiteY0" fmla="*/ 6138 h 192321"/>
              <a:gd name="connsiteX1" fmla="*/ 24119389 w 24119389"/>
              <a:gd name="connsiteY1" fmla="*/ 0 h 192321"/>
              <a:gd name="connsiteX2" fmla="*/ 22310532 w 24119389"/>
              <a:gd name="connsiteY2" fmla="*/ 189389 h 192321"/>
              <a:gd name="connsiteX3" fmla="*/ 2582050 w 24119389"/>
              <a:gd name="connsiteY3" fmla="*/ 192321 h 192321"/>
              <a:gd name="connsiteX4" fmla="*/ 2579108 w 24119389"/>
              <a:gd name="connsiteY4" fmla="*/ 6138 h 192321"/>
              <a:gd name="connsiteX0" fmla="*/ 1594923 w 23135204"/>
              <a:gd name="connsiteY0" fmla="*/ 6138 h 192321"/>
              <a:gd name="connsiteX1" fmla="*/ 23135204 w 23135204"/>
              <a:gd name="connsiteY1" fmla="*/ 0 h 192321"/>
              <a:gd name="connsiteX2" fmla="*/ 21326347 w 23135204"/>
              <a:gd name="connsiteY2" fmla="*/ 189389 h 192321"/>
              <a:gd name="connsiteX3" fmla="*/ 1597865 w 23135204"/>
              <a:gd name="connsiteY3" fmla="*/ 192321 h 192321"/>
              <a:gd name="connsiteX4" fmla="*/ 1594923 w 23135204"/>
              <a:gd name="connsiteY4" fmla="*/ 6138 h 192321"/>
              <a:gd name="connsiteX0" fmla="*/ 1 w 21540282"/>
              <a:gd name="connsiteY0" fmla="*/ 6138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3 w 21540282"/>
              <a:gd name="connsiteY3" fmla="*/ 192321 h 192321"/>
              <a:gd name="connsiteX4" fmla="*/ 1 w 21540282"/>
              <a:gd name="connsiteY4" fmla="*/ 6138 h 192321"/>
              <a:gd name="connsiteX0" fmla="*/ 0 w 21540282"/>
              <a:gd name="connsiteY0" fmla="*/ 3156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3 w 21540282"/>
              <a:gd name="connsiteY3" fmla="*/ 192321 h 192321"/>
              <a:gd name="connsiteX4" fmla="*/ 0 w 21540282"/>
              <a:gd name="connsiteY4" fmla="*/ 3156 h 192321"/>
              <a:gd name="connsiteX0" fmla="*/ 0 w 21540282"/>
              <a:gd name="connsiteY0" fmla="*/ 347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3 w 21540282"/>
              <a:gd name="connsiteY3" fmla="*/ 192321 h 192321"/>
              <a:gd name="connsiteX4" fmla="*/ 0 w 21540282"/>
              <a:gd name="connsiteY4" fmla="*/ 347 h 192321"/>
              <a:gd name="connsiteX0" fmla="*/ 0 w 21540282"/>
              <a:gd name="connsiteY0" fmla="*/ 347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2 w 21540282"/>
              <a:gd name="connsiteY3" fmla="*/ 192321 h 192321"/>
              <a:gd name="connsiteX4" fmla="*/ 0 w 21540282"/>
              <a:gd name="connsiteY4" fmla="*/ 347 h 192321"/>
              <a:gd name="connsiteX0" fmla="*/ 0 w 21540282"/>
              <a:gd name="connsiteY0" fmla="*/ 347 h 189512"/>
              <a:gd name="connsiteX1" fmla="*/ 21540282 w 21540282"/>
              <a:gd name="connsiteY1" fmla="*/ 0 h 189512"/>
              <a:gd name="connsiteX2" fmla="*/ 19731425 w 21540282"/>
              <a:gd name="connsiteY2" fmla="*/ 189389 h 189512"/>
              <a:gd name="connsiteX3" fmla="*/ 2942 w 21540282"/>
              <a:gd name="connsiteY3" fmla="*/ 189512 h 189512"/>
              <a:gd name="connsiteX4" fmla="*/ 0 w 21540282"/>
              <a:gd name="connsiteY4" fmla="*/ 347 h 189512"/>
              <a:gd name="connsiteX0" fmla="*/ 0 w 20903501"/>
              <a:gd name="connsiteY0" fmla="*/ 347 h 189512"/>
              <a:gd name="connsiteX1" fmla="*/ 20903501 w 20903501"/>
              <a:gd name="connsiteY1" fmla="*/ 0 h 189512"/>
              <a:gd name="connsiteX2" fmla="*/ 19731425 w 20903501"/>
              <a:gd name="connsiteY2" fmla="*/ 189389 h 189512"/>
              <a:gd name="connsiteX3" fmla="*/ 2942 w 20903501"/>
              <a:gd name="connsiteY3" fmla="*/ 189512 h 189512"/>
              <a:gd name="connsiteX4" fmla="*/ 0 w 20903501"/>
              <a:gd name="connsiteY4" fmla="*/ 347 h 189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903501" h="189512">
                <a:moveTo>
                  <a:pt x="0" y="347"/>
                </a:moveTo>
                <a:lnTo>
                  <a:pt x="20903501" y="0"/>
                </a:lnTo>
                <a:lnTo>
                  <a:pt x="19731425" y="189389"/>
                </a:lnTo>
                <a:lnTo>
                  <a:pt x="2942" y="189512"/>
                </a:lnTo>
                <a:cubicBezTo>
                  <a:pt x="1961" y="125521"/>
                  <a:pt x="981" y="64338"/>
                  <a:pt x="0" y="34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</p:spTree>
    <p:extLst>
      <p:ext uri="{BB962C8B-B14F-4D97-AF65-F5344CB8AC3E}">
        <p14:creationId xmlns:p14="http://schemas.microsoft.com/office/powerpoint/2010/main" val="104047950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/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3AD9D9EF-93A8-4AD0-9293-A912F1609535}"/>
              </a:ext>
            </a:extLst>
          </p:cNvPr>
          <p:cNvSpPr/>
          <p:nvPr userDrawn="1"/>
        </p:nvSpPr>
        <p:spPr>
          <a:xfrm>
            <a:off x="8485838" y="1411872"/>
            <a:ext cx="3706162" cy="48212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/>
          </a:p>
        </p:txBody>
      </p:sp>
      <p:sp>
        <p:nvSpPr>
          <p:cNvPr id="11" name="Rectangle 3">
            <a:extLst>
              <a:ext uri="{FF2B5EF4-FFF2-40B4-BE49-F238E27FC236}">
                <a16:creationId xmlns:a16="http://schemas.microsoft.com/office/drawing/2014/main" id="{69E79D0B-0FBC-4730-8F48-331668759A21}"/>
              </a:ext>
            </a:extLst>
          </p:cNvPr>
          <p:cNvSpPr/>
          <p:nvPr userDrawn="1"/>
        </p:nvSpPr>
        <p:spPr>
          <a:xfrm>
            <a:off x="0" y="1412185"/>
            <a:ext cx="9077242" cy="482776"/>
          </a:xfrm>
          <a:custGeom>
            <a:avLst/>
            <a:gdLst>
              <a:gd name="connsiteX0" fmla="*/ 0 w 6709251"/>
              <a:gd name="connsiteY0" fmla="*/ 0 h 182880"/>
              <a:gd name="connsiteX1" fmla="*/ 6709251 w 6709251"/>
              <a:gd name="connsiteY1" fmla="*/ 0 h 182880"/>
              <a:gd name="connsiteX2" fmla="*/ 6709251 w 6709251"/>
              <a:gd name="connsiteY2" fmla="*/ 182880 h 182880"/>
              <a:gd name="connsiteX3" fmla="*/ 0 w 6709251"/>
              <a:gd name="connsiteY3" fmla="*/ 182880 h 182880"/>
              <a:gd name="connsiteX4" fmla="*/ 0 w 6709251"/>
              <a:gd name="connsiteY4" fmla="*/ 0 h 182880"/>
              <a:gd name="connsiteX0" fmla="*/ 0 w 7073510"/>
              <a:gd name="connsiteY0" fmla="*/ 0 h 182880"/>
              <a:gd name="connsiteX1" fmla="*/ 7073510 w 7073510"/>
              <a:gd name="connsiteY1" fmla="*/ 0 h 182880"/>
              <a:gd name="connsiteX2" fmla="*/ 6709251 w 7073510"/>
              <a:gd name="connsiteY2" fmla="*/ 182880 h 182880"/>
              <a:gd name="connsiteX3" fmla="*/ 0 w 7073510"/>
              <a:gd name="connsiteY3" fmla="*/ 182880 h 182880"/>
              <a:gd name="connsiteX4" fmla="*/ 0 w 7073510"/>
              <a:gd name="connsiteY4" fmla="*/ 0 h 182880"/>
              <a:gd name="connsiteX0" fmla="*/ 0 w 8678702"/>
              <a:gd name="connsiteY0" fmla="*/ 0 h 182880"/>
              <a:gd name="connsiteX1" fmla="*/ 8678702 w 8678702"/>
              <a:gd name="connsiteY1" fmla="*/ 0 h 182880"/>
              <a:gd name="connsiteX2" fmla="*/ 8314443 w 8678702"/>
              <a:gd name="connsiteY2" fmla="*/ 182880 h 182880"/>
              <a:gd name="connsiteX3" fmla="*/ 1605192 w 8678702"/>
              <a:gd name="connsiteY3" fmla="*/ 182880 h 182880"/>
              <a:gd name="connsiteX4" fmla="*/ 0 w 8678702"/>
              <a:gd name="connsiteY4" fmla="*/ 0 h 182880"/>
              <a:gd name="connsiteX0" fmla="*/ 0 w 8678702"/>
              <a:gd name="connsiteY0" fmla="*/ 0 h 186220"/>
              <a:gd name="connsiteX1" fmla="*/ 8678702 w 8678702"/>
              <a:gd name="connsiteY1" fmla="*/ 0 h 186220"/>
              <a:gd name="connsiteX2" fmla="*/ 8314443 w 8678702"/>
              <a:gd name="connsiteY2" fmla="*/ 182880 h 186220"/>
              <a:gd name="connsiteX3" fmla="*/ 6661 w 8678702"/>
              <a:gd name="connsiteY3" fmla="*/ 186220 h 186220"/>
              <a:gd name="connsiteX4" fmla="*/ 0 w 8678702"/>
              <a:gd name="connsiteY4" fmla="*/ 0 h 186220"/>
              <a:gd name="connsiteX0" fmla="*/ 133211 w 8672041"/>
              <a:gd name="connsiteY0" fmla="*/ 50097 h 186220"/>
              <a:gd name="connsiteX1" fmla="*/ 8672041 w 8672041"/>
              <a:gd name="connsiteY1" fmla="*/ 0 h 186220"/>
              <a:gd name="connsiteX2" fmla="*/ 8307782 w 8672041"/>
              <a:gd name="connsiteY2" fmla="*/ 182880 h 186220"/>
              <a:gd name="connsiteX3" fmla="*/ 0 w 8672041"/>
              <a:gd name="connsiteY3" fmla="*/ 186220 h 186220"/>
              <a:gd name="connsiteX4" fmla="*/ 133211 w 8672041"/>
              <a:gd name="connsiteY4" fmla="*/ 50097 h 186220"/>
              <a:gd name="connsiteX0" fmla="*/ 3330 w 8672041"/>
              <a:gd name="connsiteY0" fmla="*/ 3340 h 186220"/>
              <a:gd name="connsiteX1" fmla="*/ 8672041 w 8672041"/>
              <a:gd name="connsiteY1" fmla="*/ 0 h 186220"/>
              <a:gd name="connsiteX2" fmla="*/ 8307782 w 8672041"/>
              <a:gd name="connsiteY2" fmla="*/ 182880 h 186220"/>
              <a:gd name="connsiteX3" fmla="*/ 0 w 8672041"/>
              <a:gd name="connsiteY3" fmla="*/ 186220 h 186220"/>
              <a:gd name="connsiteX4" fmla="*/ 3330 w 8672041"/>
              <a:gd name="connsiteY4" fmla="*/ 3340 h 186220"/>
              <a:gd name="connsiteX0" fmla="*/ 3330 w 8672041"/>
              <a:gd name="connsiteY0" fmla="*/ 3340 h 186220"/>
              <a:gd name="connsiteX1" fmla="*/ 8672041 w 8672041"/>
              <a:gd name="connsiteY1" fmla="*/ 0 h 186220"/>
              <a:gd name="connsiteX2" fmla="*/ 8307782 w 8672041"/>
              <a:gd name="connsiteY2" fmla="*/ 182880 h 186220"/>
              <a:gd name="connsiteX3" fmla="*/ 0 w 8672041"/>
              <a:gd name="connsiteY3" fmla="*/ 186220 h 186220"/>
              <a:gd name="connsiteX4" fmla="*/ 3330 w 8672041"/>
              <a:gd name="connsiteY4" fmla="*/ 3340 h 186220"/>
              <a:gd name="connsiteX0" fmla="*/ 0 w 8674979"/>
              <a:gd name="connsiteY0" fmla="*/ 3340 h 186220"/>
              <a:gd name="connsiteX1" fmla="*/ 8674979 w 8674979"/>
              <a:gd name="connsiteY1" fmla="*/ 0 h 186220"/>
              <a:gd name="connsiteX2" fmla="*/ 8310720 w 8674979"/>
              <a:gd name="connsiteY2" fmla="*/ 182880 h 186220"/>
              <a:gd name="connsiteX3" fmla="*/ 2938 w 8674979"/>
              <a:gd name="connsiteY3" fmla="*/ 186220 h 186220"/>
              <a:gd name="connsiteX4" fmla="*/ 0 w 8674979"/>
              <a:gd name="connsiteY4" fmla="*/ 3340 h 186220"/>
              <a:gd name="connsiteX0" fmla="*/ 0 w 8674979"/>
              <a:gd name="connsiteY0" fmla="*/ 0 h 189166"/>
              <a:gd name="connsiteX1" fmla="*/ 8674979 w 8674979"/>
              <a:gd name="connsiteY1" fmla="*/ 2946 h 189166"/>
              <a:gd name="connsiteX2" fmla="*/ 8310720 w 8674979"/>
              <a:gd name="connsiteY2" fmla="*/ 185826 h 189166"/>
              <a:gd name="connsiteX3" fmla="*/ 2938 w 8674979"/>
              <a:gd name="connsiteY3" fmla="*/ 189166 h 189166"/>
              <a:gd name="connsiteX4" fmla="*/ 0 w 8674979"/>
              <a:gd name="connsiteY4" fmla="*/ 0 h 189166"/>
              <a:gd name="connsiteX0" fmla="*/ 0 w 8674979"/>
              <a:gd name="connsiteY0" fmla="*/ 444 h 189610"/>
              <a:gd name="connsiteX1" fmla="*/ 8674979 w 8674979"/>
              <a:gd name="connsiteY1" fmla="*/ 0 h 189610"/>
              <a:gd name="connsiteX2" fmla="*/ 8310720 w 8674979"/>
              <a:gd name="connsiteY2" fmla="*/ 186270 h 189610"/>
              <a:gd name="connsiteX3" fmla="*/ 2938 w 8674979"/>
              <a:gd name="connsiteY3" fmla="*/ 189610 h 189610"/>
              <a:gd name="connsiteX4" fmla="*/ 0 w 8674979"/>
              <a:gd name="connsiteY4" fmla="*/ 444 h 189610"/>
              <a:gd name="connsiteX0" fmla="*/ 0 w 8674979"/>
              <a:gd name="connsiteY0" fmla="*/ 444 h 189660"/>
              <a:gd name="connsiteX1" fmla="*/ 8674979 w 8674979"/>
              <a:gd name="connsiteY1" fmla="*/ 0 h 189660"/>
              <a:gd name="connsiteX2" fmla="*/ 8310720 w 8674979"/>
              <a:gd name="connsiteY2" fmla="*/ 189660 h 189660"/>
              <a:gd name="connsiteX3" fmla="*/ 2938 w 8674979"/>
              <a:gd name="connsiteY3" fmla="*/ 189610 h 189660"/>
              <a:gd name="connsiteX4" fmla="*/ 0 w 8674979"/>
              <a:gd name="connsiteY4" fmla="*/ 444 h 189660"/>
              <a:gd name="connsiteX0" fmla="*/ 0 w 10119577"/>
              <a:gd name="connsiteY0" fmla="*/ 0 h 189216"/>
              <a:gd name="connsiteX1" fmla="*/ 10119577 w 10119577"/>
              <a:gd name="connsiteY1" fmla="*/ 686 h 189216"/>
              <a:gd name="connsiteX2" fmla="*/ 8310720 w 10119577"/>
              <a:gd name="connsiteY2" fmla="*/ 189216 h 189216"/>
              <a:gd name="connsiteX3" fmla="*/ 2938 w 10119577"/>
              <a:gd name="connsiteY3" fmla="*/ 189166 h 189216"/>
              <a:gd name="connsiteX4" fmla="*/ 0 w 10119577"/>
              <a:gd name="connsiteY4" fmla="*/ 0 h 189216"/>
              <a:gd name="connsiteX0" fmla="*/ 0 w 10119577"/>
              <a:gd name="connsiteY0" fmla="*/ 173 h 189389"/>
              <a:gd name="connsiteX1" fmla="*/ 10119577 w 10119577"/>
              <a:gd name="connsiteY1" fmla="*/ 0 h 189389"/>
              <a:gd name="connsiteX2" fmla="*/ 8310720 w 10119577"/>
              <a:gd name="connsiteY2" fmla="*/ 189389 h 189389"/>
              <a:gd name="connsiteX3" fmla="*/ 2938 w 10119577"/>
              <a:gd name="connsiteY3" fmla="*/ 189339 h 189389"/>
              <a:gd name="connsiteX4" fmla="*/ 0 w 10119577"/>
              <a:gd name="connsiteY4" fmla="*/ 173 h 189389"/>
              <a:gd name="connsiteX0" fmla="*/ 10004 w 10129581"/>
              <a:gd name="connsiteY0" fmla="*/ 173 h 189389"/>
              <a:gd name="connsiteX1" fmla="*/ 10129581 w 10129581"/>
              <a:gd name="connsiteY1" fmla="*/ 0 h 189389"/>
              <a:gd name="connsiteX2" fmla="*/ 8320724 w 10129581"/>
              <a:gd name="connsiteY2" fmla="*/ 189389 h 189389"/>
              <a:gd name="connsiteX3" fmla="*/ 57 w 10129581"/>
              <a:gd name="connsiteY3" fmla="*/ 189339 h 189389"/>
              <a:gd name="connsiteX4" fmla="*/ 10004 w 10129581"/>
              <a:gd name="connsiteY4" fmla="*/ 173 h 189389"/>
              <a:gd name="connsiteX0" fmla="*/ 9947 w 10129524"/>
              <a:gd name="connsiteY0" fmla="*/ 173 h 189389"/>
              <a:gd name="connsiteX1" fmla="*/ 10129524 w 10129524"/>
              <a:gd name="connsiteY1" fmla="*/ 0 h 189389"/>
              <a:gd name="connsiteX2" fmla="*/ 8320667 w 10129524"/>
              <a:gd name="connsiteY2" fmla="*/ 189389 h 189389"/>
              <a:gd name="connsiteX3" fmla="*/ 0 w 10129524"/>
              <a:gd name="connsiteY3" fmla="*/ 189339 h 189389"/>
              <a:gd name="connsiteX4" fmla="*/ 9947 w 10129524"/>
              <a:gd name="connsiteY4" fmla="*/ 173 h 189389"/>
              <a:gd name="connsiteX0" fmla="*/ 9947 w 10129524"/>
              <a:gd name="connsiteY0" fmla="*/ 173 h 189389"/>
              <a:gd name="connsiteX1" fmla="*/ 10129524 w 10129524"/>
              <a:gd name="connsiteY1" fmla="*/ 0 h 189389"/>
              <a:gd name="connsiteX2" fmla="*/ 8320667 w 10129524"/>
              <a:gd name="connsiteY2" fmla="*/ 189389 h 189389"/>
              <a:gd name="connsiteX3" fmla="*/ 0 w 10129524"/>
              <a:gd name="connsiteY3" fmla="*/ 189339 h 189389"/>
              <a:gd name="connsiteX4" fmla="*/ 9947 w 10129524"/>
              <a:gd name="connsiteY4" fmla="*/ 173 h 189389"/>
              <a:gd name="connsiteX0" fmla="*/ 0 w 10119577"/>
              <a:gd name="connsiteY0" fmla="*/ 173 h 189389"/>
              <a:gd name="connsiteX1" fmla="*/ 10119577 w 10119577"/>
              <a:gd name="connsiteY1" fmla="*/ 0 h 189389"/>
              <a:gd name="connsiteX2" fmla="*/ 8310720 w 10119577"/>
              <a:gd name="connsiteY2" fmla="*/ 189389 h 189389"/>
              <a:gd name="connsiteX3" fmla="*/ 15823 w 10119577"/>
              <a:gd name="connsiteY3" fmla="*/ 189339 h 189389"/>
              <a:gd name="connsiteX4" fmla="*/ 0 w 10119577"/>
              <a:gd name="connsiteY4" fmla="*/ 173 h 189389"/>
              <a:gd name="connsiteX0" fmla="*/ 0 w 10119577"/>
              <a:gd name="connsiteY0" fmla="*/ 173 h 189389"/>
              <a:gd name="connsiteX1" fmla="*/ 10119577 w 10119577"/>
              <a:gd name="connsiteY1" fmla="*/ 0 h 189389"/>
              <a:gd name="connsiteX2" fmla="*/ 8310720 w 10119577"/>
              <a:gd name="connsiteY2" fmla="*/ 189389 h 189389"/>
              <a:gd name="connsiteX3" fmla="*/ 2938 w 10119577"/>
              <a:gd name="connsiteY3" fmla="*/ 189339 h 189389"/>
              <a:gd name="connsiteX4" fmla="*/ 0 w 10119577"/>
              <a:gd name="connsiteY4" fmla="*/ 173 h 189389"/>
              <a:gd name="connsiteX0" fmla="*/ 0 w 21540281"/>
              <a:gd name="connsiteY0" fmla="*/ 9120 h 189389"/>
              <a:gd name="connsiteX1" fmla="*/ 21540281 w 21540281"/>
              <a:gd name="connsiteY1" fmla="*/ 0 h 189389"/>
              <a:gd name="connsiteX2" fmla="*/ 19731424 w 21540281"/>
              <a:gd name="connsiteY2" fmla="*/ 189389 h 189389"/>
              <a:gd name="connsiteX3" fmla="*/ 11423642 w 21540281"/>
              <a:gd name="connsiteY3" fmla="*/ 189339 h 189389"/>
              <a:gd name="connsiteX4" fmla="*/ 0 w 21540281"/>
              <a:gd name="connsiteY4" fmla="*/ 9120 h 189389"/>
              <a:gd name="connsiteX0" fmla="*/ 0 w 21540281"/>
              <a:gd name="connsiteY0" fmla="*/ 9120 h 192321"/>
              <a:gd name="connsiteX1" fmla="*/ 21540281 w 21540281"/>
              <a:gd name="connsiteY1" fmla="*/ 0 h 192321"/>
              <a:gd name="connsiteX2" fmla="*/ 19731424 w 21540281"/>
              <a:gd name="connsiteY2" fmla="*/ 189389 h 192321"/>
              <a:gd name="connsiteX3" fmla="*/ 2942 w 21540281"/>
              <a:gd name="connsiteY3" fmla="*/ 192321 h 192321"/>
              <a:gd name="connsiteX4" fmla="*/ 0 w 21540281"/>
              <a:gd name="connsiteY4" fmla="*/ 9120 h 192321"/>
              <a:gd name="connsiteX0" fmla="*/ 0 w 21540281"/>
              <a:gd name="connsiteY0" fmla="*/ 6138 h 192321"/>
              <a:gd name="connsiteX1" fmla="*/ 21540281 w 21540281"/>
              <a:gd name="connsiteY1" fmla="*/ 0 h 192321"/>
              <a:gd name="connsiteX2" fmla="*/ 19731424 w 21540281"/>
              <a:gd name="connsiteY2" fmla="*/ 189389 h 192321"/>
              <a:gd name="connsiteX3" fmla="*/ 2942 w 21540281"/>
              <a:gd name="connsiteY3" fmla="*/ 192321 h 192321"/>
              <a:gd name="connsiteX4" fmla="*/ 0 w 21540281"/>
              <a:gd name="connsiteY4" fmla="*/ 6138 h 192321"/>
              <a:gd name="connsiteX0" fmla="*/ 2579162 w 24119443"/>
              <a:gd name="connsiteY0" fmla="*/ 6138 h 192321"/>
              <a:gd name="connsiteX1" fmla="*/ 24119443 w 24119443"/>
              <a:gd name="connsiteY1" fmla="*/ 0 h 192321"/>
              <a:gd name="connsiteX2" fmla="*/ 22310586 w 24119443"/>
              <a:gd name="connsiteY2" fmla="*/ 189389 h 192321"/>
              <a:gd name="connsiteX3" fmla="*/ 2582104 w 24119443"/>
              <a:gd name="connsiteY3" fmla="*/ 192321 h 192321"/>
              <a:gd name="connsiteX4" fmla="*/ 2579162 w 24119443"/>
              <a:gd name="connsiteY4" fmla="*/ 6138 h 192321"/>
              <a:gd name="connsiteX0" fmla="*/ 1459081 w 22999362"/>
              <a:gd name="connsiteY0" fmla="*/ 6138 h 192321"/>
              <a:gd name="connsiteX1" fmla="*/ 22999362 w 22999362"/>
              <a:gd name="connsiteY1" fmla="*/ 0 h 192321"/>
              <a:gd name="connsiteX2" fmla="*/ 21190505 w 22999362"/>
              <a:gd name="connsiteY2" fmla="*/ 189389 h 192321"/>
              <a:gd name="connsiteX3" fmla="*/ 1462023 w 22999362"/>
              <a:gd name="connsiteY3" fmla="*/ 192321 h 192321"/>
              <a:gd name="connsiteX4" fmla="*/ 1459081 w 22999362"/>
              <a:gd name="connsiteY4" fmla="*/ 6138 h 192321"/>
              <a:gd name="connsiteX0" fmla="*/ 2579108 w 24119389"/>
              <a:gd name="connsiteY0" fmla="*/ 6138 h 192321"/>
              <a:gd name="connsiteX1" fmla="*/ 24119389 w 24119389"/>
              <a:gd name="connsiteY1" fmla="*/ 0 h 192321"/>
              <a:gd name="connsiteX2" fmla="*/ 22310532 w 24119389"/>
              <a:gd name="connsiteY2" fmla="*/ 189389 h 192321"/>
              <a:gd name="connsiteX3" fmla="*/ 2582050 w 24119389"/>
              <a:gd name="connsiteY3" fmla="*/ 192321 h 192321"/>
              <a:gd name="connsiteX4" fmla="*/ 2579108 w 24119389"/>
              <a:gd name="connsiteY4" fmla="*/ 6138 h 192321"/>
              <a:gd name="connsiteX0" fmla="*/ 1594923 w 23135204"/>
              <a:gd name="connsiteY0" fmla="*/ 6138 h 192321"/>
              <a:gd name="connsiteX1" fmla="*/ 23135204 w 23135204"/>
              <a:gd name="connsiteY1" fmla="*/ 0 h 192321"/>
              <a:gd name="connsiteX2" fmla="*/ 21326347 w 23135204"/>
              <a:gd name="connsiteY2" fmla="*/ 189389 h 192321"/>
              <a:gd name="connsiteX3" fmla="*/ 1597865 w 23135204"/>
              <a:gd name="connsiteY3" fmla="*/ 192321 h 192321"/>
              <a:gd name="connsiteX4" fmla="*/ 1594923 w 23135204"/>
              <a:gd name="connsiteY4" fmla="*/ 6138 h 192321"/>
              <a:gd name="connsiteX0" fmla="*/ 1 w 21540282"/>
              <a:gd name="connsiteY0" fmla="*/ 6138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3 w 21540282"/>
              <a:gd name="connsiteY3" fmla="*/ 192321 h 192321"/>
              <a:gd name="connsiteX4" fmla="*/ 1 w 21540282"/>
              <a:gd name="connsiteY4" fmla="*/ 6138 h 192321"/>
              <a:gd name="connsiteX0" fmla="*/ 0 w 21540282"/>
              <a:gd name="connsiteY0" fmla="*/ 3156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3 w 21540282"/>
              <a:gd name="connsiteY3" fmla="*/ 192321 h 192321"/>
              <a:gd name="connsiteX4" fmla="*/ 0 w 21540282"/>
              <a:gd name="connsiteY4" fmla="*/ 3156 h 192321"/>
              <a:gd name="connsiteX0" fmla="*/ 0 w 21540282"/>
              <a:gd name="connsiteY0" fmla="*/ 347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3 w 21540282"/>
              <a:gd name="connsiteY3" fmla="*/ 192321 h 192321"/>
              <a:gd name="connsiteX4" fmla="*/ 0 w 21540282"/>
              <a:gd name="connsiteY4" fmla="*/ 347 h 192321"/>
              <a:gd name="connsiteX0" fmla="*/ 0 w 21540282"/>
              <a:gd name="connsiteY0" fmla="*/ 347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2 w 21540282"/>
              <a:gd name="connsiteY3" fmla="*/ 192321 h 192321"/>
              <a:gd name="connsiteX4" fmla="*/ 0 w 21540282"/>
              <a:gd name="connsiteY4" fmla="*/ 347 h 192321"/>
              <a:gd name="connsiteX0" fmla="*/ 0 w 21540282"/>
              <a:gd name="connsiteY0" fmla="*/ 347 h 189512"/>
              <a:gd name="connsiteX1" fmla="*/ 21540282 w 21540282"/>
              <a:gd name="connsiteY1" fmla="*/ 0 h 189512"/>
              <a:gd name="connsiteX2" fmla="*/ 19731425 w 21540282"/>
              <a:gd name="connsiteY2" fmla="*/ 189389 h 189512"/>
              <a:gd name="connsiteX3" fmla="*/ 2942 w 21540282"/>
              <a:gd name="connsiteY3" fmla="*/ 189512 h 189512"/>
              <a:gd name="connsiteX4" fmla="*/ 0 w 21540282"/>
              <a:gd name="connsiteY4" fmla="*/ 347 h 189512"/>
              <a:gd name="connsiteX0" fmla="*/ 0 w 20903501"/>
              <a:gd name="connsiteY0" fmla="*/ 347 h 189512"/>
              <a:gd name="connsiteX1" fmla="*/ 20903501 w 20903501"/>
              <a:gd name="connsiteY1" fmla="*/ 0 h 189512"/>
              <a:gd name="connsiteX2" fmla="*/ 19731425 w 20903501"/>
              <a:gd name="connsiteY2" fmla="*/ 189389 h 189512"/>
              <a:gd name="connsiteX3" fmla="*/ 2942 w 20903501"/>
              <a:gd name="connsiteY3" fmla="*/ 189512 h 189512"/>
              <a:gd name="connsiteX4" fmla="*/ 0 w 20903501"/>
              <a:gd name="connsiteY4" fmla="*/ 347 h 189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903501" h="189512">
                <a:moveTo>
                  <a:pt x="0" y="347"/>
                </a:moveTo>
                <a:lnTo>
                  <a:pt x="20903501" y="0"/>
                </a:lnTo>
                <a:lnTo>
                  <a:pt x="19731425" y="189389"/>
                </a:lnTo>
                <a:lnTo>
                  <a:pt x="2942" y="189512"/>
                </a:lnTo>
                <a:cubicBezTo>
                  <a:pt x="1961" y="125521"/>
                  <a:pt x="981" y="64338"/>
                  <a:pt x="0" y="34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2884" y="3748410"/>
            <a:ext cx="8457972" cy="984333"/>
          </a:xfrm>
        </p:spPr>
        <p:txBody>
          <a:bodyPr anchor="b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12884" y="4800478"/>
            <a:ext cx="8457972" cy="640767"/>
          </a:xfrm>
        </p:spPr>
        <p:txBody>
          <a:bodyPr>
            <a:normAutofit/>
          </a:bodyPr>
          <a:lstStyle>
            <a:lvl1pPr marL="0" indent="0" algn="l">
              <a:buNone/>
              <a:defRPr sz="1999">
                <a:solidFill>
                  <a:schemeClr val="tx1"/>
                </a:solidFill>
              </a:defRPr>
            </a:lvl1pPr>
            <a:lvl2pPr marL="4570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12883" y="5580382"/>
            <a:ext cx="3303862" cy="3651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1000">
                <a:solidFill>
                  <a:schemeClr val="tx1"/>
                </a:solidFill>
                <a:latin typeface="+mn-lt"/>
                <a:cs typeface="Arial"/>
              </a:defRPr>
            </a:lvl1pPr>
          </a:lstStyle>
          <a:p>
            <a:endParaRPr lang="en-US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38F46E6-B30F-4BB4-8F82-08AD4C6EA8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74033" y="5851214"/>
            <a:ext cx="1060725" cy="822309"/>
          </a:xfrm>
          <a:prstGeom prst="rect">
            <a:avLst/>
          </a:prstGeom>
        </p:spPr>
      </p:pic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B1B375D4-5229-42D1-ACCC-C091DAB25EB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-11117" y="1927755"/>
            <a:ext cx="3018306" cy="1706562"/>
          </a:xfr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17" name="Picture Placeholder 15">
            <a:extLst>
              <a:ext uri="{FF2B5EF4-FFF2-40B4-BE49-F238E27FC236}">
                <a16:creationId xmlns:a16="http://schemas.microsoft.com/office/drawing/2014/main" id="{9AA1076D-6C42-4BB3-BA4D-45B182AC9A43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050486" y="1927755"/>
            <a:ext cx="3018306" cy="1706562"/>
          </a:xfr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18" name="Picture Placeholder 15">
            <a:extLst>
              <a:ext uri="{FF2B5EF4-FFF2-40B4-BE49-F238E27FC236}">
                <a16:creationId xmlns:a16="http://schemas.microsoft.com/office/drawing/2014/main" id="{94262E97-B7F8-4095-A959-B2C6D66AE08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12090" y="1927755"/>
            <a:ext cx="3018306" cy="1706562"/>
          </a:xfr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19" name="Picture Placeholder 15">
            <a:extLst>
              <a:ext uri="{FF2B5EF4-FFF2-40B4-BE49-F238E27FC236}">
                <a16:creationId xmlns:a16="http://schemas.microsoft.com/office/drawing/2014/main" id="{C14C4D13-49AC-4208-BEFF-0899F4B2E2E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173694" y="1927755"/>
            <a:ext cx="3018306" cy="1706562"/>
          </a:xfr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Insert photo here</a:t>
            </a:r>
          </a:p>
        </p:txBody>
      </p:sp>
    </p:spTree>
    <p:extLst>
      <p:ext uri="{BB962C8B-B14F-4D97-AF65-F5344CB8AC3E}">
        <p14:creationId xmlns:p14="http://schemas.microsoft.com/office/powerpoint/2010/main" val="4204261775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2884" y="2817079"/>
            <a:ext cx="8457972" cy="984333"/>
          </a:xfrm>
        </p:spPr>
        <p:txBody>
          <a:bodyPr anchor="b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12884" y="3869147"/>
            <a:ext cx="8457972" cy="640767"/>
          </a:xfrm>
        </p:spPr>
        <p:txBody>
          <a:bodyPr>
            <a:normAutofit/>
          </a:bodyPr>
          <a:lstStyle>
            <a:lvl1pPr marL="0" indent="0" algn="l">
              <a:buNone/>
              <a:defRPr sz="1999">
                <a:solidFill>
                  <a:schemeClr val="tx1"/>
                </a:solidFill>
              </a:defRPr>
            </a:lvl1pPr>
            <a:lvl2pPr marL="4570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A85F325-7987-4A1E-820A-9A64A1B13356}"/>
              </a:ext>
            </a:extLst>
          </p:cNvPr>
          <p:cNvSpPr/>
          <p:nvPr userDrawn="1"/>
        </p:nvSpPr>
        <p:spPr>
          <a:xfrm>
            <a:off x="8485838" y="2209313"/>
            <a:ext cx="3706162" cy="48212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/>
          </a:p>
        </p:txBody>
      </p:sp>
      <p:sp>
        <p:nvSpPr>
          <p:cNvPr id="13" name="Rectangle 3">
            <a:extLst>
              <a:ext uri="{FF2B5EF4-FFF2-40B4-BE49-F238E27FC236}">
                <a16:creationId xmlns:a16="http://schemas.microsoft.com/office/drawing/2014/main" id="{352936BF-BEFE-420D-886B-904153FF49AA}"/>
              </a:ext>
            </a:extLst>
          </p:cNvPr>
          <p:cNvSpPr/>
          <p:nvPr userDrawn="1"/>
        </p:nvSpPr>
        <p:spPr>
          <a:xfrm>
            <a:off x="0" y="2209626"/>
            <a:ext cx="9077242" cy="482776"/>
          </a:xfrm>
          <a:custGeom>
            <a:avLst/>
            <a:gdLst>
              <a:gd name="connsiteX0" fmla="*/ 0 w 6709251"/>
              <a:gd name="connsiteY0" fmla="*/ 0 h 182880"/>
              <a:gd name="connsiteX1" fmla="*/ 6709251 w 6709251"/>
              <a:gd name="connsiteY1" fmla="*/ 0 h 182880"/>
              <a:gd name="connsiteX2" fmla="*/ 6709251 w 6709251"/>
              <a:gd name="connsiteY2" fmla="*/ 182880 h 182880"/>
              <a:gd name="connsiteX3" fmla="*/ 0 w 6709251"/>
              <a:gd name="connsiteY3" fmla="*/ 182880 h 182880"/>
              <a:gd name="connsiteX4" fmla="*/ 0 w 6709251"/>
              <a:gd name="connsiteY4" fmla="*/ 0 h 182880"/>
              <a:gd name="connsiteX0" fmla="*/ 0 w 7073510"/>
              <a:gd name="connsiteY0" fmla="*/ 0 h 182880"/>
              <a:gd name="connsiteX1" fmla="*/ 7073510 w 7073510"/>
              <a:gd name="connsiteY1" fmla="*/ 0 h 182880"/>
              <a:gd name="connsiteX2" fmla="*/ 6709251 w 7073510"/>
              <a:gd name="connsiteY2" fmla="*/ 182880 h 182880"/>
              <a:gd name="connsiteX3" fmla="*/ 0 w 7073510"/>
              <a:gd name="connsiteY3" fmla="*/ 182880 h 182880"/>
              <a:gd name="connsiteX4" fmla="*/ 0 w 7073510"/>
              <a:gd name="connsiteY4" fmla="*/ 0 h 182880"/>
              <a:gd name="connsiteX0" fmla="*/ 0 w 8678702"/>
              <a:gd name="connsiteY0" fmla="*/ 0 h 182880"/>
              <a:gd name="connsiteX1" fmla="*/ 8678702 w 8678702"/>
              <a:gd name="connsiteY1" fmla="*/ 0 h 182880"/>
              <a:gd name="connsiteX2" fmla="*/ 8314443 w 8678702"/>
              <a:gd name="connsiteY2" fmla="*/ 182880 h 182880"/>
              <a:gd name="connsiteX3" fmla="*/ 1605192 w 8678702"/>
              <a:gd name="connsiteY3" fmla="*/ 182880 h 182880"/>
              <a:gd name="connsiteX4" fmla="*/ 0 w 8678702"/>
              <a:gd name="connsiteY4" fmla="*/ 0 h 182880"/>
              <a:gd name="connsiteX0" fmla="*/ 0 w 8678702"/>
              <a:gd name="connsiteY0" fmla="*/ 0 h 186220"/>
              <a:gd name="connsiteX1" fmla="*/ 8678702 w 8678702"/>
              <a:gd name="connsiteY1" fmla="*/ 0 h 186220"/>
              <a:gd name="connsiteX2" fmla="*/ 8314443 w 8678702"/>
              <a:gd name="connsiteY2" fmla="*/ 182880 h 186220"/>
              <a:gd name="connsiteX3" fmla="*/ 6661 w 8678702"/>
              <a:gd name="connsiteY3" fmla="*/ 186220 h 186220"/>
              <a:gd name="connsiteX4" fmla="*/ 0 w 8678702"/>
              <a:gd name="connsiteY4" fmla="*/ 0 h 186220"/>
              <a:gd name="connsiteX0" fmla="*/ 133211 w 8672041"/>
              <a:gd name="connsiteY0" fmla="*/ 50097 h 186220"/>
              <a:gd name="connsiteX1" fmla="*/ 8672041 w 8672041"/>
              <a:gd name="connsiteY1" fmla="*/ 0 h 186220"/>
              <a:gd name="connsiteX2" fmla="*/ 8307782 w 8672041"/>
              <a:gd name="connsiteY2" fmla="*/ 182880 h 186220"/>
              <a:gd name="connsiteX3" fmla="*/ 0 w 8672041"/>
              <a:gd name="connsiteY3" fmla="*/ 186220 h 186220"/>
              <a:gd name="connsiteX4" fmla="*/ 133211 w 8672041"/>
              <a:gd name="connsiteY4" fmla="*/ 50097 h 186220"/>
              <a:gd name="connsiteX0" fmla="*/ 3330 w 8672041"/>
              <a:gd name="connsiteY0" fmla="*/ 3340 h 186220"/>
              <a:gd name="connsiteX1" fmla="*/ 8672041 w 8672041"/>
              <a:gd name="connsiteY1" fmla="*/ 0 h 186220"/>
              <a:gd name="connsiteX2" fmla="*/ 8307782 w 8672041"/>
              <a:gd name="connsiteY2" fmla="*/ 182880 h 186220"/>
              <a:gd name="connsiteX3" fmla="*/ 0 w 8672041"/>
              <a:gd name="connsiteY3" fmla="*/ 186220 h 186220"/>
              <a:gd name="connsiteX4" fmla="*/ 3330 w 8672041"/>
              <a:gd name="connsiteY4" fmla="*/ 3340 h 186220"/>
              <a:gd name="connsiteX0" fmla="*/ 3330 w 8672041"/>
              <a:gd name="connsiteY0" fmla="*/ 3340 h 186220"/>
              <a:gd name="connsiteX1" fmla="*/ 8672041 w 8672041"/>
              <a:gd name="connsiteY1" fmla="*/ 0 h 186220"/>
              <a:gd name="connsiteX2" fmla="*/ 8307782 w 8672041"/>
              <a:gd name="connsiteY2" fmla="*/ 182880 h 186220"/>
              <a:gd name="connsiteX3" fmla="*/ 0 w 8672041"/>
              <a:gd name="connsiteY3" fmla="*/ 186220 h 186220"/>
              <a:gd name="connsiteX4" fmla="*/ 3330 w 8672041"/>
              <a:gd name="connsiteY4" fmla="*/ 3340 h 186220"/>
              <a:gd name="connsiteX0" fmla="*/ 0 w 8674979"/>
              <a:gd name="connsiteY0" fmla="*/ 3340 h 186220"/>
              <a:gd name="connsiteX1" fmla="*/ 8674979 w 8674979"/>
              <a:gd name="connsiteY1" fmla="*/ 0 h 186220"/>
              <a:gd name="connsiteX2" fmla="*/ 8310720 w 8674979"/>
              <a:gd name="connsiteY2" fmla="*/ 182880 h 186220"/>
              <a:gd name="connsiteX3" fmla="*/ 2938 w 8674979"/>
              <a:gd name="connsiteY3" fmla="*/ 186220 h 186220"/>
              <a:gd name="connsiteX4" fmla="*/ 0 w 8674979"/>
              <a:gd name="connsiteY4" fmla="*/ 3340 h 186220"/>
              <a:gd name="connsiteX0" fmla="*/ 0 w 8674979"/>
              <a:gd name="connsiteY0" fmla="*/ 0 h 189166"/>
              <a:gd name="connsiteX1" fmla="*/ 8674979 w 8674979"/>
              <a:gd name="connsiteY1" fmla="*/ 2946 h 189166"/>
              <a:gd name="connsiteX2" fmla="*/ 8310720 w 8674979"/>
              <a:gd name="connsiteY2" fmla="*/ 185826 h 189166"/>
              <a:gd name="connsiteX3" fmla="*/ 2938 w 8674979"/>
              <a:gd name="connsiteY3" fmla="*/ 189166 h 189166"/>
              <a:gd name="connsiteX4" fmla="*/ 0 w 8674979"/>
              <a:gd name="connsiteY4" fmla="*/ 0 h 189166"/>
              <a:gd name="connsiteX0" fmla="*/ 0 w 8674979"/>
              <a:gd name="connsiteY0" fmla="*/ 444 h 189610"/>
              <a:gd name="connsiteX1" fmla="*/ 8674979 w 8674979"/>
              <a:gd name="connsiteY1" fmla="*/ 0 h 189610"/>
              <a:gd name="connsiteX2" fmla="*/ 8310720 w 8674979"/>
              <a:gd name="connsiteY2" fmla="*/ 186270 h 189610"/>
              <a:gd name="connsiteX3" fmla="*/ 2938 w 8674979"/>
              <a:gd name="connsiteY3" fmla="*/ 189610 h 189610"/>
              <a:gd name="connsiteX4" fmla="*/ 0 w 8674979"/>
              <a:gd name="connsiteY4" fmla="*/ 444 h 189610"/>
              <a:gd name="connsiteX0" fmla="*/ 0 w 8674979"/>
              <a:gd name="connsiteY0" fmla="*/ 444 h 189660"/>
              <a:gd name="connsiteX1" fmla="*/ 8674979 w 8674979"/>
              <a:gd name="connsiteY1" fmla="*/ 0 h 189660"/>
              <a:gd name="connsiteX2" fmla="*/ 8310720 w 8674979"/>
              <a:gd name="connsiteY2" fmla="*/ 189660 h 189660"/>
              <a:gd name="connsiteX3" fmla="*/ 2938 w 8674979"/>
              <a:gd name="connsiteY3" fmla="*/ 189610 h 189660"/>
              <a:gd name="connsiteX4" fmla="*/ 0 w 8674979"/>
              <a:gd name="connsiteY4" fmla="*/ 444 h 189660"/>
              <a:gd name="connsiteX0" fmla="*/ 0 w 10119577"/>
              <a:gd name="connsiteY0" fmla="*/ 0 h 189216"/>
              <a:gd name="connsiteX1" fmla="*/ 10119577 w 10119577"/>
              <a:gd name="connsiteY1" fmla="*/ 686 h 189216"/>
              <a:gd name="connsiteX2" fmla="*/ 8310720 w 10119577"/>
              <a:gd name="connsiteY2" fmla="*/ 189216 h 189216"/>
              <a:gd name="connsiteX3" fmla="*/ 2938 w 10119577"/>
              <a:gd name="connsiteY3" fmla="*/ 189166 h 189216"/>
              <a:gd name="connsiteX4" fmla="*/ 0 w 10119577"/>
              <a:gd name="connsiteY4" fmla="*/ 0 h 189216"/>
              <a:gd name="connsiteX0" fmla="*/ 0 w 10119577"/>
              <a:gd name="connsiteY0" fmla="*/ 173 h 189389"/>
              <a:gd name="connsiteX1" fmla="*/ 10119577 w 10119577"/>
              <a:gd name="connsiteY1" fmla="*/ 0 h 189389"/>
              <a:gd name="connsiteX2" fmla="*/ 8310720 w 10119577"/>
              <a:gd name="connsiteY2" fmla="*/ 189389 h 189389"/>
              <a:gd name="connsiteX3" fmla="*/ 2938 w 10119577"/>
              <a:gd name="connsiteY3" fmla="*/ 189339 h 189389"/>
              <a:gd name="connsiteX4" fmla="*/ 0 w 10119577"/>
              <a:gd name="connsiteY4" fmla="*/ 173 h 189389"/>
              <a:gd name="connsiteX0" fmla="*/ 10004 w 10129581"/>
              <a:gd name="connsiteY0" fmla="*/ 173 h 189389"/>
              <a:gd name="connsiteX1" fmla="*/ 10129581 w 10129581"/>
              <a:gd name="connsiteY1" fmla="*/ 0 h 189389"/>
              <a:gd name="connsiteX2" fmla="*/ 8320724 w 10129581"/>
              <a:gd name="connsiteY2" fmla="*/ 189389 h 189389"/>
              <a:gd name="connsiteX3" fmla="*/ 57 w 10129581"/>
              <a:gd name="connsiteY3" fmla="*/ 189339 h 189389"/>
              <a:gd name="connsiteX4" fmla="*/ 10004 w 10129581"/>
              <a:gd name="connsiteY4" fmla="*/ 173 h 189389"/>
              <a:gd name="connsiteX0" fmla="*/ 9947 w 10129524"/>
              <a:gd name="connsiteY0" fmla="*/ 173 h 189389"/>
              <a:gd name="connsiteX1" fmla="*/ 10129524 w 10129524"/>
              <a:gd name="connsiteY1" fmla="*/ 0 h 189389"/>
              <a:gd name="connsiteX2" fmla="*/ 8320667 w 10129524"/>
              <a:gd name="connsiteY2" fmla="*/ 189389 h 189389"/>
              <a:gd name="connsiteX3" fmla="*/ 0 w 10129524"/>
              <a:gd name="connsiteY3" fmla="*/ 189339 h 189389"/>
              <a:gd name="connsiteX4" fmla="*/ 9947 w 10129524"/>
              <a:gd name="connsiteY4" fmla="*/ 173 h 189389"/>
              <a:gd name="connsiteX0" fmla="*/ 9947 w 10129524"/>
              <a:gd name="connsiteY0" fmla="*/ 173 h 189389"/>
              <a:gd name="connsiteX1" fmla="*/ 10129524 w 10129524"/>
              <a:gd name="connsiteY1" fmla="*/ 0 h 189389"/>
              <a:gd name="connsiteX2" fmla="*/ 8320667 w 10129524"/>
              <a:gd name="connsiteY2" fmla="*/ 189389 h 189389"/>
              <a:gd name="connsiteX3" fmla="*/ 0 w 10129524"/>
              <a:gd name="connsiteY3" fmla="*/ 189339 h 189389"/>
              <a:gd name="connsiteX4" fmla="*/ 9947 w 10129524"/>
              <a:gd name="connsiteY4" fmla="*/ 173 h 189389"/>
              <a:gd name="connsiteX0" fmla="*/ 0 w 10119577"/>
              <a:gd name="connsiteY0" fmla="*/ 173 h 189389"/>
              <a:gd name="connsiteX1" fmla="*/ 10119577 w 10119577"/>
              <a:gd name="connsiteY1" fmla="*/ 0 h 189389"/>
              <a:gd name="connsiteX2" fmla="*/ 8310720 w 10119577"/>
              <a:gd name="connsiteY2" fmla="*/ 189389 h 189389"/>
              <a:gd name="connsiteX3" fmla="*/ 15823 w 10119577"/>
              <a:gd name="connsiteY3" fmla="*/ 189339 h 189389"/>
              <a:gd name="connsiteX4" fmla="*/ 0 w 10119577"/>
              <a:gd name="connsiteY4" fmla="*/ 173 h 189389"/>
              <a:gd name="connsiteX0" fmla="*/ 0 w 10119577"/>
              <a:gd name="connsiteY0" fmla="*/ 173 h 189389"/>
              <a:gd name="connsiteX1" fmla="*/ 10119577 w 10119577"/>
              <a:gd name="connsiteY1" fmla="*/ 0 h 189389"/>
              <a:gd name="connsiteX2" fmla="*/ 8310720 w 10119577"/>
              <a:gd name="connsiteY2" fmla="*/ 189389 h 189389"/>
              <a:gd name="connsiteX3" fmla="*/ 2938 w 10119577"/>
              <a:gd name="connsiteY3" fmla="*/ 189339 h 189389"/>
              <a:gd name="connsiteX4" fmla="*/ 0 w 10119577"/>
              <a:gd name="connsiteY4" fmla="*/ 173 h 189389"/>
              <a:gd name="connsiteX0" fmla="*/ 0 w 21540281"/>
              <a:gd name="connsiteY0" fmla="*/ 9120 h 189389"/>
              <a:gd name="connsiteX1" fmla="*/ 21540281 w 21540281"/>
              <a:gd name="connsiteY1" fmla="*/ 0 h 189389"/>
              <a:gd name="connsiteX2" fmla="*/ 19731424 w 21540281"/>
              <a:gd name="connsiteY2" fmla="*/ 189389 h 189389"/>
              <a:gd name="connsiteX3" fmla="*/ 11423642 w 21540281"/>
              <a:gd name="connsiteY3" fmla="*/ 189339 h 189389"/>
              <a:gd name="connsiteX4" fmla="*/ 0 w 21540281"/>
              <a:gd name="connsiteY4" fmla="*/ 9120 h 189389"/>
              <a:gd name="connsiteX0" fmla="*/ 0 w 21540281"/>
              <a:gd name="connsiteY0" fmla="*/ 9120 h 192321"/>
              <a:gd name="connsiteX1" fmla="*/ 21540281 w 21540281"/>
              <a:gd name="connsiteY1" fmla="*/ 0 h 192321"/>
              <a:gd name="connsiteX2" fmla="*/ 19731424 w 21540281"/>
              <a:gd name="connsiteY2" fmla="*/ 189389 h 192321"/>
              <a:gd name="connsiteX3" fmla="*/ 2942 w 21540281"/>
              <a:gd name="connsiteY3" fmla="*/ 192321 h 192321"/>
              <a:gd name="connsiteX4" fmla="*/ 0 w 21540281"/>
              <a:gd name="connsiteY4" fmla="*/ 9120 h 192321"/>
              <a:gd name="connsiteX0" fmla="*/ 0 w 21540281"/>
              <a:gd name="connsiteY0" fmla="*/ 6138 h 192321"/>
              <a:gd name="connsiteX1" fmla="*/ 21540281 w 21540281"/>
              <a:gd name="connsiteY1" fmla="*/ 0 h 192321"/>
              <a:gd name="connsiteX2" fmla="*/ 19731424 w 21540281"/>
              <a:gd name="connsiteY2" fmla="*/ 189389 h 192321"/>
              <a:gd name="connsiteX3" fmla="*/ 2942 w 21540281"/>
              <a:gd name="connsiteY3" fmla="*/ 192321 h 192321"/>
              <a:gd name="connsiteX4" fmla="*/ 0 w 21540281"/>
              <a:gd name="connsiteY4" fmla="*/ 6138 h 192321"/>
              <a:gd name="connsiteX0" fmla="*/ 2579162 w 24119443"/>
              <a:gd name="connsiteY0" fmla="*/ 6138 h 192321"/>
              <a:gd name="connsiteX1" fmla="*/ 24119443 w 24119443"/>
              <a:gd name="connsiteY1" fmla="*/ 0 h 192321"/>
              <a:gd name="connsiteX2" fmla="*/ 22310586 w 24119443"/>
              <a:gd name="connsiteY2" fmla="*/ 189389 h 192321"/>
              <a:gd name="connsiteX3" fmla="*/ 2582104 w 24119443"/>
              <a:gd name="connsiteY3" fmla="*/ 192321 h 192321"/>
              <a:gd name="connsiteX4" fmla="*/ 2579162 w 24119443"/>
              <a:gd name="connsiteY4" fmla="*/ 6138 h 192321"/>
              <a:gd name="connsiteX0" fmla="*/ 1459081 w 22999362"/>
              <a:gd name="connsiteY0" fmla="*/ 6138 h 192321"/>
              <a:gd name="connsiteX1" fmla="*/ 22999362 w 22999362"/>
              <a:gd name="connsiteY1" fmla="*/ 0 h 192321"/>
              <a:gd name="connsiteX2" fmla="*/ 21190505 w 22999362"/>
              <a:gd name="connsiteY2" fmla="*/ 189389 h 192321"/>
              <a:gd name="connsiteX3" fmla="*/ 1462023 w 22999362"/>
              <a:gd name="connsiteY3" fmla="*/ 192321 h 192321"/>
              <a:gd name="connsiteX4" fmla="*/ 1459081 w 22999362"/>
              <a:gd name="connsiteY4" fmla="*/ 6138 h 192321"/>
              <a:gd name="connsiteX0" fmla="*/ 2579108 w 24119389"/>
              <a:gd name="connsiteY0" fmla="*/ 6138 h 192321"/>
              <a:gd name="connsiteX1" fmla="*/ 24119389 w 24119389"/>
              <a:gd name="connsiteY1" fmla="*/ 0 h 192321"/>
              <a:gd name="connsiteX2" fmla="*/ 22310532 w 24119389"/>
              <a:gd name="connsiteY2" fmla="*/ 189389 h 192321"/>
              <a:gd name="connsiteX3" fmla="*/ 2582050 w 24119389"/>
              <a:gd name="connsiteY3" fmla="*/ 192321 h 192321"/>
              <a:gd name="connsiteX4" fmla="*/ 2579108 w 24119389"/>
              <a:gd name="connsiteY4" fmla="*/ 6138 h 192321"/>
              <a:gd name="connsiteX0" fmla="*/ 1594923 w 23135204"/>
              <a:gd name="connsiteY0" fmla="*/ 6138 h 192321"/>
              <a:gd name="connsiteX1" fmla="*/ 23135204 w 23135204"/>
              <a:gd name="connsiteY1" fmla="*/ 0 h 192321"/>
              <a:gd name="connsiteX2" fmla="*/ 21326347 w 23135204"/>
              <a:gd name="connsiteY2" fmla="*/ 189389 h 192321"/>
              <a:gd name="connsiteX3" fmla="*/ 1597865 w 23135204"/>
              <a:gd name="connsiteY3" fmla="*/ 192321 h 192321"/>
              <a:gd name="connsiteX4" fmla="*/ 1594923 w 23135204"/>
              <a:gd name="connsiteY4" fmla="*/ 6138 h 192321"/>
              <a:gd name="connsiteX0" fmla="*/ 1 w 21540282"/>
              <a:gd name="connsiteY0" fmla="*/ 6138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3 w 21540282"/>
              <a:gd name="connsiteY3" fmla="*/ 192321 h 192321"/>
              <a:gd name="connsiteX4" fmla="*/ 1 w 21540282"/>
              <a:gd name="connsiteY4" fmla="*/ 6138 h 192321"/>
              <a:gd name="connsiteX0" fmla="*/ 0 w 21540282"/>
              <a:gd name="connsiteY0" fmla="*/ 3156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3 w 21540282"/>
              <a:gd name="connsiteY3" fmla="*/ 192321 h 192321"/>
              <a:gd name="connsiteX4" fmla="*/ 0 w 21540282"/>
              <a:gd name="connsiteY4" fmla="*/ 3156 h 192321"/>
              <a:gd name="connsiteX0" fmla="*/ 0 w 21540282"/>
              <a:gd name="connsiteY0" fmla="*/ 347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3 w 21540282"/>
              <a:gd name="connsiteY3" fmla="*/ 192321 h 192321"/>
              <a:gd name="connsiteX4" fmla="*/ 0 w 21540282"/>
              <a:gd name="connsiteY4" fmla="*/ 347 h 192321"/>
              <a:gd name="connsiteX0" fmla="*/ 0 w 21540282"/>
              <a:gd name="connsiteY0" fmla="*/ 347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2 w 21540282"/>
              <a:gd name="connsiteY3" fmla="*/ 192321 h 192321"/>
              <a:gd name="connsiteX4" fmla="*/ 0 w 21540282"/>
              <a:gd name="connsiteY4" fmla="*/ 347 h 192321"/>
              <a:gd name="connsiteX0" fmla="*/ 0 w 21540282"/>
              <a:gd name="connsiteY0" fmla="*/ 347 h 189512"/>
              <a:gd name="connsiteX1" fmla="*/ 21540282 w 21540282"/>
              <a:gd name="connsiteY1" fmla="*/ 0 h 189512"/>
              <a:gd name="connsiteX2" fmla="*/ 19731425 w 21540282"/>
              <a:gd name="connsiteY2" fmla="*/ 189389 h 189512"/>
              <a:gd name="connsiteX3" fmla="*/ 2942 w 21540282"/>
              <a:gd name="connsiteY3" fmla="*/ 189512 h 189512"/>
              <a:gd name="connsiteX4" fmla="*/ 0 w 21540282"/>
              <a:gd name="connsiteY4" fmla="*/ 347 h 189512"/>
              <a:gd name="connsiteX0" fmla="*/ 0 w 20903501"/>
              <a:gd name="connsiteY0" fmla="*/ 347 h 189512"/>
              <a:gd name="connsiteX1" fmla="*/ 20903501 w 20903501"/>
              <a:gd name="connsiteY1" fmla="*/ 0 h 189512"/>
              <a:gd name="connsiteX2" fmla="*/ 19731425 w 20903501"/>
              <a:gd name="connsiteY2" fmla="*/ 189389 h 189512"/>
              <a:gd name="connsiteX3" fmla="*/ 2942 w 20903501"/>
              <a:gd name="connsiteY3" fmla="*/ 189512 h 189512"/>
              <a:gd name="connsiteX4" fmla="*/ 0 w 20903501"/>
              <a:gd name="connsiteY4" fmla="*/ 347 h 189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903501" h="189512">
                <a:moveTo>
                  <a:pt x="0" y="347"/>
                </a:moveTo>
                <a:lnTo>
                  <a:pt x="20903501" y="0"/>
                </a:lnTo>
                <a:lnTo>
                  <a:pt x="19731425" y="189389"/>
                </a:lnTo>
                <a:lnTo>
                  <a:pt x="2942" y="189512"/>
                </a:lnTo>
                <a:cubicBezTo>
                  <a:pt x="1961" y="125521"/>
                  <a:pt x="981" y="64338"/>
                  <a:pt x="0" y="34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355EA5B-0213-49CD-B934-926AAD46209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74033" y="5851214"/>
            <a:ext cx="1060725" cy="822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260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D9C4343-C115-504A-8D4F-0B17318D4A4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12884" y="1274826"/>
            <a:ext cx="11670783" cy="47132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itle 3"/>
          <p:cNvSpPr>
            <a:spLocks noGrp="1"/>
          </p:cNvSpPr>
          <p:nvPr>
            <p:ph type="title"/>
          </p:nvPr>
        </p:nvSpPr>
        <p:spPr>
          <a:xfrm>
            <a:off x="312884" y="323848"/>
            <a:ext cx="11670783" cy="8595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437273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2884" y="323850"/>
            <a:ext cx="11670783" cy="8595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9C4343-C115-504A-8D4F-0B17318D4A48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3"/>
          </p:nvPr>
        </p:nvSpPr>
        <p:spPr>
          <a:xfrm>
            <a:off x="312882" y="1274826"/>
            <a:ext cx="5701471" cy="4713224"/>
          </a:xfrm>
        </p:spPr>
        <p:txBody>
          <a:bodyPr/>
          <a:lstStyle>
            <a:lvl8pPr>
              <a:defRPr baseline="0"/>
            </a:lvl8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4"/>
          </p:nvPr>
        </p:nvSpPr>
        <p:spPr>
          <a:xfrm>
            <a:off x="6280926" y="1274826"/>
            <a:ext cx="5701471" cy="4713224"/>
          </a:xfrm>
        </p:spPr>
        <p:txBody>
          <a:bodyPr/>
          <a:lstStyle>
            <a:lvl8pPr>
              <a:defRPr baseline="0"/>
            </a:lvl8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0997821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12882" y="1274826"/>
            <a:ext cx="5698196" cy="800100"/>
          </a:xfrm>
        </p:spPr>
        <p:txBody>
          <a:bodyPr anchor="t" anchorCtr="0">
            <a:normAutofit/>
          </a:bodyPr>
          <a:lstStyle>
            <a:lvl1pPr marL="0" indent="0">
              <a:buNone/>
              <a:defRPr sz="2199" b="1">
                <a:solidFill>
                  <a:schemeClr val="accent1"/>
                </a:solidFill>
              </a:defRPr>
            </a:lvl1pPr>
            <a:lvl2pPr marL="457063" indent="0">
              <a:buNone/>
              <a:defRPr sz="1999" b="1"/>
            </a:lvl2pPr>
            <a:lvl3pPr marL="914126" indent="0">
              <a:buNone/>
              <a:defRPr sz="1799" b="1"/>
            </a:lvl3pPr>
            <a:lvl4pPr marL="1371189" indent="0">
              <a:buNone/>
              <a:defRPr sz="1600" b="1"/>
            </a:lvl4pPr>
            <a:lvl5pPr marL="1828251" indent="0">
              <a:buNone/>
              <a:defRPr sz="1600" b="1"/>
            </a:lvl5pPr>
            <a:lvl6pPr marL="2285314" indent="0">
              <a:buNone/>
              <a:defRPr sz="1600" b="1"/>
            </a:lvl6pPr>
            <a:lvl7pPr marL="2742377" indent="0">
              <a:buNone/>
              <a:defRPr sz="1600" b="1"/>
            </a:lvl7pPr>
            <a:lvl8pPr marL="3199440" indent="0">
              <a:buNone/>
              <a:defRPr sz="1600" b="1"/>
            </a:lvl8pPr>
            <a:lvl9pPr marL="3656503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/>
          </a:bodyPr>
          <a:lstStyle/>
          <a:p>
            <a:fld id="{FD9C4343-C115-504A-8D4F-0B17318D4A48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312884" y="323850"/>
            <a:ext cx="11670783" cy="859536"/>
          </a:xfrm>
        </p:spPr>
        <p:txBody>
          <a:bodyPr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3"/>
          </p:nvPr>
        </p:nvSpPr>
        <p:spPr>
          <a:xfrm>
            <a:off x="312882" y="2217798"/>
            <a:ext cx="5698196" cy="3770252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idx="14"/>
          </p:nvPr>
        </p:nvSpPr>
        <p:spPr>
          <a:xfrm>
            <a:off x="6285470" y="1274826"/>
            <a:ext cx="5698196" cy="800100"/>
          </a:xfrm>
        </p:spPr>
        <p:txBody>
          <a:bodyPr anchor="t" anchorCtr="0">
            <a:normAutofit/>
          </a:bodyPr>
          <a:lstStyle>
            <a:lvl1pPr marL="0" indent="0">
              <a:buNone/>
              <a:defRPr sz="2199" b="1">
                <a:solidFill>
                  <a:schemeClr val="accent1"/>
                </a:solidFill>
              </a:defRPr>
            </a:lvl1pPr>
            <a:lvl2pPr marL="457063" indent="0">
              <a:buNone/>
              <a:defRPr sz="1999" b="1"/>
            </a:lvl2pPr>
            <a:lvl3pPr marL="914126" indent="0">
              <a:buNone/>
              <a:defRPr sz="1799" b="1"/>
            </a:lvl3pPr>
            <a:lvl4pPr marL="1371189" indent="0">
              <a:buNone/>
              <a:defRPr sz="1600" b="1"/>
            </a:lvl4pPr>
            <a:lvl5pPr marL="1828251" indent="0">
              <a:buNone/>
              <a:defRPr sz="1600" b="1"/>
            </a:lvl5pPr>
            <a:lvl6pPr marL="2285314" indent="0">
              <a:buNone/>
              <a:defRPr sz="1600" b="1"/>
            </a:lvl6pPr>
            <a:lvl7pPr marL="2742377" indent="0">
              <a:buNone/>
              <a:defRPr sz="1600" b="1"/>
            </a:lvl7pPr>
            <a:lvl8pPr marL="3199440" indent="0">
              <a:buNone/>
              <a:defRPr sz="1600" b="1"/>
            </a:lvl8pPr>
            <a:lvl9pPr marL="3656503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5"/>
          </p:nvPr>
        </p:nvSpPr>
        <p:spPr>
          <a:xfrm>
            <a:off x="6285470" y="2217798"/>
            <a:ext cx="5698196" cy="3770252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41355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dra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2883" y="323851"/>
            <a:ext cx="11670783" cy="859536"/>
          </a:xfrm>
        </p:spPr>
        <p:txBody>
          <a:bodyPr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/>
          </a:bodyPr>
          <a:lstStyle/>
          <a:p>
            <a:fld id="{FD9C4343-C115-504A-8D4F-0B17318D4A48}" type="slidenum">
              <a:rPr lang="en-US" smtClean="0"/>
              <a:t>‹#›</a:t>
            </a:fld>
            <a:endParaRPr lang="en-US"/>
          </a:p>
        </p:txBody>
      </p:sp>
      <p:sp>
        <p:nvSpPr>
          <p:cNvPr id="16" name="Content Placeholder 2"/>
          <p:cNvSpPr>
            <a:spLocks noGrp="1"/>
          </p:cNvSpPr>
          <p:nvPr>
            <p:ph idx="15"/>
          </p:nvPr>
        </p:nvSpPr>
        <p:spPr>
          <a:xfrm>
            <a:off x="312882" y="1272029"/>
            <a:ext cx="5698196" cy="2252222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Content Placeholder 2"/>
          <p:cNvSpPr>
            <a:spLocks noGrp="1"/>
          </p:cNvSpPr>
          <p:nvPr>
            <p:ph idx="16"/>
          </p:nvPr>
        </p:nvSpPr>
        <p:spPr>
          <a:xfrm>
            <a:off x="312882" y="3740212"/>
            <a:ext cx="5698196" cy="2252222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2"/>
          <p:cNvSpPr>
            <a:spLocks noGrp="1"/>
          </p:cNvSpPr>
          <p:nvPr>
            <p:ph idx="17"/>
          </p:nvPr>
        </p:nvSpPr>
        <p:spPr>
          <a:xfrm>
            <a:off x="6285470" y="1272029"/>
            <a:ext cx="5698196" cy="2252222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idx="18"/>
          </p:nvPr>
        </p:nvSpPr>
        <p:spPr>
          <a:xfrm>
            <a:off x="6285470" y="3740212"/>
            <a:ext cx="5698196" cy="2252222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6656968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Column_Right Two Quadra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2884" y="323850"/>
            <a:ext cx="11670783" cy="859536"/>
          </a:xfrm>
        </p:spPr>
        <p:txBody>
          <a:bodyPr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9C4343-C115-504A-8D4F-0B17318D4A48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>
          <a:xfrm>
            <a:off x="312882" y="1272033"/>
            <a:ext cx="5698196" cy="471602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6285470" y="1272029"/>
            <a:ext cx="5698196" cy="225222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>
          <a:xfrm>
            <a:off x="6285470" y="3740212"/>
            <a:ext cx="5698196" cy="225222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3671623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Column_Left Two Quadra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2884" y="323851"/>
            <a:ext cx="11670783" cy="859536"/>
          </a:xfrm>
        </p:spPr>
        <p:txBody>
          <a:bodyPr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/>
          </a:bodyPr>
          <a:lstStyle/>
          <a:p>
            <a:fld id="{FD9C4343-C115-504A-8D4F-0B17318D4A48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6285470" y="1272033"/>
            <a:ext cx="5698196" cy="4716021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5"/>
          </p:nvPr>
        </p:nvSpPr>
        <p:spPr>
          <a:xfrm>
            <a:off x="312882" y="1272033"/>
            <a:ext cx="5697434" cy="2252222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idx="16"/>
          </p:nvPr>
        </p:nvSpPr>
        <p:spPr>
          <a:xfrm>
            <a:off x="312882" y="3740212"/>
            <a:ext cx="5698196" cy="2252222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4721751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ra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2884" y="323851"/>
            <a:ext cx="11670783" cy="859536"/>
          </a:xfrm>
        </p:spPr>
        <p:txBody>
          <a:bodyPr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/>
          </a:bodyPr>
          <a:lstStyle/>
          <a:p>
            <a:fld id="{FD9C4343-C115-504A-8D4F-0B17318D4A48}" type="slidenum">
              <a:rPr lang="en-US" smtClean="0"/>
              <a:t>‹#›</a:t>
            </a:fld>
            <a:endParaRPr lang="en-US"/>
          </a:p>
        </p:txBody>
      </p:sp>
      <p:sp>
        <p:nvSpPr>
          <p:cNvPr id="16" name="Content Placeholder 2"/>
          <p:cNvSpPr>
            <a:spLocks noGrp="1"/>
          </p:cNvSpPr>
          <p:nvPr>
            <p:ph idx="15"/>
          </p:nvPr>
        </p:nvSpPr>
        <p:spPr>
          <a:xfrm>
            <a:off x="312882" y="1272029"/>
            <a:ext cx="5698196" cy="2252222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Content Placeholder 2"/>
          <p:cNvSpPr>
            <a:spLocks noGrp="1"/>
          </p:cNvSpPr>
          <p:nvPr>
            <p:ph idx="16"/>
          </p:nvPr>
        </p:nvSpPr>
        <p:spPr>
          <a:xfrm>
            <a:off x="312882" y="3740212"/>
            <a:ext cx="5698196" cy="2252222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2"/>
          <p:cNvSpPr>
            <a:spLocks noGrp="1"/>
          </p:cNvSpPr>
          <p:nvPr>
            <p:ph idx="17"/>
          </p:nvPr>
        </p:nvSpPr>
        <p:spPr>
          <a:xfrm>
            <a:off x="6285470" y="1272029"/>
            <a:ext cx="5698196" cy="2252222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idx="18"/>
          </p:nvPr>
        </p:nvSpPr>
        <p:spPr>
          <a:xfrm>
            <a:off x="6285470" y="3740212"/>
            <a:ext cx="5698196" cy="2252222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4902938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9C4343-C115-504A-8D4F-0B17318D4A48}" type="slidenum">
              <a:rPr lang="en-US" smtClean="0"/>
              <a:t>‹#›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12884" y="323849"/>
            <a:ext cx="11670783" cy="8595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7693982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9C4343-C115-504A-8D4F-0B17318D4A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7300679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2884" y="323850"/>
            <a:ext cx="4011084" cy="1162050"/>
          </a:xfrm>
        </p:spPr>
        <p:txBody>
          <a:bodyPr anchor="t" anchorCtr="0">
            <a:normAutofit/>
          </a:bodyPr>
          <a:lstStyle>
            <a:lvl1pPr algn="l">
              <a:defRPr sz="1999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12884" y="1530351"/>
            <a:ext cx="4011084" cy="4467226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063" indent="0">
              <a:buNone/>
              <a:defRPr sz="1200"/>
            </a:lvl2pPr>
            <a:lvl3pPr marL="914126" indent="0">
              <a:buNone/>
              <a:defRPr sz="1000"/>
            </a:lvl3pPr>
            <a:lvl4pPr marL="1371189" indent="0">
              <a:buNone/>
              <a:defRPr sz="900"/>
            </a:lvl4pPr>
            <a:lvl5pPr marL="1828251" indent="0">
              <a:buNone/>
              <a:defRPr sz="900"/>
            </a:lvl5pPr>
            <a:lvl6pPr marL="2285314" indent="0">
              <a:buNone/>
              <a:defRPr sz="900"/>
            </a:lvl6pPr>
            <a:lvl7pPr marL="2742377" indent="0">
              <a:buNone/>
              <a:defRPr sz="900"/>
            </a:lvl7pPr>
            <a:lvl8pPr marL="3199440" indent="0">
              <a:buNone/>
              <a:defRPr sz="900"/>
            </a:lvl8pPr>
            <a:lvl9pPr marL="3656503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/>
          </a:bodyPr>
          <a:lstStyle/>
          <a:p>
            <a:fld id="{FD9C4343-C115-504A-8D4F-0B17318D4A48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>
          <a:xfrm>
            <a:off x="4497716" y="323850"/>
            <a:ext cx="7484679" cy="5673726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2870352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12884" y="5274400"/>
            <a:ext cx="11670783" cy="723183"/>
          </a:xfrm>
        </p:spPr>
        <p:txBody>
          <a:bodyPr/>
          <a:lstStyle>
            <a:lvl1pPr marL="0" indent="0">
              <a:buNone/>
              <a:defRPr sz="1400"/>
            </a:lvl1pPr>
            <a:lvl2pPr marL="457063" indent="0">
              <a:buNone/>
              <a:defRPr sz="1200"/>
            </a:lvl2pPr>
            <a:lvl3pPr marL="914126" indent="0">
              <a:buNone/>
              <a:defRPr sz="1000"/>
            </a:lvl3pPr>
            <a:lvl4pPr marL="1371189" indent="0">
              <a:buNone/>
              <a:defRPr sz="900"/>
            </a:lvl4pPr>
            <a:lvl5pPr marL="1828251" indent="0">
              <a:buNone/>
              <a:defRPr sz="900"/>
            </a:lvl5pPr>
            <a:lvl6pPr marL="2285314" indent="0">
              <a:buNone/>
              <a:defRPr sz="900"/>
            </a:lvl6pPr>
            <a:lvl7pPr marL="2742377" indent="0">
              <a:buNone/>
              <a:defRPr sz="900"/>
            </a:lvl7pPr>
            <a:lvl8pPr marL="3199440" indent="0">
              <a:buNone/>
              <a:defRPr sz="900"/>
            </a:lvl8pPr>
            <a:lvl9pPr marL="3656503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9C4343-C115-504A-8D4F-0B17318D4A48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312883" y="1274834"/>
            <a:ext cx="11670783" cy="390024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3"/>
          <p:cNvSpPr>
            <a:spLocks noGrp="1"/>
          </p:cNvSpPr>
          <p:nvPr>
            <p:ph type="title"/>
          </p:nvPr>
        </p:nvSpPr>
        <p:spPr>
          <a:xfrm>
            <a:off x="312883" y="323848"/>
            <a:ext cx="11670783" cy="8595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4073877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w/ 8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3AD9D9EF-93A8-4AD0-9293-A912F1609535}"/>
              </a:ext>
            </a:extLst>
          </p:cNvPr>
          <p:cNvSpPr/>
          <p:nvPr userDrawn="1"/>
        </p:nvSpPr>
        <p:spPr>
          <a:xfrm>
            <a:off x="8485838" y="541433"/>
            <a:ext cx="3706162" cy="48212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dirty="0"/>
          </a:p>
        </p:txBody>
      </p:sp>
      <p:sp>
        <p:nvSpPr>
          <p:cNvPr id="11" name="Rectangle 3">
            <a:extLst>
              <a:ext uri="{FF2B5EF4-FFF2-40B4-BE49-F238E27FC236}">
                <a16:creationId xmlns:a16="http://schemas.microsoft.com/office/drawing/2014/main" id="{69E79D0B-0FBC-4730-8F48-331668759A21}"/>
              </a:ext>
            </a:extLst>
          </p:cNvPr>
          <p:cNvSpPr/>
          <p:nvPr userDrawn="1"/>
        </p:nvSpPr>
        <p:spPr>
          <a:xfrm>
            <a:off x="0" y="541746"/>
            <a:ext cx="9077242" cy="482776"/>
          </a:xfrm>
          <a:custGeom>
            <a:avLst/>
            <a:gdLst>
              <a:gd name="connsiteX0" fmla="*/ 0 w 6709251"/>
              <a:gd name="connsiteY0" fmla="*/ 0 h 182880"/>
              <a:gd name="connsiteX1" fmla="*/ 6709251 w 6709251"/>
              <a:gd name="connsiteY1" fmla="*/ 0 h 182880"/>
              <a:gd name="connsiteX2" fmla="*/ 6709251 w 6709251"/>
              <a:gd name="connsiteY2" fmla="*/ 182880 h 182880"/>
              <a:gd name="connsiteX3" fmla="*/ 0 w 6709251"/>
              <a:gd name="connsiteY3" fmla="*/ 182880 h 182880"/>
              <a:gd name="connsiteX4" fmla="*/ 0 w 6709251"/>
              <a:gd name="connsiteY4" fmla="*/ 0 h 182880"/>
              <a:gd name="connsiteX0" fmla="*/ 0 w 7073510"/>
              <a:gd name="connsiteY0" fmla="*/ 0 h 182880"/>
              <a:gd name="connsiteX1" fmla="*/ 7073510 w 7073510"/>
              <a:gd name="connsiteY1" fmla="*/ 0 h 182880"/>
              <a:gd name="connsiteX2" fmla="*/ 6709251 w 7073510"/>
              <a:gd name="connsiteY2" fmla="*/ 182880 h 182880"/>
              <a:gd name="connsiteX3" fmla="*/ 0 w 7073510"/>
              <a:gd name="connsiteY3" fmla="*/ 182880 h 182880"/>
              <a:gd name="connsiteX4" fmla="*/ 0 w 7073510"/>
              <a:gd name="connsiteY4" fmla="*/ 0 h 182880"/>
              <a:gd name="connsiteX0" fmla="*/ 0 w 8678702"/>
              <a:gd name="connsiteY0" fmla="*/ 0 h 182880"/>
              <a:gd name="connsiteX1" fmla="*/ 8678702 w 8678702"/>
              <a:gd name="connsiteY1" fmla="*/ 0 h 182880"/>
              <a:gd name="connsiteX2" fmla="*/ 8314443 w 8678702"/>
              <a:gd name="connsiteY2" fmla="*/ 182880 h 182880"/>
              <a:gd name="connsiteX3" fmla="*/ 1605192 w 8678702"/>
              <a:gd name="connsiteY3" fmla="*/ 182880 h 182880"/>
              <a:gd name="connsiteX4" fmla="*/ 0 w 8678702"/>
              <a:gd name="connsiteY4" fmla="*/ 0 h 182880"/>
              <a:gd name="connsiteX0" fmla="*/ 0 w 8678702"/>
              <a:gd name="connsiteY0" fmla="*/ 0 h 186220"/>
              <a:gd name="connsiteX1" fmla="*/ 8678702 w 8678702"/>
              <a:gd name="connsiteY1" fmla="*/ 0 h 186220"/>
              <a:gd name="connsiteX2" fmla="*/ 8314443 w 8678702"/>
              <a:gd name="connsiteY2" fmla="*/ 182880 h 186220"/>
              <a:gd name="connsiteX3" fmla="*/ 6661 w 8678702"/>
              <a:gd name="connsiteY3" fmla="*/ 186220 h 186220"/>
              <a:gd name="connsiteX4" fmla="*/ 0 w 8678702"/>
              <a:gd name="connsiteY4" fmla="*/ 0 h 186220"/>
              <a:gd name="connsiteX0" fmla="*/ 133211 w 8672041"/>
              <a:gd name="connsiteY0" fmla="*/ 50097 h 186220"/>
              <a:gd name="connsiteX1" fmla="*/ 8672041 w 8672041"/>
              <a:gd name="connsiteY1" fmla="*/ 0 h 186220"/>
              <a:gd name="connsiteX2" fmla="*/ 8307782 w 8672041"/>
              <a:gd name="connsiteY2" fmla="*/ 182880 h 186220"/>
              <a:gd name="connsiteX3" fmla="*/ 0 w 8672041"/>
              <a:gd name="connsiteY3" fmla="*/ 186220 h 186220"/>
              <a:gd name="connsiteX4" fmla="*/ 133211 w 8672041"/>
              <a:gd name="connsiteY4" fmla="*/ 50097 h 186220"/>
              <a:gd name="connsiteX0" fmla="*/ 3330 w 8672041"/>
              <a:gd name="connsiteY0" fmla="*/ 3340 h 186220"/>
              <a:gd name="connsiteX1" fmla="*/ 8672041 w 8672041"/>
              <a:gd name="connsiteY1" fmla="*/ 0 h 186220"/>
              <a:gd name="connsiteX2" fmla="*/ 8307782 w 8672041"/>
              <a:gd name="connsiteY2" fmla="*/ 182880 h 186220"/>
              <a:gd name="connsiteX3" fmla="*/ 0 w 8672041"/>
              <a:gd name="connsiteY3" fmla="*/ 186220 h 186220"/>
              <a:gd name="connsiteX4" fmla="*/ 3330 w 8672041"/>
              <a:gd name="connsiteY4" fmla="*/ 3340 h 186220"/>
              <a:gd name="connsiteX0" fmla="*/ 3330 w 8672041"/>
              <a:gd name="connsiteY0" fmla="*/ 3340 h 186220"/>
              <a:gd name="connsiteX1" fmla="*/ 8672041 w 8672041"/>
              <a:gd name="connsiteY1" fmla="*/ 0 h 186220"/>
              <a:gd name="connsiteX2" fmla="*/ 8307782 w 8672041"/>
              <a:gd name="connsiteY2" fmla="*/ 182880 h 186220"/>
              <a:gd name="connsiteX3" fmla="*/ 0 w 8672041"/>
              <a:gd name="connsiteY3" fmla="*/ 186220 h 186220"/>
              <a:gd name="connsiteX4" fmla="*/ 3330 w 8672041"/>
              <a:gd name="connsiteY4" fmla="*/ 3340 h 186220"/>
              <a:gd name="connsiteX0" fmla="*/ 0 w 8674979"/>
              <a:gd name="connsiteY0" fmla="*/ 3340 h 186220"/>
              <a:gd name="connsiteX1" fmla="*/ 8674979 w 8674979"/>
              <a:gd name="connsiteY1" fmla="*/ 0 h 186220"/>
              <a:gd name="connsiteX2" fmla="*/ 8310720 w 8674979"/>
              <a:gd name="connsiteY2" fmla="*/ 182880 h 186220"/>
              <a:gd name="connsiteX3" fmla="*/ 2938 w 8674979"/>
              <a:gd name="connsiteY3" fmla="*/ 186220 h 186220"/>
              <a:gd name="connsiteX4" fmla="*/ 0 w 8674979"/>
              <a:gd name="connsiteY4" fmla="*/ 3340 h 186220"/>
              <a:gd name="connsiteX0" fmla="*/ 0 w 8674979"/>
              <a:gd name="connsiteY0" fmla="*/ 0 h 189166"/>
              <a:gd name="connsiteX1" fmla="*/ 8674979 w 8674979"/>
              <a:gd name="connsiteY1" fmla="*/ 2946 h 189166"/>
              <a:gd name="connsiteX2" fmla="*/ 8310720 w 8674979"/>
              <a:gd name="connsiteY2" fmla="*/ 185826 h 189166"/>
              <a:gd name="connsiteX3" fmla="*/ 2938 w 8674979"/>
              <a:gd name="connsiteY3" fmla="*/ 189166 h 189166"/>
              <a:gd name="connsiteX4" fmla="*/ 0 w 8674979"/>
              <a:gd name="connsiteY4" fmla="*/ 0 h 189166"/>
              <a:gd name="connsiteX0" fmla="*/ 0 w 8674979"/>
              <a:gd name="connsiteY0" fmla="*/ 444 h 189610"/>
              <a:gd name="connsiteX1" fmla="*/ 8674979 w 8674979"/>
              <a:gd name="connsiteY1" fmla="*/ 0 h 189610"/>
              <a:gd name="connsiteX2" fmla="*/ 8310720 w 8674979"/>
              <a:gd name="connsiteY2" fmla="*/ 186270 h 189610"/>
              <a:gd name="connsiteX3" fmla="*/ 2938 w 8674979"/>
              <a:gd name="connsiteY3" fmla="*/ 189610 h 189610"/>
              <a:gd name="connsiteX4" fmla="*/ 0 w 8674979"/>
              <a:gd name="connsiteY4" fmla="*/ 444 h 189610"/>
              <a:gd name="connsiteX0" fmla="*/ 0 w 8674979"/>
              <a:gd name="connsiteY0" fmla="*/ 444 h 189660"/>
              <a:gd name="connsiteX1" fmla="*/ 8674979 w 8674979"/>
              <a:gd name="connsiteY1" fmla="*/ 0 h 189660"/>
              <a:gd name="connsiteX2" fmla="*/ 8310720 w 8674979"/>
              <a:gd name="connsiteY2" fmla="*/ 189660 h 189660"/>
              <a:gd name="connsiteX3" fmla="*/ 2938 w 8674979"/>
              <a:gd name="connsiteY3" fmla="*/ 189610 h 189660"/>
              <a:gd name="connsiteX4" fmla="*/ 0 w 8674979"/>
              <a:gd name="connsiteY4" fmla="*/ 444 h 189660"/>
              <a:gd name="connsiteX0" fmla="*/ 0 w 10119577"/>
              <a:gd name="connsiteY0" fmla="*/ 0 h 189216"/>
              <a:gd name="connsiteX1" fmla="*/ 10119577 w 10119577"/>
              <a:gd name="connsiteY1" fmla="*/ 686 h 189216"/>
              <a:gd name="connsiteX2" fmla="*/ 8310720 w 10119577"/>
              <a:gd name="connsiteY2" fmla="*/ 189216 h 189216"/>
              <a:gd name="connsiteX3" fmla="*/ 2938 w 10119577"/>
              <a:gd name="connsiteY3" fmla="*/ 189166 h 189216"/>
              <a:gd name="connsiteX4" fmla="*/ 0 w 10119577"/>
              <a:gd name="connsiteY4" fmla="*/ 0 h 189216"/>
              <a:gd name="connsiteX0" fmla="*/ 0 w 10119577"/>
              <a:gd name="connsiteY0" fmla="*/ 173 h 189389"/>
              <a:gd name="connsiteX1" fmla="*/ 10119577 w 10119577"/>
              <a:gd name="connsiteY1" fmla="*/ 0 h 189389"/>
              <a:gd name="connsiteX2" fmla="*/ 8310720 w 10119577"/>
              <a:gd name="connsiteY2" fmla="*/ 189389 h 189389"/>
              <a:gd name="connsiteX3" fmla="*/ 2938 w 10119577"/>
              <a:gd name="connsiteY3" fmla="*/ 189339 h 189389"/>
              <a:gd name="connsiteX4" fmla="*/ 0 w 10119577"/>
              <a:gd name="connsiteY4" fmla="*/ 173 h 189389"/>
              <a:gd name="connsiteX0" fmla="*/ 10004 w 10129581"/>
              <a:gd name="connsiteY0" fmla="*/ 173 h 189389"/>
              <a:gd name="connsiteX1" fmla="*/ 10129581 w 10129581"/>
              <a:gd name="connsiteY1" fmla="*/ 0 h 189389"/>
              <a:gd name="connsiteX2" fmla="*/ 8320724 w 10129581"/>
              <a:gd name="connsiteY2" fmla="*/ 189389 h 189389"/>
              <a:gd name="connsiteX3" fmla="*/ 57 w 10129581"/>
              <a:gd name="connsiteY3" fmla="*/ 189339 h 189389"/>
              <a:gd name="connsiteX4" fmla="*/ 10004 w 10129581"/>
              <a:gd name="connsiteY4" fmla="*/ 173 h 189389"/>
              <a:gd name="connsiteX0" fmla="*/ 9947 w 10129524"/>
              <a:gd name="connsiteY0" fmla="*/ 173 h 189389"/>
              <a:gd name="connsiteX1" fmla="*/ 10129524 w 10129524"/>
              <a:gd name="connsiteY1" fmla="*/ 0 h 189389"/>
              <a:gd name="connsiteX2" fmla="*/ 8320667 w 10129524"/>
              <a:gd name="connsiteY2" fmla="*/ 189389 h 189389"/>
              <a:gd name="connsiteX3" fmla="*/ 0 w 10129524"/>
              <a:gd name="connsiteY3" fmla="*/ 189339 h 189389"/>
              <a:gd name="connsiteX4" fmla="*/ 9947 w 10129524"/>
              <a:gd name="connsiteY4" fmla="*/ 173 h 189389"/>
              <a:gd name="connsiteX0" fmla="*/ 9947 w 10129524"/>
              <a:gd name="connsiteY0" fmla="*/ 173 h 189389"/>
              <a:gd name="connsiteX1" fmla="*/ 10129524 w 10129524"/>
              <a:gd name="connsiteY1" fmla="*/ 0 h 189389"/>
              <a:gd name="connsiteX2" fmla="*/ 8320667 w 10129524"/>
              <a:gd name="connsiteY2" fmla="*/ 189389 h 189389"/>
              <a:gd name="connsiteX3" fmla="*/ 0 w 10129524"/>
              <a:gd name="connsiteY3" fmla="*/ 189339 h 189389"/>
              <a:gd name="connsiteX4" fmla="*/ 9947 w 10129524"/>
              <a:gd name="connsiteY4" fmla="*/ 173 h 189389"/>
              <a:gd name="connsiteX0" fmla="*/ 0 w 10119577"/>
              <a:gd name="connsiteY0" fmla="*/ 173 h 189389"/>
              <a:gd name="connsiteX1" fmla="*/ 10119577 w 10119577"/>
              <a:gd name="connsiteY1" fmla="*/ 0 h 189389"/>
              <a:gd name="connsiteX2" fmla="*/ 8310720 w 10119577"/>
              <a:gd name="connsiteY2" fmla="*/ 189389 h 189389"/>
              <a:gd name="connsiteX3" fmla="*/ 15823 w 10119577"/>
              <a:gd name="connsiteY3" fmla="*/ 189339 h 189389"/>
              <a:gd name="connsiteX4" fmla="*/ 0 w 10119577"/>
              <a:gd name="connsiteY4" fmla="*/ 173 h 189389"/>
              <a:gd name="connsiteX0" fmla="*/ 0 w 10119577"/>
              <a:gd name="connsiteY0" fmla="*/ 173 h 189389"/>
              <a:gd name="connsiteX1" fmla="*/ 10119577 w 10119577"/>
              <a:gd name="connsiteY1" fmla="*/ 0 h 189389"/>
              <a:gd name="connsiteX2" fmla="*/ 8310720 w 10119577"/>
              <a:gd name="connsiteY2" fmla="*/ 189389 h 189389"/>
              <a:gd name="connsiteX3" fmla="*/ 2938 w 10119577"/>
              <a:gd name="connsiteY3" fmla="*/ 189339 h 189389"/>
              <a:gd name="connsiteX4" fmla="*/ 0 w 10119577"/>
              <a:gd name="connsiteY4" fmla="*/ 173 h 189389"/>
              <a:gd name="connsiteX0" fmla="*/ 0 w 21540281"/>
              <a:gd name="connsiteY0" fmla="*/ 9120 h 189389"/>
              <a:gd name="connsiteX1" fmla="*/ 21540281 w 21540281"/>
              <a:gd name="connsiteY1" fmla="*/ 0 h 189389"/>
              <a:gd name="connsiteX2" fmla="*/ 19731424 w 21540281"/>
              <a:gd name="connsiteY2" fmla="*/ 189389 h 189389"/>
              <a:gd name="connsiteX3" fmla="*/ 11423642 w 21540281"/>
              <a:gd name="connsiteY3" fmla="*/ 189339 h 189389"/>
              <a:gd name="connsiteX4" fmla="*/ 0 w 21540281"/>
              <a:gd name="connsiteY4" fmla="*/ 9120 h 189389"/>
              <a:gd name="connsiteX0" fmla="*/ 0 w 21540281"/>
              <a:gd name="connsiteY0" fmla="*/ 9120 h 192321"/>
              <a:gd name="connsiteX1" fmla="*/ 21540281 w 21540281"/>
              <a:gd name="connsiteY1" fmla="*/ 0 h 192321"/>
              <a:gd name="connsiteX2" fmla="*/ 19731424 w 21540281"/>
              <a:gd name="connsiteY2" fmla="*/ 189389 h 192321"/>
              <a:gd name="connsiteX3" fmla="*/ 2942 w 21540281"/>
              <a:gd name="connsiteY3" fmla="*/ 192321 h 192321"/>
              <a:gd name="connsiteX4" fmla="*/ 0 w 21540281"/>
              <a:gd name="connsiteY4" fmla="*/ 9120 h 192321"/>
              <a:gd name="connsiteX0" fmla="*/ 0 w 21540281"/>
              <a:gd name="connsiteY0" fmla="*/ 6138 h 192321"/>
              <a:gd name="connsiteX1" fmla="*/ 21540281 w 21540281"/>
              <a:gd name="connsiteY1" fmla="*/ 0 h 192321"/>
              <a:gd name="connsiteX2" fmla="*/ 19731424 w 21540281"/>
              <a:gd name="connsiteY2" fmla="*/ 189389 h 192321"/>
              <a:gd name="connsiteX3" fmla="*/ 2942 w 21540281"/>
              <a:gd name="connsiteY3" fmla="*/ 192321 h 192321"/>
              <a:gd name="connsiteX4" fmla="*/ 0 w 21540281"/>
              <a:gd name="connsiteY4" fmla="*/ 6138 h 192321"/>
              <a:gd name="connsiteX0" fmla="*/ 2579162 w 24119443"/>
              <a:gd name="connsiteY0" fmla="*/ 6138 h 192321"/>
              <a:gd name="connsiteX1" fmla="*/ 24119443 w 24119443"/>
              <a:gd name="connsiteY1" fmla="*/ 0 h 192321"/>
              <a:gd name="connsiteX2" fmla="*/ 22310586 w 24119443"/>
              <a:gd name="connsiteY2" fmla="*/ 189389 h 192321"/>
              <a:gd name="connsiteX3" fmla="*/ 2582104 w 24119443"/>
              <a:gd name="connsiteY3" fmla="*/ 192321 h 192321"/>
              <a:gd name="connsiteX4" fmla="*/ 2579162 w 24119443"/>
              <a:gd name="connsiteY4" fmla="*/ 6138 h 192321"/>
              <a:gd name="connsiteX0" fmla="*/ 1459081 w 22999362"/>
              <a:gd name="connsiteY0" fmla="*/ 6138 h 192321"/>
              <a:gd name="connsiteX1" fmla="*/ 22999362 w 22999362"/>
              <a:gd name="connsiteY1" fmla="*/ 0 h 192321"/>
              <a:gd name="connsiteX2" fmla="*/ 21190505 w 22999362"/>
              <a:gd name="connsiteY2" fmla="*/ 189389 h 192321"/>
              <a:gd name="connsiteX3" fmla="*/ 1462023 w 22999362"/>
              <a:gd name="connsiteY3" fmla="*/ 192321 h 192321"/>
              <a:gd name="connsiteX4" fmla="*/ 1459081 w 22999362"/>
              <a:gd name="connsiteY4" fmla="*/ 6138 h 192321"/>
              <a:gd name="connsiteX0" fmla="*/ 2579108 w 24119389"/>
              <a:gd name="connsiteY0" fmla="*/ 6138 h 192321"/>
              <a:gd name="connsiteX1" fmla="*/ 24119389 w 24119389"/>
              <a:gd name="connsiteY1" fmla="*/ 0 h 192321"/>
              <a:gd name="connsiteX2" fmla="*/ 22310532 w 24119389"/>
              <a:gd name="connsiteY2" fmla="*/ 189389 h 192321"/>
              <a:gd name="connsiteX3" fmla="*/ 2582050 w 24119389"/>
              <a:gd name="connsiteY3" fmla="*/ 192321 h 192321"/>
              <a:gd name="connsiteX4" fmla="*/ 2579108 w 24119389"/>
              <a:gd name="connsiteY4" fmla="*/ 6138 h 192321"/>
              <a:gd name="connsiteX0" fmla="*/ 1594923 w 23135204"/>
              <a:gd name="connsiteY0" fmla="*/ 6138 h 192321"/>
              <a:gd name="connsiteX1" fmla="*/ 23135204 w 23135204"/>
              <a:gd name="connsiteY1" fmla="*/ 0 h 192321"/>
              <a:gd name="connsiteX2" fmla="*/ 21326347 w 23135204"/>
              <a:gd name="connsiteY2" fmla="*/ 189389 h 192321"/>
              <a:gd name="connsiteX3" fmla="*/ 1597865 w 23135204"/>
              <a:gd name="connsiteY3" fmla="*/ 192321 h 192321"/>
              <a:gd name="connsiteX4" fmla="*/ 1594923 w 23135204"/>
              <a:gd name="connsiteY4" fmla="*/ 6138 h 192321"/>
              <a:gd name="connsiteX0" fmla="*/ 1 w 21540282"/>
              <a:gd name="connsiteY0" fmla="*/ 6138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3 w 21540282"/>
              <a:gd name="connsiteY3" fmla="*/ 192321 h 192321"/>
              <a:gd name="connsiteX4" fmla="*/ 1 w 21540282"/>
              <a:gd name="connsiteY4" fmla="*/ 6138 h 192321"/>
              <a:gd name="connsiteX0" fmla="*/ 0 w 21540282"/>
              <a:gd name="connsiteY0" fmla="*/ 3156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3 w 21540282"/>
              <a:gd name="connsiteY3" fmla="*/ 192321 h 192321"/>
              <a:gd name="connsiteX4" fmla="*/ 0 w 21540282"/>
              <a:gd name="connsiteY4" fmla="*/ 3156 h 192321"/>
              <a:gd name="connsiteX0" fmla="*/ 0 w 21540282"/>
              <a:gd name="connsiteY0" fmla="*/ 347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3 w 21540282"/>
              <a:gd name="connsiteY3" fmla="*/ 192321 h 192321"/>
              <a:gd name="connsiteX4" fmla="*/ 0 w 21540282"/>
              <a:gd name="connsiteY4" fmla="*/ 347 h 192321"/>
              <a:gd name="connsiteX0" fmla="*/ 0 w 21540282"/>
              <a:gd name="connsiteY0" fmla="*/ 347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2 w 21540282"/>
              <a:gd name="connsiteY3" fmla="*/ 192321 h 192321"/>
              <a:gd name="connsiteX4" fmla="*/ 0 w 21540282"/>
              <a:gd name="connsiteY4" fmla="*/ 347 h 192321"/>
              <a:gd name="connsiteX0" fmla="*/ 0 w 21540282"/>
              <a:gd name="connsiteY0" fmla="*/ 347 h 189512"/>
              <a:gd name="connsiteX1" fmla="*/ 21540282 w 21540282"/>
              <a:gd name="connsiteY1" fmla="*/ 0 h 189512"/>
              <a:gd name="connsiteX2" fmla="*/ 19731425 w 21540282"/>
              <a:gd name="connsiteY2" fmla="*/ 189389 h 189512"/>
              <a:gd name="connsiteX3" fmla="*/ 2942 w 21540282"/>
              <a:gd name="connsiteY3" fmla="*/ 189512 h 189512"/>
              <a:gd name="connsiteX4" fmla="*/ 0 w 21540282"/>
              <a:gd name="connsiteY4" fmla="*/ 347 h 189512"/>
              <a:gd name="connsiteX0" fmla="*/ 0 w 20903501"/>
              <a:gd name="connsiteY0" fmla="*/ 347 h 189512"/>
              <a:gd name="connsiteX1" fmla="*/ 20903501 w 20903501"/>
              <a:gd name="connsiteY1" fmla="*/ 0 h 189512"/>
              <a:gd name="connsiteX2" fmla="*/ 19731425 w 20903501"/>
              <a:gd name="connsiteY2" fmla="*/ 189389 h 189512"/>
              <a:gd name="connsiteX3" fmla="*/ 2942 w 20903501"/>
              <a:gd name="connsiteY3" fmla="*/ 189512 h 189512"/>
              <a:gd name="connsiteX4" fmla="*/ 0 w 20903501"/>
              <a:gd name="connsiteY4" fmla="*/ 347 h 189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903501" h="189512">
                <a:moveTo>
                  <a:pt x="0" y="347"/>
                </a:moveTo>
                <a:lnTo>
                  <a:pt x="20903501" y="0"/>
                </a:lnTo>
                <a:lnTo>
                  <a:pt x="19731425" y="189389"/>
                </a:lnTo>
                <a:lnTo>
                  <a:pt x="2942" y="189512"/>
                </a:lnTo>
                <a:cubicBezTo>
                  <a:pt x="1961" y="125521"/>
                  <a:pt x="981" y="64338"/>
                  <a:pt x="0" y="34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2884" y="4301722"/>
            <a:ext cx="8457972" cy="984333"/>
          </a:xfrm>
        </p:spPr>
        <p:txBody>
          <a:bodyPr anchor="b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12884" y="5353790"/>
            <a:ext cx="8457972" cy="640767"/>
          </a:xfrm>
        </p:spPr>
        <p:txBody>
          <a:bodyPr>
            <a:normAutofit/>
          </a:bodyPr>
          <a:lstStyle>
            <a:lvl1pPr marL="0" indent="0" algn="l">
              <a:buNone/>
              <a:defRPr sz="1999">
                <a:solidFill>
                  <a:schemeClr val="tx1"/>
                </a:solidFill>
              </a:defRPr>
            </a:lvl1pPr>
            <a:lvl2pPr marL="4570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12883" y="6133694"/>
            <a:ext cx="3303862" cy="3651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1600">
                <a:solidFill>
                  <a:schemeClr val="tx1"/>
                </a:solidFill>
                <a:latin typeface="+mn-lt"/>
                <a:cs typeface="Arial"/>
              </a:defRPr>
            </a:lvl1pPr>
          </a:lstStyle>
          <a:p>
            <a:endParaRPr lang="en-US" dirty="0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B1B375D4-5229-42D1-ACCC-C091DAB25EB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-11117" y="1057318"/>
            <a:ext cx="3018306" cy="1576263"/>
          </a:xfr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17" name="Picture Placeholder 15">
            <a:extLst>
              <a:ext uri="{FF2B5EF4-FFF2-40B4-BE49-F238E27FC236}">
                <a16:creationId xmlns:a16="http://schemas.microsoft.com/office/drawing/2014/main" id="{9AA1076D-6C42-4BB3-BA4D-45B182AC9A43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050486" y="1057318"/>
            <a:ext cx="3018306" cy="1576263"/>
          </a:xfr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18" name="Picture Placeholder 15">
            <a:extLst>
              <a:ext uri="{FF2B5EF4-FFF2-40B4-BE49-F238E27FC236}">
                <a16:creationId xmlns:a16="http://schemas.microsoft.com/office/drawing/2014/main" id="{94262E97-B7F8-4095-A959-B2C6D66AE08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12090" y="1057318"/>
            <a:ext cx="3018306" cy="1576263"/>
          </a:xfr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19" name="Picture Placeholder 15">
            <a:extLst>
              <a:ext uri="{FF2B5EF4-FFF2-40B4-BE49-F238E27FC236}">
                <a16:creationId xmlns:a16="http://schemas.microsoft.com/office/drawing/2014/main" id="{C14C4D13-49AC-4208-BEFF-0899F4B2E2E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173694" y="1057318"/>
            <a:ext cx="3018306" cy="1576263"/>
          </a:xfr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12" name="Picture Placeholder 15">
            <a:extLst>
              <a:ext uri="{FF2B5EF4-FFF2-40B4-BE49-F238E27FC236}">
                <a16:creationId xmlns:a16="http://schemas.microsoft.com/office/drawing/2014/main" id="{8551A6AA-0DDB-472D-92D8-186C60964D8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-11117" y="2671890"/>
            <a:ext cx="3018306" cy="1576263"/>
          </a:xfr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13" name="Picture Placeholder 15">
            <a:extLst>
              <a:ext uri="{FF2B5EF4-FFF2-40B4-BE49-F238E27FC236}">
                <a16:creationId xmlns:a16="http://schemas.microsoft.com/office/drawing/2014/main" id="{DA54D021-A2D3-452B-9B40-9EA760DA76B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050486" y="2671890"/>
            <a:ext cx="3018306" cy="1576263"/>
          </a:xfr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15" name="Picture Placeholder 15">
            <a:extLst>
              <a:ext uri="{FF2B5EF4-FFF2-40B4-BE49-F238E27FC236}">
                <a16:creationId xmlns:a16="http://schemas.microsoft.com/office/drawing/2014/main" id="{0F441EE1-8684-45D1-B369-F2A4BA5A1F4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112090" y="2671890"/>
            <a:ext cx="3018306" cy="1576263"/>
          </a:xfr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20" name="Picture Placeholder 15">
            <a:extLst>
              <a:ext uri="{FF2B5EF4-FFF2-40B4-BE49-F238E27FC236}">
                <a16:creationId xmlns:a16="http://schemas.microsoft.com/office/drawing/2014/main" id="{77C693E8-D9B1-4809-A109-260467A33600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9173694" y="2671890"/>
            <a:ext cx="3018306" cy="1576263"/>
          </a:xfr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Insert photo here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5053ACBA-57CD-B845-BA72-73645FD503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74032" y="5851212"/>
            <a:ext cx="1060725" cy="822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0305249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2883" y="2947135"/>
            <a:ext cx="8457972" cy="984333"/>
          </a:xfrm>
        </p:spPr>
        <p:txBody>
          <a:bodyPr anchor="b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12883" y="3999203"/>
            <a:ext cx="8457972" cy="640767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12883" y="4779107"/>
            <a:ext cx="3303862" cy="3651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1000">
                <a:solidFill>
                  <a:schemeClr val="tx1"/>
                </a:solidFill>
                <a:latin typeface="+mn-lt"/>
                <a:cs typeface="Arial"/>
              </a:defRPr>
            </a:lvl1pPr>
          </a:lstStyle>
          <a:p>
            <a:endParaRPr lang="en-US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38F46E6-B30F-4BB4-8F82-08AD4C6EA83F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74032" y="5851212"/>
            <a:ext cx="1060725" cy="822309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0737FA42-C06C-4BE0-AE35-B6EF2728CBF5}"/>
              </a:ext>
            </a:extLst>
          </p:cNvPr>
          <p:cNvSpPr/>
          <p:nvPr/>
        </p:nvSpPr>
        <p:spPr>
          <a:xfrm>
            <a:off x="8485838" y="1"/>
            <a:ext cx="3706162" cy="48212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/>
          </a:p>
        </p:txBody>
      </p:sp>
      <p:sp>
        <p:nvSpPr>
          <p:cNvPr id="13" name="Rectangle 3">
            <a:extLst>
              <a:ext uri="{FF2B5EF4-FFF2-40B4-BE49-F238E27FC236}">
                <a16:creationId xmlns:a16="http://schemas.microsoft.com/office/drawing/2014/main" id="{9FCFEBA5-E832-4F45-9A7E-E488F4C2670A}"/>
              </a:ext>
            </a:extLst>
          </p:cNvPr>
          <p:cNvSpPr/>
          <p:nvPr/>
        </p:nvSpPr>
        <p:spPr>
          <a:xfrm>
            <a:off x="0" y="316"/>
            <a:ext cx="9077242" cy="482776"/>
          </a:xfrm>
          <a:custGeom>
            <a:avLst/>
            <a:gdLst>
              <a:gd name="connsiteX0" fmla="*/ 0 w 6709251"/>
              <a:gd name="connsiteY0" fmla="*/ 0 h 182880"/>
              <a:gd name="connsiteX1" fmla="*/ 6709251 w 6709251"/>
              <a:gd name="connsiteY1" fmla="*/ 0 h 182880"/>
              <a:gd name="connsiteX2" fmla="*/ 6709251 w 6709251"/>
              <a:gd name="connsiteY2" fmla="*/ 182880 h 182880"/>
              <a:gd name="connsiteX3" fmla="*/ 0 w 6709251"/>
              <a:gd name="connsiteY3" fmla="*/ 182880 h 182880"/>
              <a:gd name="connsiteX4" fmla="*/ 0 w 6709251"/>
              <a:gd name="connsiteY4" fmla="*/ 0 h 182880"/>
              <a:gd name="connsiteX0" fmla="*/ 0 w 7073510"/>
              <a:gd name="connsiteY0" fmla="*/ 0 h 182880"/>
              <a:gd name="connsiteX1" fmla="*/ 7073510 w 7073510"/>
              <a:gd name="connsiteY1" fmla="*/ 0 h 182880"/>
              <a:gd name="connsiteX2" fmla="*/ 6709251 w 7073510"/>
              <a:gd name="connsiteY2" fmla="*/ 182880 h 182880"/>
              <a:gd name="connsiteX3" fmla="*/ 0 w 7073510"/>
              <a:gd name="connsiteY3" fmla="*/ 182880 h 182880"/>
              <a:gd name="connsiteX4" fmla="*/ 0 w 7073510"/>
              <a:gd name="connsiteY4" fmla="*/ 0 h 182880"/>
              <a:gd name="connsiteX0" fmla="*/ 0 w 8678702"/>
              <a:gd name="connsiteY0" fmla="*/ 0 h 182880"/>
              <a:gd name="connsiteX1" fmla="*/ 8678702 w 8678702"/>
              <a:gd name="connsiteY1" fmla="*/ 0 h 182880"/>
              <a:gd name="connsiteX2" fmla="*/ 8314443 w 8678702"/>
              <a:gd name="connsiteY2" fmla="*/ 182880 h 182880"/>
              <a:gd name="connsiteX3" fmla="*/ 1605192 w 8678702"/>
              <a:gd name="connsiteY3" fmla="*/ 182880 h 182880"/>
              <a:gd name="connsiteX4" fmla="*/ 0 w 8678702"/>
              <a:gd name="connsiteY4" fmla="*/ 0 h 182880"/>
              <a:gd name="connsiteX0" fmla="*/ 0 w 8678702"/>
              <a:gd name="connsiteY0" fmla="*/ 0 h 186220"/>
              <a:gd name="connsiteX1" fmla="*/ 8678702 w 8678702"/>
              <a:gd name="connsiteY1" fmla="*/ 0 h 186220"/>
              <a:gd name="connsiteX2" fmla="*/ 8314443 w 8678702"/>
              <a:gd name="connsiteY2" fmla="*/ 182880 h 186220"/>
              <a:gd name="connsiteX3" fmla="*/ 6661 w 8678702"/>
              <a:gd name="connsiteY3" fmla="*/ 186220 h 186220"/>
              <a:gd name="connsiteX4" fmla="*/ 0 w 8678702"/>
              <a:gd name="connsiteY4" fmla="*/ 0 h 186220"/>
              <a:gd name="connsiteX0" fmla="*/ 133211 w 8672041"/>
              <a:gd name="connsiteY0" fmla="*/ 50097 h 186220"/>
              <a:gd name="connsiteX1" fmla="*/ 8672041 w 8672041"/>
              <a:gd name="connsiteY1" fmla="*/ 0 h 186220"/>
              <a:gd name="connsiteX2" fmla="*/ 8307782 w 8672041"/>
              <a:gd name="connsiteY2" fmla="*/ 182880 h 186220"/>
              <a:gd name="connsiteX3" fmla="*/ 0 w 8672041"/>
              <a:gd name="connsiteY3" fmla="*/ 186220 h 186220"/>
              <a:gd name="connsiteX4" fmla="*/ 133211 w 8672041"/>
              <a:gd name="connsiteY4" fmla="*/ 50097 h 186220"/>
              <a:gd name="connsiteX0" fmla="*/ 3330 w 8672041"/>
              <a:gd name="connsiteY0" fmla="*/ 3340 h 186220"/>
              <a:gd name="connsiteX1" fmla="*/ 8672041 w 8672041"/>
              <a:gd name="connsiteY1" fmla="*/ 0 h 186220"/>
              <a:gd name="connsiteX2" fmla="*/ 8307782 w 8672041"/>
              <a:gd name="connsiteY2" fmla="*/ 182880 h 186220"/>
              <a:gd name="connsiteX3" fmla="*/ 0 w 8672041"/>
              <a:gd name="connsiteY3" fmla="*/ 186220 h 186220"/>
              <a:gd name="connsiteX4" fmla="*/ 3330 w 8672041"/>
              <a:gd name="connsiteY4" fmla="*/ 3340 h 186220"/>
              <a:gd name="connsiteX0" fmla="*/ 3330 w 8672041"/>
              <a:gd name="connsiteY0" fmla="*/ 3340 h 186220"/>
              <a:gd name="connsiteX1" fmla="*/ 8672041 w 8672041"/>
              <a:gd name="connsiteY1" fmla="*/ 0 h 186220"/>
              <a:gd name="connsiteX2" fmla="*/ 8307782 w 8672041"/>
              <a:gd name="connsiteY2" fmla="*/ 182880 h 186220"/>
              <a:gd name="connsiteX3" fmla="*/ 0 w 8672041"/>
              <a:gd name="connsiteY3" fmla="*/ 186220 h 186220"/>
              <a:gd name="connsiteX4" fmla="*/ 3330 w 8672041"/>
              <a:gd name="connsiteY4" fmla="*/ 3340 h 186220"/>
              <a:gd name="connsiteX0" fmla="*/ 0 w 8674979"/>
              <a:gd name="connsiteY0" fmla="*/ 3340 h 186220"/>
              <a:gd name="connsiteX1" fmla="*/ 8674979 w 8674979"/>
              <a:gd name="connsiteY1" fmla="*/ 0 h 186220"/>
              <a:gd name="connsiteX2" fmla="*/ 8310720 w 8674979"/>
              <a:gd name="connsiteY2" fmla="*/ 182880 h 186220"/>
              <a:gd name="connsiteX3" fmla="*/ 2938 w 8674979"/>
              <a:gd name="connsiteY3" fmla="*/ 186220 h 186220"/>
              <a:gd name="connsiteX4" fmla="*/ 0 w 8674979"/>
              <a:gd name="connsiteY4" fmla="*/ 3340 h 186220"/>
              <a:gd name="connsiteX0" fmla="*/ 0 w 8674979"/>
              <a:gd name="connsiteY0" fmla="*/ 0 h 189166"/>
              <a:gd name="connsiteX1" fmla="*/ 8674979 w 8674979"/>
              <a:gd name="connsiteY1" fmla="*/ 2946 h 189166"/>
              <a:gd name="connsiteX2" fmla="*/ 8310720 w 8674979"/>
              <a:gd name="connsiteY2" fmla="*/ 185826 h 189166"/>
              <a:gd name="connsiteX3" fmla="*/ 2938 w 8674979"/>
              <a:gd name="connsiteY3" fmla="*/ 189166 h 189166"/>
              <a:gd name="connsiteX4" fmla="*/ 0 w 8674979"/>
              <a:gd name="connsiteY4" fmla="*/ 0 h 189166"/>
              <a:gd name="connsiteX0" fmla="*/ 0 w 8674979"/>
              <a:gd name="connsiteY0" fmla="*/ 444 h 189610"/>
              <a:gd name="connsiteX1" fmla="*/ 8674979 w 8674979"/>
              <a:gd name="connsiteY1" fmla="*/ 0 h 189610"/>
              <a:gd name="connsiteX2" fmla="*/ 8310720 w 8674979"/>
              <a:gd name="connsiteY2" fmla="*/ 186270 h 189610"/>
              <a:gd name="connsiteX3" fmla="*/ 2938 w 8674979"/>
              <a:gd name="connsiteY3" fmla="*/ 189610 h 189610"/>
              <a:gd name="connsiteX4" fmla="*/ 0 w 8674979"/>
              <a:gd name="connsiteY4" fmla="*/ 444 h 189610"/>
              <a:gd name="connsiteX0" fmla="*/ 0 w 8674979"/>
              <a:gd name="connsiteY0" fmla="*/ 444 h 189660"/>
              <a:gd name="connsiteX1" fmla="*/ 8674979 w 8674979"/>
              <a:gd name="connsiteY1" fmla="*/ 0 h 189660"/>
              <a:gd name="connsiteX2" fmla="*/ 8310720 w 8674979"/>
              <a:gd name="connsiteY2" fmla="*/ 189660 h 189660"/>
              <a:gd name="connsiteX3" fmla="*/ 2938 w 8674979"/>
              <a:gd name="connsiteY3" fmla="*/ 189610 h 189660"/>
              <a:gd name="connsiteX4" fmla="*/ 0 w 8674979"/>
              <a:gd name="connsiteY4" fmla="*/ 444 h 189660"/>
              <a:gd name="connsiteX0" fmla="*/ 0 w 10119577"/>
              <a:gd name="connsiteY0" fmla="*/ 0 h 189216"/>
              <a:gd name="connsiteX1" fmla="*/ 10119577 w 10119577"/>
              <a:gd name="connsiteY1" fmla="*/ 686 h 189216"/>
              <a:gd name="connsiteX2" fmla="*/ 8310720 w 10119577"/>
              <a:gd name="connsiteY2" fmla="*/ 189216 h 189216"/>
              <a:gd name="connsiteX3" fmla="*/ 2938 w 10119577"/>
              <a:gd name="connsiteY3" fmla="*/ 189166 h 189216"/>
              <a:gd name="connsiteX4" fmla="*/ 0 w 10119577"/>
              <a:gd name="connsiteY4" fmla="*/ 0 h 189216"/>
              <a:gd name="connsiteX0" fmla="*/ 0 w 10119577"/>
              <a:gd name="connsiteY0" fmla="*/ 173 h 189389"/>
              <a:gd name="connsiteX1" fmla="*/ 10119577 w 10119577"/>
              <a:gd name="connsiteY1" fmla="*/ 0 h 189389"/>
              <a:gd name="connsiteX2" fmla="*/ 8310720 w 10119577"/>
              <a:gd name="connsiteY2" fmla="*/ 189389 h 189389"/>
              <a:gd name="connsiteX3" fmla="*/ 2938 w 10119577"/>
              <a:gd name="connsiteY3" fmla="*/ 189339 h 189389"/>
              <a:gd name="connsiteX4" fmla="*/ 0 w 10119577"/>
              <a:gd name="connsiteY4" fmla="*/ 173 h 189389"/>
              <a:gd name="connsiteX0" fmla="*/ 10004 w 10129581"/>
              <a:gd name="connsiteY0" fmla="*/ 173 h 189389"/>
              <a:gd name="connsiteX1" fmla="*/ 10129581 w 10129581"/>
              <a:gd name="connsiteY1" fmla="*/ 0 h 189389"/>
              <a:gd name="connsiteX2" fmla="*/ 8320724 w 10129581"/>
              <a:gd name="connsiteY2" fmla="*/ 189389 h 189389"/>
              <a:gd name="connsiteX3" fmla="*/ 57 w 10129581"/>
              <a:gd name="connsiteY3" fmla="*/ 189339 h 189389"/>
              <a:gd name="connsiteX4" fmla="*/ 10004 w 10129581"/>
              <a:gd name="connsiteY4" fmla="*/ 173 h 189389"/>
              <a:gd name="connsiteX0" fmla="*/ 9947 w 10129524"/>
              <a:gd name="connsiteY0" fmla="*/ 173 h 189389"/>
              <a:gd name="connsiteX1" fmla="*/ 10129524 w 10129524"/>
              <a:gd name="connsiteY1" fmla="*/ 0 h 189389"/>
              <a:gd name="connsiteX2" fmla="*/ 8320667 w 10129524"/>
              <a:gd name="connsiteY2" fmla="*/ 189389 h 189389"/>
              <a:gd name="connsiteX3" fmla="*/ 0 w 10129524"/>
              <a:gd name="connsiteY3" fmla="*/ 189339 h 189389"/>
              <a:gd name="connsiteX4" fmla="*/ 9947 w 10129524"/>
              <a:gd name="connsiteY4" fmla="*/ 173 h 189389"/>
              <a:gd name="connsiteX0" fmla="*/ 9947 w 10129524"/>
              <a:gd name="connsiteY0" fmla="*/ 173 h 189389"/>
              <a:gd name="connsiteX1" fmla="*/ 10129524 w 10129524"/>
              <a:gd name="connsiteY1" fmla="*/ 0 h 189389"/>
              <a:gd name="connsiteX2" fmla="*/ 8320667 w 10129524"/>
              <a:gd name="connsiteY2" fmla="*/ 189389 h 189389"/>
              <a:gd name="connsiteX3" fmla="*/ 0 w 10129524"/>
              <a:gd name="connsiteY3" fmla="*/ 189339 h 189389"/>
              <a:gd name="connsiteX4" fmla="*/ 9947 w 10129524"/>
              <a:gd name="connsiteY4" fmla="*/ 173 h 189389"/>
              <a:gd name="connsiteX0" fmla="*/ 0 w 10119577"/>
              <a:gd name="connsiteY0" fmla="*/ 173 h 189389"/>
              <a:gd name="connsiteX1" fmla="*/ 10119577 w 10119577"/>
              <a:gd name="connsiteY1" fmla="*/ 0 h 189389"/>
              <a:gd name="connsiteX2" fmla="*/ 8310720 w 10119577"/>
              <a:gd name="connsiteY2" fmla="*/ 189389 h 189389"/>
              <a:gd name="connsiteX3" fmla="*/ 15823 w 10119577"/>
              <a:gd name="connsiteY3" fmla="*/ 189339 h 189389"/>
              <a:gd name="connsiteX4" fmla="*/ 0 w 10119577"/>
              <a:gd name="connsiteY4" fmla="*/ 173 h 189389"/>
              <a:gd name="connsiteX0" fmla="*/ 0 w 10119577"/>
              <a:gd name="connsiteY0" fmla="*/ 173 h 189389"/>
              <a:gd name="connsiteX1" fmla="*/ 10119577 w 10119577"/>
              <a:gd name="connsiteY1" fmla="*/ 0 h 189389"/>
              <a:gd name="connsiteX2" fmla="*/ 8310720 w 10119577"/>
              <a:gd name="connsiteY2" fmla="*/ 189389 h 189389"/>
              <a:gd name="connsiteX3" fmla="*/ 2938 w 10119577"/>
              <a:gd name="connsiteY3" fmla="*/ 189339 h 189389"/>
              <a:gd name="connsiteX4" fmla="*/ 0 w 10119577"/>
              <a:gd name="connsiteY4" fmla="*/ 173 h 189389"/>
              <a:gd name="connsiteX0" fmla="*/ 0 w 21540281"/>
              <a:gd name="connsiteY0" fmla="*/ 9120 h 189389"/>
              <a:gd name="connsiteX1" fmla="*/ 21540281 w 21540281"/>
              <a:gd name="connsiteY1" fmla="*/ 0 h 189389"/>
              <a:gd name="connsiteX2" fmla="*/ 19731424 w 21540281"/>
              <a:gd name="connsiteY2" fmla="*/ 189389 h 189389"/>
              <a:gd name="connsiteX3" fmla="*/ 11423642 w 21540281"/>
              <a:gd name="connsiteY3" fmla="*/ 189339 h 189389"/>
              <a:gd name="connsiteX4" fmla="*/ 0 w 21540281"/>
              <a:gd name="connsiteY4" fmla="*/ 9120 h 189389"/>
              <a:gd name="connsiteX0" fmla="*/ 0 w 21540281"/>
              <a:gd name="connsiteY0" fmla="*/ 9120 h 192321"/>
              <a:gd name="connsiteX1" fmla="*/ 21540281 w 21540281"/>
              <a:gd name="connsiteY1" fmla="*/ 0 h 192321"/>
              <a:gd name="connsiteX2" fmla="*/ 19731424 w 21540281"/>
              <a:gd name="connsiteY2" fmla="*/ 189389 h 192321"/>
              <a:gd name="connsiteX3" fmla="*/ 2942 w 21540281"/>
              <a:gd name="connsiteY3" fmla="*/ 192321 h 192321"/>
              <a:gd name="connsiteX4" fmla="*/ 0 w 21540281"/>
              <a:gd name="connsiteY4" fmla="*/ 9120 h 192321"/>
              <a:gd name="connsiteX0" fmla="*/ 0 w 21540281"/>
              <a:gd name="connsiteY0" fmla="*/ 6138 h 192321"/>
              <a:gd name="connsiteX1" fmla="*/ 21540281 w 21540281"/>
              <a:gd name="connsiteY1" fmla="*/ 0 h 192321"/>
              <a:gd name="connsiteX2" fmla="*/ 19731424 w 21540281"/>
              <a:gd name="connsiteY2" fmla="*/ 189389 h 192321"/>
              <a:gd name="connsiteX3" fmla="*/ 2942 w 21540281"/>
              <a:gd name="connsiteY3" fmla="*/ 192321 h 192321"/>
              <a:gd name="connsiteX4" fmla="*/ 0 w 21540281"/>
              <a:gd name="connsiteY4" fmla="*/ 6138 h 192321"/>
              <a:gd name="connsiteX0" fmla="*/ 2579162 w 24119443"/>
              <a:gd name="connsiteY0" fmla="*/ 6138 h 192321"/>
              <a:gd name="connsiteX1" fmla="*/ 24119443 w 24119443"/>
              <a:gd name="connsiteY1" fmla="*/ 0 h 192321"/>
              <a:gd name="connsiteX2" fmla="*/ 22310586 w 24119443"/>
              <a:gd name="connsiteY2" fmla="*/ 189389 h 192321"/>
              <a:gd name="connsiteX3" fmla="*/ 2582104 w 24119443"/>
              <a:gd name="connsiteY3" fmla="*/ 192321 h 192321"/>
              <a:gd name="connsiteX4" fmla="*/ 2579162 w 24119443"/>
              <a:gd name="connsiteY4" fmla="*/ 6138 h 192321"/>
              <a:gd name="connsiteX0" fmla="*/ 1459081 w 22999362"/>
              <a:gd name="connsiteY0" fmla="*/ 6138 h 192321"/>
              <a:gd name="connsiteX1" fmla="*/ 22999362 w 22999362"/>
              <a:gd name="connsiteY1" fmla="*/ 0 h 192321"/>
              <a:gd name="connsiteX2" fmla="*/ 21190505 w 22999362"/>
              <a:gd name="connsiteY2" fmla="*/ 189389 h 192321"/>
              <a:gd name="connsiteX3" fmla="*/ 1462023 w 22999362"/>
              <a:gd name="connsiteY3" fmla="*/ 192321 h 192321"/>
              <a:gd name="connsiteX4" fmla="*/ 1459081 w 22999362"/>
              <a:gd name="connsiteY4" fmla="*/ 6138 h 192321"/>
              <a:gd name="connsiteX0" fmla="*/ 2579108 w 24119389"/>
              <a:gd name="connsiteY0" fmla="*/ 6138 h 192321"/>
              <a:gd name="connsiteX1" fmla="*/ 24119389 w 24119389"/>
              <a:gd name="connsiteY1" fmla="*/ 0 h 192321"/>
              <a:gd name="connsiteX2" fmla="*/ 22310532 w 24119389"/>
              <a:gd name="connsiteY2" fmla="*/ 189389 h 192321"/>
              <a:gd name="connsiteX3" fmla="*/ 2582050 w 24119389"/>
              <a:gd name="connsiteY3" fmla="*/ 192321 h 192321"/>
              <a:gd name="connsiteX4" fmla="*/ 2579108 w 24119389"/>
              <a:gd name="connsiteY4" fmla="*/ 6138 h 192321"/>
              <a:gd name="connsiteX0" fmla="*/ 1594923 w 23135204"/>
              <a:gd name="connsiteY0" fmla="*/ 6138 h 192321"/>
              <a:gd name="connsiteX1" fmla="*/ 23135204 w 23135204"/>
              <a:gd name="connsiteY1" fmla="*/ 0 h 192321"/>
              <a:gd name="connsiteX2" fmla="*/ 21326347 w 23135204"/>
              <a:gd name="connsiteY2" fmla="*/ 189389 h 192321"/>
              <a:gd name="connsiteX3" fmla="*/ 1597865 w 23135204"/>
              <a:gd name="connsiteY3" fmla="*/ 192321 h 192321"/>
              <a:gd name="connsiteX4" fmla="*/ 1594923 w 23135204"/>
              <a:gd name="connsiteY4" fmla="*/ 6138 h 192321"/>
              <a:gd name="connsiteX0" fmla="*/ 1 w 21540282"/>
              <a:gd name="connsiteY0" fmla="*/ 6138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3 w 21540282"/>
              <a:gd name="connsiteY3" fmla="*/ 192321 h 192321"/>
              <a:gd name="connsiteX4" fmla="*/ 1 w 21540282"/>
              <a:gd name="connsiteY4" fmla="*/ 6138 h 192321"/>
              <a:gd name="connsiteX0" fmla="*/ 0 w 21540282"/>
              <a:gd name="connsiteY0" fmla="*/ 3156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3 w 21540282"/>
              <a:gd name="connsiteY3" fmla="*/ 192321 h 192321"/>
              <a:gd name="connsiteX4" fmla="*/ 0 w 21540282"/>
              <a:gd name="connsiteY4" fmla="*/ 3156 h 192321"/>
              <a:gd name="connsiteX0" fmla="*/ 0 w 21540282"/>
              <a:gd name="connsiteY0" fmla="*/ 347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3 w 21540282"/>
              <a:gd name="connsiteY3" fmla="*/ 192321 h 192321"/>
              <a:gd name="connsiteX4" fmla="*/ 0 w 21540282"/>
              <a:gd name="connsiteY4" fmla="*/ 347 h 192321"/>
              <a:gd name="connsiteX0" fmla="*/ 0 w 21540282"/>
              <a:gd name="connsiteY0" fmla="*/ 347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2 w 21540282"/>
              <a:gd name="connsiteY3" fmla="*/ 192321 h 192321"/>
              <a:gd name="connsiteX4" fmla="*/ 0 w 21540282"/>
              <a:gd name="connsiteY4" fmla="*/ 347 h 192321"/>
              <a:gd name="connsiteX0" fmla="*/ 0 w 21540282"/>
              <a:gd name="connsiteY0" fmla="*/ 347 h 189512"/>
              <a:gd name="connsiteX1" fmla="*/ 21540282 w 21540282"/>
              <a:gd name="connsiteY1" fmla="*/ 0 h 189512"/>
              <a:gd name="connsiteX2" fmla="*/ 19731425 w 21540282"/>
              <a:gd name="connsiteY2" fmla="*/ 189389 h 189512"/>
              <a:gd name="connsiteX3" fmla="*/ 2942 w 21540282"/>
              <a:gd name="connsiteY3" fmla="*/ 189512 h 189512"/>
              <a:gd name="connsiteX4" fmla="*/ 0 w 21540282"/>
              <a:gd name="connsiteY4" fmla="*/ 347 h 189512"/>
              <a:gd name="connsiteX0" fmla="*/ 0 w 20903501"/>
              <a:gd name="connsiteY0" fmla="*/ 347 h 189512"/>
              <a:gd name="connsiteX1" fmla="*/ 20903501 w 20903501"/>
              <a:gd name="connsiteY1" fmla="*/ 0 h 189512"/>
              <a:gd name="connsiteX2" fmla="*/ 19731425 w 20903501"/>
              <a:gd name="connsiteY2" fmla="*/ 189389 h 189512"/>
              <a:gd name="connsiteX3" fmla="*/ 2942 w 20903501"/>
              <a:gd name="connsiteY3" fmla="*/ 189512 h 189512"/>
              <a:gd name="connsiteX4" fmla="*/ 0 w 20903501"/>
              <a:gd name="connsiteY4" fmla="*/ 347 h 189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903501" h="189512">
                <a:moveTo>
                  <a:pt x="0" y="347"/>
                </a:moveTo>
                <a:lnTo>
                  <a:pt x="20903501" y="0"/>
                </a:lnTo>
                <a:lnTo>
                  <a:pt x="19731425" y="189389"/>
                </a:lnTo>
                <a:lnTo>
                  <a:pt x="2942" y="189512"/>
                </a:lnTo>
                <a:cubicBezTo>
                  <a:pt x="1961" y="125521"/>
                  <a:pt x="981" y="64338"/>
                  <a:pt x="0" y="34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8625571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/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3AD9D9EF-93A8-4AD0-9293-A912F1609535}"/>
              </a:ext>
            </a:extLst>
          </p:cNvPr>
          <p:cNvSpPr/>
          <p:nvPr/>
        </p:nvSpPr>
        <p:spPr>
          <a:xfrm>
            <a:off x="8485838" y="1411870"/>
            <a:ext cx="3706162" cy="48212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/>
          </a:p>
        </p:txBody>
      </p:sp>
      <p:sp>
        <p:nvSpPr>
          <p:cNvPr id="11" name="Rectangle 3">
            <a:extLst>
              <a:ext uri="{FF2B5EF4-FFF2-40B4-BE49-F238E27FC236}">
                <a16:creationId xmlns:a16="http://schemas.microsoft.com/office/drawing/2014/main" id="{69E79D0B-0FBC-4730-8F48-331668759A21}"/>
              </a:ext>
            </a:extLst>
          </p:cNvPr>
          <p:cNvSpPr/>
          <p:nvPr/>
        </p:nvSpPr>
        <p:spPr>
          <a:xfrm>
            <a:off x="0" y="1412185"/>
            <a:ext cx="9077242" cy="482776"/>
          </a:xfrm>
          <a:custGeom>
            <a:avLst/>
            <a:gdLst>
              <a:gd name="connsiteX0" fmla="*/ 0 w 6709251"/>
              <a:gd name="connsiteY0" fmla="*/ 0 h 182880"/>
              <a:gd name="connsiteX1" fmla="*/ 6709251 w 6709251"/>
              <a:gd name="connsiteY1" fmla="*/ 0 h 182880"/>
              <a:gd name="connsiteX2" fmla="*/ 6709251 w 6709251"/>
              <a:gd name="connsiteY2" fmla="*/ 182880 h 182880"/>
              <a:gd name="connsiteX3" fmla="*/ 0 w 6709251"/>
              <a:gd name="connsiteY3" fmla="*/ 182880 h 182880"/>
              <a:gd name="connsiteX4" fmla="*/ 0 w 6709251"/>
              <a:gd name="connsiteY4" fmla="*/ 0 h 182880"/>
              <a:gd name="connsiteX0" fmla="*/ 0 w 7073510"/>
              <a:gd name="connsiteY0" fmla="*/ 0 h 182880"/>
              <a:gd name="connsiteX1" fmla="*/ 7073510 w 7073510"/>
              <a:gd name="connsiteY1" fmla="*/ 0 h 182880"/>
              <a:gd name="connsiteX2" fmla="*/ 6709251 w 7073510"/>
              <a:gd name="connsiteY2" fmla="*/ 182880 h 182880"/>
              <a:gd name="connsiteX3" fmla="*/ 0 w 7073510"/>
              <a:gd name="connsiteY3" fmla="*/ 182880 h 182880"/>
              <a:gd name="connsiteX4" fmla="*/ 0 w 7073510"/>
              <a:gd name="connsiteY4" fmla="*/ 0 h 182880"/>
              <a:gd name="connsiteX0" fmla="*/ 0 w 8678702"/>
              <a:gd name="connsiteY0" fmla="*/ 0 h 182880"/>
              <a:gd name="connsiteX1" fmla="*/ 8678702 w 8678702"/>
              <a:gd name="connsiteY1" fmla="*/ 0 h 182880"/>
              <a:gd name="connsiteX2" fmla="*/ 8314443 w 8678702"/>
              <a:gd name="connsiteY2" fmla="*/ 182880 h 182880"/>
              <a:gd name="connsiteX3" fmla="*/ 1605192 w 8678702"/>
              <a:gd name="connsiteY3" fmla="*/ 182880 h 182880"/>
              <a:gd name="connsiteX4" fmla="*/ 0 w 8678702"/>
              <a:gd name="connsiteY4" fmla="*/ 0 h 182880"/>
              <a:gd name="connsiteX0" fmla="*/ 0 w 8678702"/>
              <a:gd name="connsiteY0" fmla="*/ 0 h 186220"/>
              <a:gd name="connsiteX1" fmla="*/ 8678702 w 8678702"/>
              <a:gd name="connsiteY1" fmla="*/ 0 h 186220"/>
              <a:gd name="connsiteX2" fmla="*/ 8314443 w 8678702"/>
              <a:gd name="connsiteY2" fmla="*/ 182880 h 186220"/>
              <a:gd name="connsiteX3" fmla="*/ 6661 w 8678702"/>
              <a:gd name="connsiteY3" fmla="*/ 186220 h 186220"/>
              <a:gd name="connsiteX4" fmla="*/ 0 w 8678702"/>
              <a:gd name="connsiteY4" fmla="*/ 0 h 186220"/>
              <a:gd name="connsiteX0" fmla="*/ 133211 w 8672041"/>
              <a:gd name="connsiteY0" fmla="*/ 50097 h 186220"/>
              <a:gd name="connsiteX1" fmla="*/ 8672041 w 8672041"/>
              <a:gd name="connsiteY1" fmla="*/ 0 h 186220"/>
              <a:gd name="connsiteX2" fmla="*/ 8307782 w 8672041"/>
              <a:gd name="connsiteY2" fmla="*/ 182880 h 186220"/>
              <a:gd name="connsiteX3" fmla="*/ 0 w 8672041"/>
              <a:gd name="connsiteY3" fmla="*/ 186220 h 186220"/>
              <a:gd name="connsiteX4" fmla="*/ 133211 w 8672041"/>
              <a:gd name="connsiteY4" fmla="*/ 50097 h 186220"/>
              <a:gd name="connsiteX0" fmla="*/ 3330 w 8672041"/>
              <a:gd name="connsiteY0" fmla="*/ 3340 h 186220"/>
              <a:gd name="connsiteX1" fmla="*/ 8672041 w 8672041"/>
              <a:gd name="connsiteY1" fmla="*/ 0 h 186220"/>
              <a:gd name="connsiteX2" fmla="*/ 8307782 w 8672041"/>
              <a:gd name="connsiteY2" fmla="*/ 182880 h 186220"/>
              <a:gd name="connsiteX3" fmla="*/ 0 w 8672041"/>
              <a:gd name="connsiteY3" fmla="*/ 186220 h 186220"/>
              <a:gd name="connsiteX4" fmla="*/ 3330 w 8672041"/>
              <a:gd name="connsiteY4" fmla="*/ 3340 h 186220"/>
              <a:gd name="connsiteX0" fmla="*/ 3330 w 8672041"/>
              <a:gd name="connsiteY0" fmla="*/ 3340 h 186220"/>
              <a:gd name="connsiteX1" fmla="*/ 8672041 w 8672041"/>
              <a:gd name="connsiteY1" fmla="*/ 0 h 186220"/>
              <a:gd name="connsiteX2" fmla="*/ 8307782 w 8672041"/>
              <a:gd name="connsiteY2" fmla="*/ 182880 h 186220"/>
              <a:gd name="connsiteX3" fmla="*/ 0 w 8672041"/>
              <a:gd name="connsiteY3" fmla="*/ 186220 h 186220"/>
              <a:gd name="connsiteX4" fmla="*/ 3330 w 8672041"/>
              <a:gd name="connsiteY4" fmla="*/ 3340 h 186220"/>
              <a:gd name="connsiteX0" fmla="*/ 0 w 8674979"/>
              <a:gd name="connsiteY0" fmla="*/ 3340 h 186220"/>
              <a:gd name="connsiteX1" fmla="*/ 8674979 w 8674979"/>
              <a:gd name="connsiteY1" fmla="*/ 0 h 186220"/>
              <a:gd name="connsiteX2" fmla="*/ 8310720 w 8674979"/>
              <a:gd name="connsiteY2" fmla="*/ 182880 h 186220"/>
              <a:gd name="connsiteX3" fmla="*/ 2938 w 8674979"/>
              <a:gd name="connsiteY3" fmla="*/ 186220 h 186220"/>
              <a:gd name="connsiteX4" fmla="*/ 0 w 8674979"/>
              <a:gd name="connsiteY4" fmla="*/ 3340 h 186220"/>
              <a:gd name="connsiteX0" fmla="*/ 0 w 8674979"/>
              <a:gd name="connsiteY0" fmla="*/ 0 h 189166"/>
              <a:gd name="connsiteX1" fmla="*/ 8674979 w 8674979"/>
              <a:gd name="connsiteY1" fmla="*/ 2946 h 189166"/>
              <a:gd name="connsiteX2" fmla="*/ 8310720 w 8674979"/>
              <a:gd name="connsiteY2" fmla="*/ 185826 h 189166"/>
              <a:gd name="connsiteX3" fmla="*/ 2938 w 8674979"/>
              <a:gd name="connsiteY3" fmla="*/ 189166 h 189166"/>
              <a:gd name="connsiteX4" fmla="*/ 0 w 8674979"/>
              <a:gd name="connsiteY4" fmla="*/ 0 h 189166"/>
              <a:gd name="connsiteX0" fmla="*/ 0 w 8674979"/>
              <a:gd name="connsiteY0" fmla="*/ 444 h 189610"/>
              <a:gd name="connsiteX1" fmla="*/ 8674979 w 8674979"/>
              <a:gd name="connsiteY1" fmla="*/ 0 h 189610"/>
              <a:gd name="connsiteX2" fmla="*/ 8310720 w 8674979"/>
              <a:gd name="connsiteY2" fmla="*/ 186270 h 189610"/>
              <a:gd name="connsiteX3" fmla="*/ 2938 w 8674979"/>
              <a:gd name="connsiteY3" fmla="*/ 189610 h 189610"/>
              <a:gd name="connsiteX4" fmla="*/ 0 w 8674979"/>
              <a:gd name="connsiteY4" fmla="*/ 444 h 189610"/>
              <a:gd name="connsiteX0" fmla="*/ 0 w 8674979"/>
              <a:gd name="connsiteY0" fmla="*/ 444 h 189660"/>
              <a:gd name="connsiteX1" fmla="*/ 8674979 w 8674979"/>
              <a:gd name="connsiteY1" fmla="*/ 0 h 189660"/>
              <a:gd name="connsiteX2" fmla="*/ 8310720 w 8674979"/>
              <a:gd name="connsiteY2" fmla="*/ 189660 h 189660"/>
              <a:gd name="connsiteX3" fmla="*/ 2938 w 8674979"/>
              <a:gd name="connsiteY3" fmla="*/ 189610 h 189660"/>
              <a:gd name="connsiteX4" fmla="*/ 0 w 8674979"/>
              <a:gd name="connsiteY4" fmla="*/ 444 h 189660"/>
              <a:gd name="connsiteX0" fmla="*/ 0 w 10119577"/>
              <a:gd name="connsiteY0" fmla="*/ 0 h 189216"/>
              <a:gd name="connsiteX1" fmla="*/ 10119577 w 10119577"/>
              <a:gd name="connsiteY1" fmla="*/ 686 h 189216"/>
              <a:gd name="connsiteX2" fmla="*/ 8310720 w 10119577"/>
              <a:gd name="connsiteY2" fmla="*/ 189216 h 189216"/>
              <a:gd name="connsiteX3" fmla="*/ 2938 w 10119577"/>
              <a:gd name="connsiteY3" fmla="*/ 189166 h 189216"/>
              <a:gd name="connsiteX4" fmla="*/ 0 w 10119577"/>
              <a:gd name="connsiteY4" fmla="*/ 0 h 189216"/>
              <a:gd name="connsiteX0" fmla="*/ 0 w 10119577"/>
              <a:gd name="connsiteY0" fmla="*/ 173 h 189389"/>
              <a:gd name="connsiteX1" fmla="*/ 10119577 w 10119577"/>
              <a:gd name="connsiteY1" fmla="*/ 0 h 189389"/>
              <a:gd name="connsiteX2" fmla="*/ 8310720 w 10119577"/>
              <a:gd name="connsiteY2" fmla="*/ 189389 h 189389"/>
              <a:gd name="connsiteX3" fmla="*/ 2938 w 10119577"/>
              <a:gd name="connsiteY3" fmla="*/ 189339 h 189389"/>
              <a:gd name="connsiteX4" fmla="*/ 0 w 10119577"/>
              <a:gd name="connsiteY4" fmla="*/ 173 h 189389"/>
              <a:gd name="connsiteX0" fmla="*/ 10004 w 10129581"/>
              <a:gd name="connsiteY0" fmla="*/ 173 h 189389"/>
              <a:gd name="connsiteX1" fmla="*/ 10129581 w 10129581"/>
              <a:gd name="connsiteY1" fmla="*/ 0 h 189389"/>
              <a:gd name="connsiteX2" fmla="*/ 8320724 w 10129581"/>
              <a:gd name="connsiteY2" fmla="*/ 189389 h 189389"/>
              <a:gd name="connsiteX3" fmla="*/ 57 w 10129581"/>
              <a:gd name="connsiteY3" fmla="*/ 189339 h 189389"/>
              <a:gd name="connsiteX4" fmla="*/ 10004 w 10129581"/>
              <a:gd name="connsiteY4" fmla="*/ 173 h 189389"/>
              <a:gd name="connsiteX0" fmla="*/ 9947 w 10129524"/>
              <a:gd name="connsiteY0" fmla="*/ 173 h 189389"/>
              <a:gd name="connsiteX1" fmla="*/ 10129524 w 10129524"/>
              <a:gd name="connsiteY1" fmla="*/ 0 h 189389"/>
              <a:gd name="connsiteX2" fmla="*/ 8320667 w 10129524"/>
              <a:gd name="connsiteY2" fmla="*/ 189389 h 189389"/>
              <a:gd name="connsiteX3" fmla="*/ 0 w 10129524"/>
              <a:gd name="connsiteY3" fmla="*/ 189339 h 189389"/>
              <a:gd name="connsiteX4" fmla="*/ 9947 w 10129524"/>
              <a:gd name="connsiteY4" fmla="*/ 173 h 189389"/>
              <a:gd name="connsiteX0" fmla="*/ 9947 w 10129524"/>
              <a:gd name="connsiteY0" fmla="*/ 173 h 189389"/>
              <a:gd name="connsiteX1" fmla="*/ 10129524 w 10129524"/>
              <a:gd name="connsiteY1" fmla="*/ 0 h 189389"/>
              <a:gd name="connsiteX2" fmla="*/ 8320667 w 10129524"/>
              <a:gd name="connsiteY2" fmla="*/ 189389 h 189389"/>
              <a:gd name="connsiteX3" fmla="*/ 0 w 10129524"/>
              <a:gd name="connsiteY3" fmla="*/ 189339 h 189389"/>
              <a:gd name="connsiteX4" fmla="*/ 9947 w 10129524"/>
              <a:gd name="connsiteY4" fmla="*/ 173 h 189389"/>
              <a:gd name="connsiteX0" fmla="*/ 0 w 10119577"/>
              <a:gd name="connsiteY0" fmla="*/ 173 h 189389"/>
              <a:gd name="connsiteX1" fmla="*/ 10119577 w 10119577"/>
              <a:gd name="connsiteY1" fmla="*/ 0 h 189389"/>
              <a:gd name="connsiteX2" fmla="*/ 8310720 w 10119577"/>
              <a:gd name="connsiteY2" fmla="*/ 189389 h 189389"/>
              <a:gd name="connsiteX3" fmla="*/ 15823 w 10119577"/>
              <a:gd name="connsiteY3" fmla="*/ 189339 h 189389"/>
              <a:gd name="connsiteX4" fmla="*/ 0 w 10119577"/>
              <a:gd name="connsiteY4" fmla="*/ 173 h 189389"/>
              <a:gd name="connsiteX0" fmla="*/ 0 w 10119577"/>
              <a:gd name="connsiteY0" fmla="*/ 173 h 189389"/>
              <a:gd name="connsiteX1" fmla="*/ 10119577 w 10119577"/>
              <a:gd name="connsiteY1" fmla="*/ 0 h 189389"/>
              <a:gd name="connsiteX2" fmla="*/ 8310720 w 10119577"/>
              <a:gd name="connsiteY2" fmla="*/ 189389 h 189389"/>
              <a:gd name="connsiteX3" fmla="*/ 2938 w 10119577"/>
              <a:gd name="connsiteY3" fmla="*/ 189339 h 189389"/>
              <a:gd name="connsiteX4" fmla="*/ 0 w 10119577"/>
              <a:gd name="connsiteY4" fmla="*/ 173 h 189389"/>
              <a:gd name="connsiteX0" fmla="*/ 0 w 21540281"/>
              <a:gd name="connsiteY0" fmla="*/ 9120 h 189389"/>
              <a:gd name="connsiteX1" fmla="*/ 21540281 w 21540281"/>
              <a:gd name="connsiteY1" fmla="*/ 0 h 189389"/>
              <a:gd name="connsiteX2" fmla="*/ 19731424 w 21540281"/>
              <a:gd name="connsiteY2" fmla="*/ 189389 h 189389"/>
              <a:gd name="connsiteX3" fmla="*/ 11423642 w 21540281"/>
              <a:gd name="connsiteY3" fmla="*/ 189339 h 189389"/>
              <a:gd name="connsiteX4" fmla="*/ 0 w 21540281"/>
              <a:gd name="connsiteY4" fmla="*/ 9120 h 189389"/>
              <a:gd name="connsiteX0" fmla="*/ 0 w 21540281"/>
              <a:gd name="connsiteY0" fmla="*/ 9120 h 192321"/>
              <a:gd name="connsiteX1" fmla="*/ 21540281 w 21540281"/>
              <a:gd name="connsiteY1" fmla="*/ 0 h 192321"/>
              <a:gd name="connsiteX2" fmla="*/ 19731424 w 21540281"/>
              <a:gd name="connsiteY2" fmla="*/ 189389 h 192321"/>
              <a:gd name="connsiteX3" fmla="*/ 2942 w 21540281"/>
              <a:gd name="connsiteY3" fmla="*/ 192321 h 192321"/>
              <a:gd name="connsiteX4" fmla="*/ 0 w 21540281"/>
              <a:gd name="connsiteY4" fmla="*/ 9120 h 192321"/>
              <a:gd name="connsiteX0" fmla="*/ 0 w 21540281"/>
              <a:gd name="connsiteY0" fmla="*/ 6138 h 192321"/>
              <a:gd name="connsiteX1" fmla="*/ 21540281 w 21540281"/>
              <a:gd name="connsiteY1" fmla="*/ 0 h 192321"/>
              <a:gd name="connsiteX2" fmla="*/ 19731424 w 21540281"/>
              <a:gd name="connsiteY2" fmla="*/ 189389 h 192321"/>
              <a:gd name="connsiteX3" fmla="*/ 2942 w 21540281"/>
              <a:gd name="connsiteY3" fmla="*/ 192321 h 192321"/>
              <a:gd name="connsiteX4" fmla="*/ 0 w 21540281"/>
              <a:gd name="connsiteY4" fmla="*/ 6138 h 192321"/>
              <a:gd name="connsiteX0" fmla="*/ 2579162 w 24119443"/>
              <a:gd name="connsiteY0" fmla="*/ 6138 h 192321"/>
              <a:gd name="connsiteX1" fmla="*/ 24119443 w 24119443"/>
              <a:gd name="connsiteY1" fmla="*/ 0 h 192321"/>
              <a:gd name="connsiteX2" fmla="*/ 22310586 w 24119443"/>
              <a:gd name="connsiteY2" fmla="*/ 189389 h 192321"/>
              <a:gd name="connsiteX3" fmla="*/ 2582104 w 24119443"/>
              <a:gd name="connsiteY3" fmla="*/ 192321 h 192321"/>
              <a:gd name="connsiteX4" fmla="*/ 2579162 w 24119443"/>
              <a:gd name="connsiteY4" fmla="*/ 6138 h 192321"/>
              <a:gd name="connsiteX0" fmla="*/ 1459081 w 22999362"/>
              <a:gd name="connsiteY0" fmla="*/ 6138 h 192321"/>
              <a:gd name="connsiteX1" fmla="*/ 22999362 w 22999362"/>
              <a:gd name="connsiteY1" fmla="*/ 0 h 192321"/>
              <a:gd name="connsiteX2" fmla="*/ 21190505 w 22999362"/>
              <a:gd name="connsiteY2" fmla="*/ 189389 h 192321"/>
              <a:gd name="connsiteX3" fmla="*/ 1462023 w 22999362"/>
              <a:gd name="connsiteY3" fmla="*/ 192321 h 192321"/>
              <a:gd name="connsiteX4" fmla="*/ 1459081 w 22999362"/>
              <a:gd name="connsiteY4" fmla="*/ 6138 h 192321"/>
              <a:gd name="connsiteX0" fmla="*/ 2579108 w 24119389"/>
              <a:gd name="connsiteY0" fmla="*/ 6138 h 192321"/>
              <a:gd name="connsiteX1" fmla="*/ 24119389 w 24119389"/>
              <a:gd name="connsiteY1" fmla="*/ 0 h 192321"/>
              <a:gd name="connsiteX2" fmla="*/ 22310532 w 24119389"/>
              <a:gd name="connsiteY2" fmla="*/ 189389 h 192321"/>
              <a:gd name="connsiteX3" fmla="*/ 2582050 w 24119389"/>
              <a:gd name="connsiteY3" fmla="*/ 192321 h 192321"/>
              <a:gd name="connsiteX4" fmla="*/ 2579108 w 24119389"/>
              <a:gd name="connsiteY4" fmla="*/ 6138 h 192321"/>
              <a:gd name="connsiteX0" fmla="*/ 1594923 w 23135204"/>
              <a:gd name="connsiteY0" fmla="*/ 6138 h 192321"/>
              <a:gd name="connsiteX1" fmla="*/ 23135204 w 23135204"/>
              <a:gd name="connsiteY1" fmla="*/ 0 h 192321"/>
              <a:gd name="connsiteX2" fmla="*/ 21326347 w 23135204"/>
              <a:gd name="connsiteY2" fmla="*/ 189389 h 192321"/>
              <a:gd name="connsiteX3" fmla="*/ 1597865 w 23135204"/>
              <a:gd name="connsiteY3" fmla="*/ 192321 h 192321"/>
              <a:gd name="connsiteX4" fmla="*/ 1594923 w 23135204"/>
              <a:gd name="connsiteY4" fmla="*/ 6138 h 192321"/>
              <a:gd name="connsiteX0" fmla="*/ 1 w 21540282"/>
              <a:gd name="connsiteY0" fmla="*/ 6138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3 w 21540282"/>
              <a:gd name="connsiteY3" fmla="*/ 192321 h 192321"/>
              <a:gd name="connsiteX4" fmla="*/ 1 w 21540282"/>
              <a:gd name="connsiteY4" fmla="*/ 6138 h 192321"/>
              <a:gd name="connsiteX0" fmla="*/ 0 w 21540282"/>
              <a:gd name="connsiteY0" fmla="*/ 3156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3 w 21540282"/>
              <a:gd name="connsiteY3" fmla="*/ 192321 h 192321"/>
              <a:gd name="connsiteX4" fmla="*/ 0 w 21540282"/>
              <a:gd name="connsiteY4" fmla="*/ 3156 h 192321"/>
              <a:gd name="connsiteX0" fmla="*/ 0 w 21540282"/>
              <a:gd name="connsiteY0" fmla="*/ 347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3 w 21540282"/>
              <a:gd name="connsiteY3" fmla="*/ 192321 h 192321"/>
              <a:gd name="connsiteX4" fmla="*/ 0 w 21540282"/>
              <a:gd name="connsiteY4" fmla="*/ 347 h 192321"/>
              <a:gd name="connsiteX0" fmla="*/ 0 w 21540282"/>
              <a:gd name="connsiteY0" fmla="*/ 347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2 w 21540282"/>
              <a:gd name="connsiteY3" fmla="*/ 192321 h 192321"/>
              <a:gd name="connsiteX4" fmla="*/ 0 w 21540282"/>
              <a:gd name="connsiteY4" fmla="*/ 347 h 192321"/>
              <a:gd name="connsiteX0" fmla="*/ 0 w 21540282"/>
              <a:gd name="connsiteY0" fmla="*/ 347 h 189512"/>
              <a:gd name="connsiteX1" fmla="*/ 21540282 w 21540282"/>
              <a:gd name="connsiteY1" fmla="*/ 0 h 189512"/>
              <a:gd name="connsiteX2" fmla="*/ 19731425 w 21540282"/>
              <a:gd name="connsiteY2" fmla="*/ 189389 h 189512"/>
              <a:gd name="connsiteX3" fmla="*/ 2942 w 21540282"/>
              <a:gd name="connsiteY3" fmla="*/ 189512 h 189512"/>
              <a:gd name="connsiteX4" fmla="*/ 0 w 21540282"/>
              <a:gd name="connsiteY4" fmla="*/ 347 h 189512"/>
              <a:gd name="connsiteX0" fmla="*/ 0 w 20903501"/>
              <a:gd name="connsiteY0" fmla="*/ 347 h 189512"/>
              <a:gd name="connsiteX1" fmla="*/ 20903501 w 20903501"/>
              <a:gd name="connsiteY1" fmla="*/ 0 h 189512"/>
              <a:gd name="connsiteX2" fmla="*/ 19731425 w 20903501"/>
              <a:gd name="connsiteY2" fmla="*/ 189389 h 189512"/>
              <a:gd name="connsiteX3" fmla="*/ 2942 w 20903501"/>
              <a:gd name="connsiteY3" fmla="*/ 189512 h 189512"/>
              <a:gd name="connsiteX4" fmla="*/ 0 w 20903501"/>
              <a:gd name="connsiteY4" fmla="*/ 347 h 189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903501" h="189512">
                <a:moveTo>
                  <a:pt x="0" y="347"/>
                </a:moveTo>
                <a:lnTo>
                  <a:pt x="20903501" y="0"/>
                </a:lnTo>
                <a:lnTo>
                  <a:pt x="19731425" y="189389"/>
                </a:lnTo>
                <a:lnTo>
                  <a:pt x="2942" y="189512"/>
                </a:lnTo>
                <a:cubicBezTo>
                  <a:pt x="1961" y="125521"/>
                  <a:pt x="981" y="64338"/>
                  <a:pt x="0" y="34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2883" y="3748408"/>
            <a:ext cx="8457972" cy="984333"/>
          </a:xfrm>
        </p:spPr>
        <p:txBody>
          <a:bodyPr anchor="b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12883" y="4800476"/>
            <a:ext cx="8457972" cy="640767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12883" y="5580380"/>
            <a:ext cx="3303862" cy="3651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1000">
                <a:solidFill>
                  <a:schemeClr val="tx1"/>
                </a:solidFill>
                <a:latin typeface="+mn-lt"/>
                <a:cs typeface="Arial"/>
              </a:defRPr>
            </a:lvl1pPr>
          </a:lstStyle>
          <a:p>
            <a:endParaRPr lang="en-US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38F46E6-B30F-4BB4-8F82-08AD4C6EA83F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74032" y="5851212"/>
            <a:ext cx="1060725" cy="822309"/>
          </a:xfrm>
          <a:prstGeom prst="rect">
            <a:avLst/>
          </a:prstGeom>
        </p:spPr>
      </p:pic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B1B375D4-5229-42D1-ACCC-C091DAB25EB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-11117" y="1927755"/>
            <a:ext cx="3018306" cy="1706562"/>
          </a:xfr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17" name="Picture Placeholder 15">
            <a:extLst>
              <a:ext uri="{FF2B5EF4-FFF2-40B4-BE49-F238E27FC236}">
                <a16:creationId xmlns:a16="http://schemas.microsoft.com/office/drawing/2014/main" id="{9AA1076D-6C42-4BB3-BA4D-45B182AC9A43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050486" y="1927755"/>
            <a:ext cx="3018306" cy="1706562"/>
          </a:xfr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18" name="Picture Placeholder 15">
            <a:extLst>
              <a:ext uri="{FF2B5EF4-FFF2-40B4-BE49-F238E27FC236}">
                <a16:creationId xmlns:a16="http://schemas.microsoft.com/office/drawing/2014/main" id="{94262E97-B7F8-4095-A959-B2C6D66AE08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12090" y="1927755"/>
            <a:ext cx="3018306" cy="1706562"/>
          </a:xfr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Insert photo here</a:t>
            </a:r>
          </a:p>
        </p:txBody>
      </p:sp>
      <p:sp>
        <p:nvSpPr>
          <p:cNvPr id="19" name="Picture Placeholder 15">
            <a:extLst>
              <a:ext uri="{FF2B5EF4-FFF2-40B4-BE49-F238E27FC236}">
                <a16:creationId xmlns:a16="http://schemas.microsoft.com/office/drawing/2014/main" id="{C14C4D13-49AC-4208-BEFF-0899F4B2E2E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173694" y="1927755"/>
            <a:ext cx="3018306" cy="1706562"/>
          </a:xfr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Insert photo here</a:t>
            </a:r>
          </a:p>
        </p:txBody>
      </p:sp>
    </p:spTree>
    <p:extLst>
      <p:ext uri="{BB962C8B-B14F-4D97-AF65-F5344CB8AC3E}">
        <p14:creationId xmlns:p14="http://schemas.microsoft.com/office/powerpoint/2010/main" val="2439264813"/>
      </p:ext>
    </p:extLst>
  </p:cSld>
  <p:clrMapOvr>
    <a:masterClrMapping/>
  </p:clrMapOvr>
  <p:hf hdr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6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7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2.xml"/><Relationship Id="rId21" Type="http://schemas.openxmlformats.org/officeDocument/2006/relationships/slideLayout" Target="../slideLayouts/slideLayout50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5" Type="http://schemas.openxmlformats.org/officeDocument/2006/relationships/image" Target="../media/image3.emf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slideLayout" Target="../slideLayouts/slideLayout49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24" Type="http://schemas.openxmlformats.org/officeDocument/2006/relationships/oleObject" Target="../embeddings/oleObject2.bin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39.xml"/><Relationship Id="rId19" Type="http://schemas.openxmlformats.org/officeDocument/2006/relationships/slideLayout" Target="../slideLayouts/slideLayout48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Relationship Id="rId22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52.xml"/><Relationship Id="rId16" Type="http://schemas.openxmlformats.org/officeDocument/2006/relationships/theme" Target="../theme/theme4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10" Type="http://schemas.openxmlformats.org/officeDocument/2006/relationships/slideLayout" Target="../slideLayouts/slideLayout60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3.xml"/><Relationship Id="rId13" Type="http://schemas.openxmlformats.org/officeDocument/2006/relationships/slideLayout" Target="../slideLayouts/slideLayout78.xml"/><Relationship Id="rId18" Type="http://schemas.openxmlformats.org/officeDocument/2006/relationships/slideLayout" Target="../slideLayouts/slideLayout83.xml"/><Relationship Id="rId3" Type="http://schemas.openxmlformats.org/officeDocument/2006/relationships/slideLayout" Target="../slideLayouts/slideLayout68.xml"/><Relationship Id="rId7" Type="http://schemas.openxmlformats.org/officeDocument/2006/relationships/slideLayout" Target="../slideLayouts/slideLayout72.xml"/><Relationship Id="rId12" Type="http://schemas.openxmlformats.org/officeDocument/2006/relationships/slideLayout" Target="../slideLayouts/slideLayout77.xml"/><Relationship Id="rId17" Type="http://schemas.openxmlformats.org/officeDocument/2006/relationships/slideLayout" Target="../slideLayouts/slideLayout82.xml"/><Relationship Id="rId2" Type="http://schemas.openxmlformats.org/officeDocument/2006/relationships/slideLayout" Target="../slideLayouts/slideLayout67.xml"/><Relationship Id="rId16" Type="http://schemas.openxmlformats.org/officeDocument/2006/relationships/slideLayout" Target="../slideLayouts/slideLayout81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11" Type="http://schemas.openxmlformats.org/officeDocument/2006/relationships/slideLayout" Target="../slideLayouts/slideLayout76.xml"/><Relationship Id="rId5" Type="http://schemas.openxmlformats.org/officeDocument/2006/relationships/slideLayout" Target="../slideLayouts/slideLayout70.xml"/><Relationship Id="rId15" Type="http://schemas.openxmlformats.org/officeDocument/2006/relationships/slideLayout" Target="../slideLayouts/slideLayout80.xml"/><Relationship Id="rId10" Type="http://schemas.openxmlformats.org/officeDocument/2006/relationships/slideLayout" Target="../slideLayouts/slideLayout75.xml"/><Relationship Id="rId19" Type="http://schemas.openxmlformats.org/officeDocument/2006/relationships/theme" Target="../theme/theme5.xml"/><Relationship Id="rId4" Type="http://schemas.openxmlformats.org/officeDocument/2006/relationships/slideLayout" Target="../slideLayouts/slideLayout69.xml"/><Relationship Id="rId9" Type="http://schemas.openxmlformats.org/officeDocument/2006/relationships/slideLayout" Target="../slideLayouts/slideLayout74.xml"/><Relationship Id="rId14" Type="http://schemas.openxmlformats.org/officeDocument/2006/relationships/slideLayout" Target="../slideLayouts/slideLayout79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1.xml"/><Relationship Id="rId13" Type="http://schemas.openxmlformats.org/officeDocument/2006/relationships/slideLayout" Target="../slideLayouts/slideLayout96.xml"/><Relationship Id="rId3" Type="http://schemas.openxmlformats.org/officeDocument/2006/relationships/slideLayout" Target="../slideLayouts/slideLayout86.xml"/><Relationship Id="rId7" Type="http://schemas.openxmlformats.org/officeDocument/2006/relationships/slideLayout" Target="../slideLayouts/slideLayout90.xml"/><Relationship Id="rId12" Type="http://schemas.openxmlformats.org/officeDocument/2006/relationships/slideLayout" Target="../slideLayouts/slideLayout95.xml"/><Relationship Id="rId2" Type="http://schemas.openxmlformats.org/officeDocument/2006/relationships/slideLayout" Target="../slideLayouts/slideLayout85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84.xml"/><Relationship Id="rId6" Type="http://schemas.openxmlformats.org/officeDocument/2006/relationships/slideLayout" Target="../slideLayouts/slideLayout89.xml"/><Relationship Id="rId11" Type="http://schemas.openxmlformats.org/officeDocument/2006/relationships/slideLayout" Target="../slideLayouts/slideLayout94.xml"/><Relationship Id="rId5" Type="http://schemas.openxmlformats.org/officeDocument/2006/relationships/slideLayout" Target="../slideLayouts/slideLayout88.xml"/><Relationship Id="rId15" Type="http://schemas.openxmlformats.org/officeDocument/2006/relationships/theme" Target="../theme/theme6.xml"/><Relationship Id="rId10" Type="http://schemas.openxmlformats.org/officeDocument/2006/relationships/slideLayout" Target="../slideLayouts/slideLayout93.xml"/><Relationship Id="rId4" Type="http://schemas.openxmlformats.org/officeDocument/2006/relationships/slideLayout" Target="../slideLayouts/slideLayout87.xml"/><Relationship Id="rId9" Type="http://schemas.openxmlformats.org/officeDocument/2006/relationships/slideLayout" Target="../slideLayouts/slideLayout92.xml"/><Relationship Id="rId14" Type="http://schemas.openxmlformats.org/officeDocument/2006/relationships/slideLayout" Target="../slideLayouts/slideLayout97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5.xml"/><Relationship Id="rId13" Type="http://schemas.openxmlformats.org/officeDocument/2006/relationships/slideLayout" Target="../slideLayouts/slideLayout110.xml"/><Relationship Id="rId3" Type="http://schemas.openxmlformats.org/officeDocument/2006/relationships/slideLayout" Target="../slideLayouts/slideLayout100.xml"/><Relationship Id="rId7" Type="http://schemas.openxmlformats.org/officeDocument/2006/relationships/slideLayout" Target="../slideLayouts/slideLayout104.xml"/><Relationship Id="rId12" Type="http://schemas.openxmlformats.org/officeDocument/2006/relationships/slideLayout" Target="../slideLayouts/slideLayout109.xml"/><Relationship Id="rId2" Type="http://schemas.openxmlformats.org/officeDocument/2006/relationships/slideLayout" Target="../slideLayouts/slideLayout99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98.xml"/><Relationship Id="rId6" Type="http://schemas.openxmlformats.org/officeDocument/2006/relationships/slideLayout" Target="../slideLayouts/slideLayout103.xml"/><Relationship Id="rId11" Type="http://schemas.openxmlformats.org/officeDocument/2006/relationships/slideLayout" Target="../slideLayouts/slideLayout108.xml"/><Relationship Id="rId5" Type="http://schemas.openxmlformats.org/officeDocument/2006/relationships/slideLayout" Target="../slideLayouts/slideLayout102.xml"/><Relationship Id="rId15" Type="http://schemas.openxmlformats.org/officeDocument/2006/relationships/theme" Target="../theme/theme7.xml"/><Relationship Id="rId10" Type="http://schemas.openxmlformats.org/officeDocument/2006/relationships/slideLayout" Target="../slideLayouts/slideLayout107.xml"/><Relationship Id="rId4" Type="http://schemas.openxmlformats.org/officeDocument/2006/relationships/slideLayout" Target="../slideLayouts/slideLayout101.xml"/><Relationship Id="rId9" Type="http://schemas.openxmlformats.org/officeDocument/2006/relationships/slideLayout" Target="../slideLayouts/slideLayout106.xml"/><Relationship Id="rId14" Type="http://schemas.openxmlformats.org/officeDocument/2006/relationships/slideLayout" Target="../slideLayouts/slideLayout1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12883" y="323849"/>
            <a:ext cx="11674340" cy="859536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12883" y="1274825"/>
            <a:ext cx="11674340" cy="47091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63811" y="6496407"/>
            <a:ext cx="9460550" cy="17222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>
              <a:defRPr sz="1000">
                <a:solidFill>
                  <a:schemeClr val="tx2"/>
                </a:solidFill>
                <a:latin typeface="+mn-lt"/>
                <a:cs typeface="Arial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08056" y="6496407"/>
            <a:ext cx="455756" cy="17222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>
              <a:defRPr sz="1000">
                <a:solidFill>
                  <a:schemeClr val="tx2"/>
                </a:solidFill>
                <a:latin typeface="+mn-lt"/>
                <a:cs typeface="Arial"/>
              </a:defRPr>
            </a:lvl1pPr>
          </a:lstStyle>
          <a:p>
            <a:fld id="{FD9C4343-C115-504A-8D4F-0B17318D4A4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87686" y="6171890"/>
            <a:ext cx="647072" cy="501631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7780829" y="-3095"/>
            <a:ext cx="4411172" cy="177031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4" name="Rectangle 3"/>
          <p:cNvSpPr/>
          <p:nvPr/>
        </p:nvSpPr>
        <p:spPr>
          <a:xfrm>
            <a:off x="1" y="-4944"/>
            <a:ext cx="8268272" cy="184773"/>
          </a:xfrm>
          <a:custGeom>
            <a:avLst/>
            <a:gdLst>
              <a:gd name="connsiteX0" fmla="*/ 0 w 6709251"/>
              <a:gd name="connsiteY0" fmla="*/ 0 h 182880"/>
              <a:gd name="connsiteX1" fmla="*/ 6709251 w 6709251"/>
              <a:gd name="connsiteY1" fmla="*/ 0 h 182880"/>
              <a:gd name="connsiteX2" fmla="*/ 6709251 w 6709251"/>
              <a:gd name="connsiteY2" fmla="*/ 182880 h 182880"/>
              <a:gd name="connsiteX3" fmla="*/ 0 w 6709251"/>
              <a:gd name="connsiteY3" fmla="*/ 182880 h 182880"/>
              <a:gd name="connsiteX4" fmla="*/ 0 w 6709251"/>
              <a:gd name="connsiteY4" fmla="*/ 0 h 182880"/>
              <a:gd name="connsiteX0" fmla="*/ 0 w 7073510"/>
              <a:gd name="connsiteY0" fmla="*/ 0 h 182880"/>
              <a:gd name="connsiteX1" fmla="*/ 7073510 w 7073510"/>
              <a:gd name="connsiteY1" fmla="*/ 0 h 182880"/>
              <a:gd name="connsiteX2" fmla="*/ 6709251 w 7073510"/>
              <a:gd name="connsiteY2" fmla="*/ 182880 h 182880"/>
              <a:gd name="connsiteX3" fmla="*/ 0 w 7073510"/>
              <a:gd name="connsiteY3" fmla="*/ 182880 h 182880"/>
              <a:gd name="connsiteX4" fmla="*/ 0 w 7073510"/>
              <a:gd name="connsiteY4" fmla="*/ 0 h 182880"/>
              <a:gd name="connsiteX0" fmla="*/ 0 w 8678702"/>
              <a:gd name="connsiteY0" fmla="*/ 0 h 182880"/>
              <a:gd name="connsiteX1" fmla="*/ 8678702 w 8678702"/>
              <a:gd name="connsiteY1" fmla="*/ 0 h 182880"/>
              <a:gd name="connsiteX2" fmla="*/ 8314443 w 8678702"/>
              <a:gd name="connsiteY2" fmla="*/ 182880 h 182880"/>
              <a:gd name="connsiteX3" fmla="*/ 1605192 w 8678702"/>
              <a:gd name="connsiteY3" fmla="*/ 182880 h 182880"/>
              <a:gd name="connsiteX4" fmla="*/ 0 w 8678702"/>
              <a:gd name="connsiteY4" fmla="*/ 0 h 182880"/>
              <a:gd name="connsiteX0" fmla="*/ 0 w 8678702"/>
              <a:gd name="connsiteY0" fmla="*/ 0 h 186220"/>
              <a:gd name="connsiteX1" fmla="*/ 8678702 w 8678702"/>
              <a:gd name="connsiteY1" fmla="*/ 0 h 186220"/>
              <a:gd name="connsiteX2" fmla="*/ 8314443 w 8678702"/>
              <a:gd name="connsiteY2" fmla="*/ 182880 h 186220"/>
              <a:gd name="connsiteX3" fmla="*/ 6661 w 8678702"/>
              <a:gd name="connsiteY3" fmla="*/ 186220 h 186220"/>
              <a:gd name="connsiteX4" fmla="*/ 0 w 8678702"/>
              <a:gd name="connsiteY4" fmla="*/ 0 h 186220"/>
              <a:gd name="connsiteX0" fmla="*/ 133211 w 8672041"/>
              <a:gd name="connsiteY0" fmla="*/ 50097 h 186220"/>
              <a:gd name="connsiteX1" fmla="*/ 8672041 w 8672041"/>
              <a:gd name="connsiteY1" fmla="*/ 0 h 186220"/>
              <a:gd name="connsiteX2" fmla="*/ 8307782 w 8672041"/>
              <a:gd name="connsiteY2" fmla="*/ 182880 h 186220"/>
              <a:gd name="connsiteX3" fmla="*/ 0 w 8672041"/>
              <a:gd name="connsiteY3" fmla="*/ 186220 h 186220"/>
              <a:gd name="connsiteX4" fmla="*/ 133211 w 8672041"/>
              <a:gd name="connsiteY4" fmla="*/ 50097 h 186220"/>
              <a:gd name="connsiteX0" fmla="*/ 3330 w 8672041"/>
              <a:gd name="connsiteY0" fmla="*/ 3340 h 186220"/>
              <a:gd name="connsiteX1" fmla="*/ 8672041 w 8672041"/>
              <a:gd name="connsiteY1" fmla="*/ 0 h 186220"/>
              <a:gd name="connsiteX2" fmla="*/ 8307782 w 8672041"/>
              <a:gd name="connsiteY2" fmla="*/ 182880 h 186220"/>
              <a:gd name="connsiteX3" fmla="*/ 0 w 8672041"/>
              <a:gd name="connsiteY3" fmla="*/ 186220 h 186220"/>
              <a:gd name="connsiteX4" fmla="*/ 3330 w 8672041"/>
              <a:gd name="connsiteY4" fmla="*/ 3340 h 186220"/>
              <a:gd name="connsiteX0" fmla="*/ 3330 w 8672041"/>
              <a:gd name="connsiteY0" fmla="*/ 3340 h 188165"/>
              <a:gd name="connsiteX1" fmla="*/ 8672041 w 8672041"/>
              <a:gd name="connsiteY1" fmla="*/ 0 h 188165"/>
              <a:gd name="connsiteX2" fmla="*/ 8307782 w 8672041"/>
              <a:gd name="connsiteY2" fmla="*/ 188165 h 188165"/>
              <a:gd name="connsiteX3" fmla="*/ 0 w 8672041"/>
              <a:gd name="connsiteY3" fmla="*/ 186220 h 188165"/>
              <a:gd name="connsiteX4" fmla="*/ 3330 w 8672041"/>
              <a:gd name="connsiteY4" fmla="*/ 3340 h 188165"/>
              <a:gd name="connsiteX0" fmla="*/ 3330 w 8672041"/>
              <a:gd name="connsiteY0" fmla="*/ 3340 h 186220"/>
              <a:gd name="connsiteX1" fmla="*/ 8672041 w 8672041"/>
              <a:gd name="connsiteY1" fmla="*/ 0 h 186220"/>
              <a:gd name="connsiteX2" fmla="*/ 8307782 w 8672041"/>
              <a:gd name="connsiteY2" fmla="*/ 182880 h 186220"/>
              <a:gd name="connsiteX3" fmla="*/ 0 w 8672041"/>
              <a:gd name="connsiteY3" fmla="*/ 186220 h 186220"/>
              <a:gd name="connsiteX4" fmla="*/ 3330 w 8672041"/>
              <a:gd name="connsiteY4" fmla="*/ 3340 h 186220"/>
              <a:gd name="connsiteX0" fmla="*/ 0 w 8673980"/>
              <a:gd name="connsiteY0" fmla="*/ 3340 h 186220"/>
              <a:gd name="connsiteX1" fmla="*/ 8673980 w 8673980"/>
              <a:gd name="connsiteY1" fmla="*/ 0 h 186220"/>
              <a:gd name="connsiteX2" fmla="*/ 8309721 w 8673980"/>
              <a:gd name="connsiteY2" fmla="*/ 182880 h 186220"/>
              <a:gd name="connsiteX3" fmla="*/ 1939 w 8673980"/>
              <a:gd name="connsiteY3" fmla="*/ 186220 h 186220"/>
              <a:gd name="connsiteX4" fmla="*/ 0 w 8673980"/>
              <a:gd name="connsiteY4" fmla="*/ 3340 h 186220"/>
              <a:gd name="connsiteX0" fmla="*/ 0 w 8673980"/>
              <a:gd name="connsiteY0" fmla="*/ 0 h 188166"/>
              <a:gd name="connsiteX1" fmla="*/ 8673980 w 8673980"/>
              <a:gd name="connsiteY1" fmla="*/ 1946 h 188166"/>
              <a:gd name="connsiteX2" fmla="*/ 8309721 w 8673980"/>
              <a:gd name="connsiteY2" fmla="*/ 184826 h 188166"/>
              <a:gd name="connsiteX3" fmla="*/ 1939 w 8673980"/>
              <a:gd name="connsiteY3" fmla="*/ 188166 h 188166"/>
              <a:gd name="connsiteX4" fmla="*/ 0 w 8673980"/>
              <a:gd name="connsiteY4" fmla="*/ 0 h 188166"/>
              <a:gd name="connsiteX0" fmla="*/ 8631 w 8682611"/>
              <a:gd name="connsiteY0" fmla="*/ 0 h 262155"/>
              <a:gd name="connsiteX1" fmla="*/ 8682611 w 8682611"/>
              <a:gd name="connsiteY1" fmla="*/ 1946 h 262155"/>
              <a:gd name="connsiteX2" fmla="*/ 8318352 w 8682611"/>
              <a:gd name="connsiteY2" fmla="*/ 184826 h 262155"/>
              <a:gd name="connsiteX3" fmla="*/ 30 w 8682611"/>
              <a:gd name="connsiteY3" fmla="*/ 262155 h 262155"/>
              <a:gd name="connsiteX4" fmla="*/ 8631 w 8682611"/>
              <a:gd name="connsiteY4" fmla="*/ 0 h 262155"/>
              <a:gd name="connsiteX0" fmla="*/ 3393 w 8677373"/>
              <a:gd name="connsiteY0" fmla="*/ 0 h 198736"/>
              <a:gd name="connsiteX1" fmla="*/ 8677373 w 8677373"/>
              <a:gd name="connsiteY1" fmla="*/ 1946 h 198736"/>
              <a:gd name="connsiteX2" fmla="*/ 8313114 w 8677373"/>
              <a:gd name="connsiteY2" fmla="*/ 184826 h 198736"/>
              <a:gd name="connsiteX3" fmla="*/ 63 w 8677373"/>
              <a:gd name="connsiteY3" fmla="*/ 198736 h 198736"/>
              <a:gd name="connsiteX4" fmla="*/ 3393 w 8677373"/>
              <a:gd name="connsiteY4" fmla="*/ 0 h 198736"/>
              <a:gd name="connsiteX0" fmla="*/ 3393 w 8677373"/>
              <a:gd name="connsiteY0" fmla="*/ 0 h 198736"/>
              <a:gd name="connsiteX1" fmla="*/ 8677373 w 8677373"/>
              <a:gd name="connsiteY1" fmla="*/ 1946 h 198736"/>
              <a:gd name="connsiteX2" fmla="*/ 8313115 w 8677373"/>
              <a:gd name="connsiteY2" fmla="*/ 189197 h 198736"/>
              <a:gd name="connsiteX3" fmla="*/ 63 w 8677373"/>
              <a:gd name="connsiteY3" fmla="*/ 198736 h 198736"/>
              <a:gd name="connsiteX4" fmla="*/ 3393 w 8677373"/>
              <a:gd name="connsiteY4" fmla="*/ 0 h 198736"/>
              <a:gd name="connsiteX0" fmla="*/ 0 w 8678339"/>
              <a:gd name="connsiteY0" fmla="*/ 0 h 198736"/>
              <a:gd name="connsiteX1" fmla="*/ 8678339 w 8678339"/>
              <a:gd name="connsiteY1" fmla="*/ 1946 h 198736"/>
              <a:gd name="connsiteX2" fmla="*/ 8314081 w 8678339"/>
              <a:gd name="connsiteY2" fmla="*/ 189197 h 198736"/>
              <a:gd name="connsiteX3" fmla="*/ 1029 w 8678339"/>
              <a:gd name="connsiteY3" fmla="*/ 198736 h 198736"/>
              <a:gd name="connsiteX4" fmla="*/ 0 w 8678339"/>
              <a:gd name="connsiteY4" fmla="*/ 0 h 198736"/>
              <a:gd name="connsiteX0" fmla="*/ 0 w 8678339"/>
              <a:gd name="connsiteY0" fmla="*/ 0 h 194364"/>
              <a:gd name="connsiteX1" fmla="*/ 8678339 w 8678339"/>
              <a:gd name="connsiteY1" fmla="*/ 1946 h 194364"/>
              <a:gd name="connsiteX2" fmla="*/ 8314081 w 8678339"/>
              <a:gd name="connsiteY2" fmla="*/ 189197 h 194364"/>
              <a:gd name="connsiteX3" fmla="*/ 1029 w 8678339"/>
              <a:gd name="connsiteY3" fmla="*/ 194364 h 194364"/>
              <a:gd name="connsiteX4" fmla="*/ 0 w 8678339"/>
              <a:gd name="connsiteY4" fmla="*/ 0 h 194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78339" h="194364">
                <a:moveTo>
                  <a:pt x="0" y="0"/>
                </a:moveTo>
                <a:lnTo>
                  <a:pt x="8678339" y="1946"/>
                </a:lnTo>
                <a:lnTo>
                  <a:pt x="8314081" y="189197"/>
                </a:lnTo>
                <a:lnTo>
                  <a:pt x="1029" y="194364"/>
                </a:lnTo>
                <a:cubicBezTo>
                  <a:pt x="383" y="133404"/>
                  <a:pt x="646" y="60960"/>
                  <a:pt x="0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Rectangle 10"/>
          <p:cNvSpPr/>
          <p:nvPr userDrawn="1"/>
        </p:nvSpPr>
        <p:spPr>
          <a:xfrm>
            <a:off x="7780829" y="-3094"/>
            <a:ext cx="4411172" cy="173856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3" name="Rectangle 3"/>
          <p:cNvSpPr/>
          <p:nvPr userDrawn="1"/>
        </p:nvSpPr>
        <p:spPr>
          <a:xfrm>
            <a:off x="-1588" y="-3094"/>
            <a:ext cx="8269862" cy="177031"/>
          </a:xfrm>
          <a:custGeom>
            <a:avLst/>
            <a:gdLst>
              <a:gd name="connsiteX0" fmla="*/ 0 w 6709251"/>
              <a:gd name="connsiteY0" fmla="*/ 0 h 182880"/>
              <a:gd name="connsiteX1" fmla="*/ 6709251 w 6709251"/>
              <a:gd name="connsiteY1" fmla="*/ 0 h 182880"/>
              <a:gd name="connsiteX2" fmla="*/ 6709251 w 6709251"/>
              <a:gd name="connsiteY2" fmla="*/ 182880 h 182880"/>
              <a:gd name="connsiteX3" fmla="*/ 0 w 6709251"/>
              <a:gd name="connsiteY3" fmla="*/ 182880 h 182880"/>
              <a:gd name="connsiteX4" fmla="*/ 0 w 6709251"/>
              <a:gd name="connsiteY4" fmla="*/ 0 h 182880"/>
              <a:gd name="connsiteX0" fmla="*/ 0 w 7073510"/>
              <a:gd name="connsiteY0" fmla="*/ 0 h 182880"/>
              <a:gd name="connsiteX1" fmla="*/ 7073510 w 7073510"/>
              <a:gd name="connsiteY1" fmla="*/ 0 h 182880"/>
              <a:gd name="connsiteX2" fmla="*/ 6709251 w 7073510"/>
              <a:gd name="connsiteY2" fmla="*/ 182880 h 182880"/>
              <a:gd name="connsiteX3" fmla="*/ 0 w 7073510"/>
              <a:gd name="connsiteY3" fmla="*/ 182880 h 182880"/>
              <a:gd name="connsiteX4" fmla="*/ 0 w 7073510"/>
              <a:gd name="connsiteY4" fmla="*/ 0 h 182880"/>
              <a:gd name="connsiteX0" fmla="*/ 0 w 8678702"/>
              <a:gd name="connsiteY0" fmla="*/ 0 h 182880"/>
              <a:gd name="connsiteX1" fmla="*/ 8678702 w 8678702"/>
              <a:gd name="connsiteY1" fmla="*/ 0 h 182880"/>
              <a:gd name="connsiteX2" fmla="*/ 8314443 w 8678702"/>
              <a:gd name="connsiteY2" fmla="*/ 182880 h 182880"/>
              <a:gd name="connsiteX3" fmla="*/ 1605192 w 8678702"/>
              <a:gd name="connsiteY3" fmla="*/ 182880 h 182880"/>
              <a:gd name="connsiteX4" fmla="*/ 0 w 8678702"/>
              <a:gd name="connsiteY4" fmla="*/ 0 h 182880"/>
              <a:gd name="connsiteX0" fmla="*/ 0 w 8678702"/>
              <a:gd name="connsiteY0" fmla="*/ 0 h 186220"/>
              <a:gd name="connsiteX1" fmla="*/ 8678702 w 8678702"/>
              <a:gd name="connsiteY1" fmla="*/ 0 h 186220"/>
              <a:gd name="connsiteX2" fmla="*/ 8314443 w 8678702"/>
              <a:gd name="connsiteY2" fmla="*/ 182880 h 186220"/>
              <a:gd name="connsiteX3" fmla="*/ 6661 w 8678702"/>
              <a:gd name="connsiteY3" fmla="*/ 186220 h 186220"/>
              <a:gd name="connsiteX4" fmla="*/ 0 w 8678702"/>
              <a:gd name="connsiteY4" fmla="*/ 0 h 186220"/>
              <a:gd name="connsiteX0" fmla="*/ 133211 w 8672041"/>
              <a:gd name="connsiteY0" fmla="*/ 50097 h 186220"/>
              <a:gd name="connsiteX1" fmla="*/ 8672041 w 8672041"/>
              <a:gd name="connsiteY1" fmla="*/ 0 h 186220"/>
              <a:gd name="connsiteX2" fmla="*/ 8307782 w 8672041"/>
              <a:gd name="connsiteY2" fmla="*/ 182880 h 186220"/>
              <a:gd name="connsiteX3" fmla="*/ 0 w 8672041"/>
              <a:gd name="connsiteY3" fmla="*/ 186220 h 186220"/>
              <a:gd name="connsiteX4" fmla="*/ 133211 w 8672041"/>
              <a:gd name="connsiteY4" fmla="*/ 50097 h 186220"/>
              <a:gd name="connsiteX0" fmla="*/ 3330 w 8672041"/>
              <a:gd name="connsiteY0" fmla="*/ 3340 h 186220"/>
              <a:gd name="connsiteX1" fmla="*/ 8672041 w 8672041"/>
              <a:gd name="connsiteY1" fmla="*/ 0 h 186220"/>
              <a:gd name="connsiteX2" fmla="*/ 8307782 w 8672041"/>
              <a:gd name="connsiteY2" fmla="*/ 182880 h 186220"/>
              <a:gd name="connsiteX3" fmla="*/ 0 w 8672041"/>
              <a:gd name="connsiteY3" fmla="*/ 186220 h 186220"/>
              <a:gd name="connsiteX4" fmla="*/ 3330 w 8672041"/>
              <a:gd name="connsiteY4" fmla="*/ 3340 h 18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72041" h="186220">
                <a:moveTo>
                  <a:pt x="3330" y="3340"/>
                </a:moveTo>
                <a:lnTo>
                  <a:pt x="8672041" y="0"/>
                </a:lnTo>
                <a:lnTo>
                  <a:pt x="8307782" y="182880"/>
                </a:lnTo>
                <a:lnTo>
                  <a:pt x="0" y="186220"/>
                </a:lnTo>
                <a:lnTo>
                  <a:pt x="3330" y="334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34002803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66" r:id="rId2"/>
    <p:sldLayoutId id="2147483767" r:id="rId3"/>
    <p:sldLayoutId id="2147483768" r:id="rId4"/>
    <p:sldLayoutId id="2147483769" r:id="rId5"/>
    <p:sldLayoutId id="2147483770" r:id="rId6"/>
    <p:sldLayoutId id="2147483771" r:id="rId7"/>
    <p:sldLayoutId id="2147483772" r:id="rId8"/>
    <p:sldLayoutId id="2147483773" r:id="rId9"/>
    <p:sldLayoutId id="2147483774" r:id="rId10"/>
    <p:sldLayoutId id="2147483775" r:id="rId11"/>
    <p:sldLayoutId id="2147483776" r:id="rId12"/>
    <p:sldLayoutId id="2147483777" r:id="rId13"/>
    <p:sldLayoutId id="2147483778" r:id="rId14"/>
  </p:sldLayoutIdLst>
  <p:hf hdr="0"/>
  <p:txStyles>
    <p:titleStyle>
      <a:lvl1pPr algn="l" defTabSz="457200" rtl="0" eaLnBrk="1" latinLnBrk="0" hangingPunct="1"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Arial"/>
        </a:defRPr>
      </a:lvl1pPr>
    </p:titleStyle>
    <p:bodyStyle>
      <a:lvl1pPr marL="233363" indent="-233363" algn="l" defTabSz="457200" rtl="0" eaLnBrk="1" latinLnBrk="0" hangingPunct="1">
        <a:spcBef>
          <a:spcPts val="528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defRPr sz="2400" b="0" kern="1200">
          <a:solidFill>
            <a:schemeClr val="tx1"/>
          </a:solidFill>
          <a:latin typeface="+mn-lt"/>
          <a:ea typeface="+mn-ea"/>
          <a:cs typeface="Arial"/>
        </a:defRPr>
      </a:lvl1pPr>
      <a:lvl2pPr marL="339725" indent="-169863" algn="l" defTabSz="457200" rtl="0" eaLnBrk="1" latinLnBrk="0" hangingPunct="1">
        <a:spcBef>
          <a:spcPts val="528"/>
        </a:spcBef>
        <a:spcAft>
          <a:spcPts val="0"/>
        </a:spcAft>
        <a:buClr>
          <a:schemeClr val="accent1"/>
        </a:buClr>
        <a:buFont typeface="Arial"/>
        <a:buChar char="•"/>
        <a:defRPr sz="2200" b="0" i="0" kern="1200">
          <a:solidFill>
            <a:schemeClr val="tx1"/>
          </a:solidFill>
          <a:latin typeface="Arial"/>
          <a:ea typeface="+mn-ea"/>
          <a:cs typeface="Arial"/>
        </a:defRPr>
      </a:lvl2pPr>
      <a:lvl3pPr marL="509588" indent="-169863" algn="l" defTabSz="457200" rtl="0" eaLnBrk="1" latinLnBrk="0" hangingPunct="1">
        <a:spcBef>
          <a:spcPts val="528"/>
        </a:spcBef>
        <a:spcAft>
          <a:spcPts val="0"/>
        </a:spcAft>
        <a:buClr>
          <a:schemeClr val="accent1"/>
        </a:buClr>
        <a:buFont typeface="Arial"/>
        <a:buChar char="•"/>
        <a:tabLst/>
        <a:defRPr sz="2000" kern="1200">
          <a:solidFill>
            <a:schemeClr val="tx1"/>
          </a:solidFill>
          <a:latin typeface="+mn-lt"/>
          <a:ea typeface="+mn-ea"/>
          <a:cs typeface="Arial"/>
        </a:defRPr>
      </a:lvl3pPr>
      <a:lvl4pPr marL="690563" indent="-180975" algn="l" defTabSz="457200" rtl="0" eaLnBrk="1" latinLnBrk="0" hangingPunct="1">
        <a:spcBef>
          <a:spcPts val="528"/>
        </a:spcBef>
        <a:spcAft>
          <a:spcPts val="0"/>
        </a:spcAft>
        <a:buClr>
          <a:schemeClr val="accent1"/>
        </a:buClr>
        <a:buFont typeface="Arial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Arial"/>
        </a:defRPr>
      </a:lvl4pPr>
      <a:lvl5pPr marL="857250" indent="-166688" algn="l" defTabSz="457200" rtl="0" eaLnBrk="1" latinLnBrk="0" hangingPunct="1">
        <a:spcBef>
          <a:spcPts val="528"/>
        </a:spcBef>
        <a:spcAft>
          <a:spcPts val="0"/>
        </a:spcAft>
        <a:buClr>
          <a:schemeClr val="accent1"/>
        </a:buClr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Arial"/>
        </a:defRPr>
      </a:lvl5pPr>
      <a:lvl6pPr marL="800100" indent="-114300" algn="l" defTabSz="457200" rtl="0" eaLnBrk="1" latinLnBrk="0" hangingPunct="1">
        <a:spcBef>
          <a:spcPts val="528"/>
        </a:spcBef>
        <a:spcAft>
          <a:spcPts val="0"/>
        </a:spcAft>
        <a:buClr>
          <a:schemeClr val="accent1"/>
        </a:buClr>
        <a:buSzPct val="100000"/>
        <a:buFont typeface="Arial"/>
        <a:buChar char="•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915988" indent="-115888" algn="l" defTabSz="457200" rtl="0" eaLnBrk="1" latinLnBrk="0" hangingPunct="1">
        <a:spcBef>
          <a:spcPts val="528"/>
        </a:spcBef>
        <a:spcAft>
          <a:spcPts val="0"/>
        </a:spcAft>
        <a:buClr>
          <a:schemeClr val="accent1"/>
        </a:buClr>
        <a:buFont typeface="Arial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030288" indent="-114300" algn="l" defTabSz="457200" rtl="0" eaLnBrk="1" latinLnBrk="0" hangingPunct="1">
        <a:spcBef>
          <a:spcPct val="20000"/>
        </a:spcBef>
        <a:buClr>
          <a:schemeClr val="accent1"/>
        </a:buClr>
        <a:buFont typeface="Arial"/>
        <a:buChar char="•"/>
        <a:defRPr sz="105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198563" indent="-106363" algn="l" defTabSz="457200" rtl="0" eaLnBrk="1" latinLnBrk="0" hangingPunct="1">
        <a:spcBef>
          <a:spcPct val="20000"/>
        </a:spcBef>
        <a:buClr>
          <a:schemeClr val="accent1"/>
        </a:buClr>
        <a:buFont typeface="Arial"/>
        <a:buChar char="•"/>
        <a:defRPr sz="105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12883" y="323849"/>
            <a:ext cx="11674340" cy="859536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12883" y="1274825"/>
            <a:ext cx="11674340" cy="47091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63811" y="6496407"/>
            <a:ext cx="9460550" cy="17222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>
              <a:defRPr sz="1000">
                <a:solidFill>
                  <a:schemeClr val="tx2"/>
                </a:solidFill>
                <a:latin typeface="+mn-lt"/>
                <a:cs typeface="Arial"/>
              </a:defRPr>
            </a:lvl1pPr>
          </a:lstStyle>
          <a:p>
            <a:pPr algn="ctr"/>
            <a:r>
              <a:rPr lang="en-US" dirty="0"/>
              <a:t>PPG CONFIDENTIAL – FOR INTERNAL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08056" y="6496407"/>
            <a:ext cx="455756" cy="17222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>
              <a:defRPr sz="1000">
                <a:solidFill>
                  <a:schemeClr val="tx2"/>
                </a:solidFill>
                <a:latin typeface="+mn-lt"/>
                <a:cs typeface="Arial"/>
              </a:defRPr>
            </a:lvl1pPr>
          </a:lstStyle>
          <a:p>
            <a:fld id="{FD9C4343-C115-504A-8D4F-0B17318D4A4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87686" y="6171890"/>
            <a:ext cx="647072" cy="501631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7780829" y="-3095"/>
            <a:ext cx="4411172" cy="177031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4" name="Rectangle 3"/>
          <p:cNvSpPr/>
          <p:nvPr userDrawn="1"/>
        </p:nvSpPr>
        <p:spPr>
          <a:xfrm>
            <a:off x="1" y="-4944"/>
            <a:ext cx="8268272" cy="184773"/>
          </a:xfrm>
          <a:custGeom>
            <a:avLst/>
            <a:gdLst>
              <a:gd name="connsiteX0" fmla="*/ 0 w 6709251"/>
              <a:gd name="connsiteY0" fmla="*/ 0 h 182880"/>
              <a:gd name="connsiteX1" fmla="*/ 6709251 w 6709251"/>
              <a:gd name="connsiteY1" fmla="*/ 0 h 182880"/>
              <a:gd name="connsiteX2" fmla="*/ 6709251 w 6709251"/>
              <a:gd name="connsiteY2" fmla="*/ 182880 h 182880"/>
              <a:gd name="connsiteX3" fmla="*/ 0 w 6709251"/>
              <a:gd name="connsiteY3" fmla="*/ 182880 h 182880"/>
              <a:gd name="connsiteX4" fmla="*/ 0 w 6709251"/>
              <a:gd name="connsiteY4" fmla="*/ 0 h 182880"/>
              <a:gd name="connsiteX0" fmla="*/ 0 w 7073510"/>
              <a:gd name="connsiteY0" fmla="*/ 0 h 182880"/>
              <a:gd name="connsiteX1" fmla="*/ 7073510 w 7073510"/>
              <a:gd name="connsiteY1" fmla="*/ 0 h 182880"/>
              <a:gd name="connsiteX2" fmla="*/ 6709251 w 7073510"/>
              <a:gd name="connsiteY2" fmla="*/ 182880 h 182880"/>
              <a:gd name="connsiteX3" fmla="*/ 0 w 7073510"/>
              <a:gd name="connsiteY3" fmla="*/ 182880 h 182880"/>
              <a:gd name="connsiteX4" fmla="*/ 0 w 7073510"/>
              <a:gd name="connsiteY4" fmla="*/ 0 h 182880"/>
              <a:gd name="connsiteX0" fmla="*/ 0 w 8678702"/>
              <a:gd name="connsiteY0" fmla="*/ 0 h 182880"/>
              <a:gd name="connsiteX1" fmla="*/ 8678702 w 8678702"/>
              <a:gd name="connsiteY1" fmla="*/ 0 h 182880"/>
              <a:gd name="connsiteX2" fmla="*/ 8314443 w 8678702"/>
              <a:gd name="connsiteY2" fmla="*/ 182880 h 182880"/>
              <a:gd name="connsiteX3" fmla="*/ 1605192 w 8678702"/>
              <a:gd name="connsiteY3" fmla="*/ 182880 h 182880"/>
              <a:gd name="connsiteX4" fmla="*/ 0 w 8678702"/>
              <a:gd name="connsiteY4" fmla="*/ 0 h 182880"/>
              <a:gd name="connsiteX0" fmla="*/ 0 w 8678702"/>
              <a:gd name="connsiteY0" fmla="*/ 0 h 186220"/>
              <a:gd name="connsiteX1" fmla="*/ 8678702 w 8678702"/>
              <a:gd name="connsiteY1" fmla="*/ 0 h 186220"/>
              <a:gd name="connsiteX2" fmla="*/ 8314443 w 8678702"/>
              <a:gd name="connsiteY2" fmla="*/ 182880 h 186220"/>
              <a:gd name="connsiteX3" fmla="*/ 6661 w 8678702"/>
              <a:gd name="connsiteY3" fmla="*/ 186220 h 186220"/>
              <a:gd name="connsiteX4" fmla="*/ 0 w 8678702"/>
              <a:gd name="connsiteY4" fmla="*/ 0 h 186220"/>
              <a:gd name="connsiteX0" fmla="*/ 133211 w 8672041"/>
              <a:gd name="connsiteY0" fmla="*/ 50097 h 186220"/>
              <a:gd name="connsiteX1" fmla="*/ 8672041 w 8672041"/>
              <a:gd name="connsiteY1" fmla="*/ 0 h 186220"/>
              <a:gd name="connsiteX2" fmla="*/ 8307782 w 8672041"/>
              <a:gd name="connsiteY2" fmla="*/ 182880 h 186220"/>
              <a:gd name="connsiteX3" fmla="*/ 0 w 8672041"/>
              <a:gd name="connsiteY3" fmla="*/ 186220 h 186220"/>
              <a:gd name="connsiteX4" fmla="*/ 133211 w 8672041"/>
              <a:gd name="connsiteY4" fmla="*/ 50097 h 186220"/>
              <a:gd name="connsiteX0" fmla="*/ 3330 w 8672041"/>
              <a:gd name="connsiteY0" fmla="*/ 3340 h 186220"/>
              <a:gd name="connsiteX1" fmla="*/ 8672041 w 8672041"/>
              <a:gd name="connsiteY1" fmla="*/ 0 h 186220"/>
              <a:gd name="connsiteX2" fmla="*/ 8307782 w 8672041"/>
              <a:gd name="connsiteY2" fmla="*/ 182880 h 186220"/>
              <a:gd name="connsiteX3" fmla="*/ 0 w 8672041"/>
              <a:gd name="connsiteY3" fmla="*/ 186220 h 186220"/>
              <a:gd name="connsiteX4" fmla="*/ 3330 w 8672041"/>
              <a:gd name="connsiteY4" fmla="*/ 3340 h 186220"/>
              <a:gd name="connsiteX0" fmla="*/ 3330 w 8672041"/>
              <a:gd name="connsiteY0" fmla="*/ 3340 h 188165"/>
              <a:gd name="connsiteX1" fmla="*/ 8672041 w 8672041"/>
              <a:gd name="connsiteY1" fmla="*/ 0 h 188165"/>
              <a:gd name="connsiteX2" fmla="*/ 8307782 w 8672041"/>
              <a:gd name="connsiteY2" fmla="*/ 188165 h 188165"/>
              <a:gd name="connsiteX3" fmla="*/ 0 w 8672041"/>
              <a:gd name="connsiteY3" fmla="*/ 186220 h 188165"/>
              <a:gd name="connsiteX4" fmla="*/ 3330 w 8672041"/>
              <a:gd name="connsiteY4" fmla="*/ 3340 h 188165"/>
              <a:gd name="connsiteX0" fmla="*/ 3330 w 8672041"/>
              <a:gd name="connsiteY0" fmla="*/ 3340 h 186220"/>
              <a:gd name="connsiteX1" fmla="*/ 8672041 w 8672041"/>
              <a:gd name="connsiteY1" fmla="*/ 0 h 186220"/>
              <a:gd name="connsiteX2" fmla="*/ 8307782 w 8672041"/>
              <a:gd name="connsiteY2" fmla="*/ 182880 h 186220"/>
              <a:gd name="connsiteX3" fmla="*/ 0 w 8672041"/>
              <a:gd name="connsiteY3" fmla="*/ 186220 h 186220"/>
              <a:gd name="connsiteX4" fmla="*/ 3330 w 8672041"/>
              <a:gd name="connsiteY4" fmla="*/ 3340 h 186220"/>
              <a:gd name="connsiteX0" fmla="*/ 0 w 8673980"/>
              <a:gd name="connsiteY0" fmla="*/ 3340 h 186220"/>
              <a:gd name="connsiteX1" fmla="*/ 8673980 w 8673980"/>
              <a:gd name="connsiteY1" fmla="*/ 0 h 186220"/>
              <a:gd name="connsiteX2" fmla="*/ 8309721 w 8673980"/>
              <a:gd name="connsiteY2" fmla="*/ 182880 h 186220"/>
              <a:gd name="connsiteX3" fmla="*/ 1939 w 8673980"/>
              <a:gd name="connsiteY3" fmla="*/ 186220 h 186220"/>
              <a:gd name="connsiteX4" fmla="*/ 0 w 8673980"/>
              <a:gd name="connsiteY4" fmla="*/ 3340 h 186220"/>
              <a:gd name="connsiteX0" fmla="*/ 0 w 8673980"/>
              <a:gd name="connsiteY0" fmla="*/ 0 h 188166"/>
              <a:gd name="connsiteX1" fmla="*/ 8673980 w 8673980"/>
              <a:gd name="connsiteY1" fmla="*/ 1946 h 188166"/>
              <a:gd name="connsiteX2" fmla="*/ 8309721 w 8673980"/>
              <a:gd name="connsiteY2" fmla="*/ 184826 h 188166"/>
              <a:gd name="connsiteX3" fmla="*/ 1939 w 8673980"/>
              <a:gd name="connsiteY3" fmla="*/ 188166 h 188166"/>
              <a:gd name="connsiteX4" fmla="*/ 0 w 8673980"/>
              <a:gd name="connsiteY4" fmla="*/ 0 h 188166"/>
              <a:gd name="connsiteX0" fmla="*/ 8631 w 8682611"/>
              <a:gd name="connsiteY0" fmla="*/ 0 h 262155"/>
              <a:gd name="connsiteX1" fmla="*/ 8682611 w 8682611"/>
              <a:gd name="connsiteY1" fmla="*/ 1946 h 262155"/>
              <a:gd name="connsiteX2" fmla="*/ 8318352 w 8682611"/>
              <a:gd name="connsiteY2" fmla="*/ 184826 h 262155"/>
              <a:gd name="connsiteX3" fmla="*/ 30 w 8682611"/>
              <a:gd name="connsiteY3" fmla="*/ 262155 h 262155"/>
              <a:gd name="connsiteX4" fmla="*/ 8631 w 8682611"/>
              <a:gd name="connsiteY4" fmla="*/ 0 h 262155"/>
              <a:gd name="connsiteX0" fmla="*/ 3393 w 8677373"/>
              <a:gd name="connsiteY0" fmla="*/ 0 h 198736"/>
              <a:gd name="connsiteX1" fmla="*/ 8677373 w 8677373"/>
              <a:gd name="connsiteY1" fmla="*/ 1946 h 198736"/>
              <a:gd name="connsiteX2" fmla="*/ 8313114 w 8677373"/>
              <a:gd name="connsiteY2" fmla="*/ 184826 h 198736"/>
              <a:gd name="connsiteX3" fmla="*/ 63 w 8677373"/>
              <a:gd name="connsiteY3" fmla="*/ 198736 h 198736"/>
              <a:gd name="connsiteX4" fmla="*/ 3393 w 8677373"/>
              <a:gd name="connsiteY4" fmla="*/ 0 h 198736"/>
              <a:gd name="connsiteX0" fmla="*/ 3393 w 8677373"/>
              <a:gd name="connsiteY0" fmla="*/ 0 h 198736"/>
              <a:gd name="connsiteX1" fmla="*/ 8677373 w 8677373"/>
              <a:gd name="connsiteY1" fmla="*/ 1946 h 198736"/>
              <a:gd name="connsiteX2" fmla="*/ 8313115 w 8677373"/>
              <a:gd name="connsiteY2" fmla="*/ 189197 h 198736"/>
              <a:gd name="connsiteX3" fmla="*/ 63 w 8677373"/>
              <a:gd name="connsiteY3" fmla="*/ 198736 h 198736"/>
              <a:gd name="connsiteX4" fmla="*/ 3393 w 8677373"/>
              <a:gd name="connsiteY4" fmla="*/ 0 h 198736"/>
              <a:gd name="connsiteX0" fmla="*/ 0 w 8678339"/>
              <a:gd name="connsiteY0" fmla="*/ 0 h 198736"/>
              <a:gd name="connsiteX1" fmla="*/ 8678339 w 8678339"/>
              <a:gd name="connsiteY1" fmla="*/ 1946 h 198736"/>
              <a:gd name="connsiteX2" fmla="*/ 8314081 w 8678339"/>
              <a:gd name="connsiteY2" fmla="*/ 189197 h 198736"/>
              <a:gd name="connsiteX3" fmla="*/ 1029 w 8678339"/>
              <a:gd name="connsiteY3" fmla="*/ 198736 h 198736"/>
              <a:gd name="connsiteX4" fmla="*/ 0 w 8678339"/>
              <a:gd name="connsiteY4" fmla="*/ 0 h 198736"/>
              <a:gd name="connsiteX0" fmla="*/ 0 w 8678339"/>
              <a:gd name="connsiteY0" fmla="*/ 0 h 194364"/>
              <a:gd name="connsiteX1" fmla="*/ 8678339 w 8678339"/>
              <a:gd name="connsiteY1" fmla="*/ 1946 h 194364"/>
              <a:gd name="connsiteX2" fmla="*/ 8314081 w 8678339"/>
              <a:gd name="connsiteY2" fmla="*/ 189197 h 194364"/>
              <a:gd name="connsiteX3" fmla="*/ 1029 w 8678339"/>
              <a:gd name="connsiteY3" fmla="*/ 194364 h 194364"/>
              <a:gd name="connsiteX4" fmla="*/ 0 w 8678339"/>
              <a:gd name="connsiteY4" fmla="*/ 0 h 194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78339" h="194364">
                <a:moveTo>
                  <a:pt x="0" y="0"/>
                </a:moveTo>
                <a:lnTo>
                  <a:pt x="8678339" y="1946"/>
                </a:lnTo>
                <a:lnTo>
                  <a:pt x="8314081" y="189197"/>
                </a:lnTo>
                <a:lnTo>
                  <a:pt x="1029" y="194364"/>
                </a:lnTo>
                <a:cubicBezTo>
                  <a:pt x="383" y="133404"/>
                  <a:pt x="646" y="60960"/>
                  <a:pt x="0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2660215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  <p:sldLayoutId id="2147483781" r:id="rId2"/>
    <p:sldLayoutId id="2147483782" r:id="rId3"/>
    <p:sldLayoutId id="2147483783" r:id="rId4"/>
    <p:sldLayoutId id="2147483784" r:id="rId5"/>
    <p:sldLayoutId id="2147483785" r:id="rId6"/>
    <p:sldLayoutId id="2147483786" r:id="rId7"/>
    <p:sldLayoutId id="2147483787" r:id="rId8"/>
    <p:sldLayoutId id="2147483788" r:id="rId9"/>
    <p:sldLayoutId id="2147483789" r:id="rId10"/>
    <p:sldLayoutId id="2147483790" r:id="rId11"/>
    <p:sldLayoutId id="2147483791" r:id="rId12"/>
    <p:sldLayoutId id="2147483792" r:id="rId13"/>
    <p:sldLayoutId id="2147483793" r:id="rId14"/>
    <p:sldLayoutId id="2147483794" r:id="rId15"/>
  </p:sldLayoutIdLst>
  <p:hf hdr="0"/>
  <p:txStyles>
    <p:titleStyle>
      <a:lvl1pPr algn="l" defTabSz="457200" rtl="0" eaLnBrk="1" latinLnBrk="0" hangingPunct="1"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Arial"/>
        </a:defRPr>
      </a:lvl1pPr>
    </p:titleStyle>
    <p:bodyStyle>
      <a:lvl1pPr marL="233363" indent="-233363" algn="l" defTabSz="457200" rtl="0" eaLnBrk="1" latinLnBrk="0" hangingPunct="1">
        <a:spcBef>
          <a:spcPts val="528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defRPr sz="2400" b="0" kern="1200">
          <a:solidFill>
            <a:schemeClr val="tx1"/>
          </a:solidFill>
          <a:latin typeface="+mn-lt"/>
          <a:ea typeface="+mn-ea"/>
          <a:cs typeface="Arial"/>
        </a:defRPr>
      </a:lvl1pPr>
      <a:lvl2pPr marL="339725" indent="-169863" algn="l" defTabSz="457200" rtl="0" eaLnBrk="1" latinLnBrk="0" hangingPunct="1">
        <a:spcBef>
          <a:spcPts val="528"/>
        </a:spcBef>
        <a:spcAft>
          <a:spcPts val="0"/>
        </a:spcAft>
        <a:buClr>
          <a:schemeClr val="accent1"/>
        </a:buClr>
        <a:buFont typeface="Arial"/>
        <a:buChar char="•"/>
        <a:defRPr sz="2200" b="0" i="0" kern="1200">
          <a:solidFill>
            <a:schemeClr val="tx1"/>
          </a:solidFill>
          <a:latin typeface="Arial"/>
          <a:ea typeface="+mn-ea"/>
          <a:cs typeface="Arial"/>
        </a:defRPr>
      </a:lvl2pPr>
      <a:lvl3pPr marL="509588" indent="-169863" algn="l" defTabSz="457200" rtl="0" eaLnBrk="1" latinLnBrk="0" hangingPunct="1">
        <a:spcBef>
          <a:spcPts val="528"/>
        </a:spcBef>
        <a:spcAft>
          <a:spcPts val="0"/>
        </a:spcAft>
        <a:buClr>
          <a:schemeClr val="accent1"/>
        </a:buClr>
        <a:buFont typeface="Arial"/>
        <a:buChar char="•"/>
        <a:tabLst/>
        <a:defRPr sz="2000" kern="1200">
          <a:solidFill>
            <a:schemeClr val="tx1"/>
          </a:solidFill>
          <a:latin typeface="+mn-lt"/>
          <a:ea typeface="+mn-ea"/>
          <a:cs typeface="Arial"/>
        </a:defRPr>
      </a:lvl3pPr>
      <a:lvl4pPr marL="690563" indent="-180975" algn="l" defTabSz="457200" rtl="0" eaLnBrk="1" latinLnBrk="0" hangingPunct="1">
        <a:spcBef>
          <a:spcPts val="528"/>
        </a:spcBef>
        <a:spcAft>
          <a:spcPts val="0"/>
        </a:spcAft>
        <a:buClr>
          <a:schemeClr val="accent1"/>
        </a:buClr>
        <a:buFont typeface="Arial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Arial"/>
        </a:defRPr>
      </a:lvl4pPr>
      <a:lvl5pPr marL="857250" indent="-166688" algn="l" defTabSz="457200" rtl="0" eaLnBrk="1" latinLnBrk="0" hangingPunct="1">
        <a:spcBef>
          <a:spcPts val="528"/>
        </a:spcBef>
        <a:spcAft>
          <a:spcPts val="0"/>
        </a:spcAft>
        <a:buClr>
          <a:schemeClr val="accent1"/>
        </a:buClr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Arial"/>
        </a:defRPr>
      </a:lvl5pPr>
      <a:lvl6pPr marL="800100" indent="-114300" algn="l" defTabSz="457200" rtl="0" eaLnBrk="1" latinLnBrk="0" hangingPunct="1">
        <a:spcBef>
          <a:spcPts val="528"/>
        </a:spcBef>
        <a:spcAft>
          <a:spcPts val="0"/>
        </a:spcAft>
        <a:buClr>
          <a:schemeClr val="accent1"/>
        </a:buClr>
        <a:buSzPct val="100000"/>
        <a:buFont typeface="Arial"/>
        <a:buChar char="•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915988" indent="-115888" algn="l" defTabSz="457200" rtl="0" eaLnBrk="1" latinLnBrk="0" hangingPunct="1">
        <a:spcBef>
          <a:spcPts val="528"/>
        </a:spcBef>
        <a:spcAft>
          <a:spcPts val="0"/>
        </a:spcAft>
        <a:buClr>
          <a:schemeClr val="accent1"/>
        </a:buClr>
        <a:buFont typeface="Arial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030288" indent="-114300" algn="l" defTabSz="457200" rtl="0" eaLnBrk="1" latinLnBrk="0" hangingPunct="1">
        <a:spcBef>
          <a:spcPct val="20000"/>
        </a:spcBef>
        <a:buClr>
          <a:schemeClr val="accent1"/>
        </a:buClr>
        <a:buFont typeface="Arial"/>
        <a:buChar char="•"/>
        <a:defRPr sz="105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198563" indent="-106363" algn="l" defTabSz="457200" rtl="0" eaLnBrk="1" latinLnBrk="0" hangingPunct="1">
        <a:spcBef>
          <a:spcPct val="20000"/>
        </a:spcBef>
        <a:buClr>
          <a:schemeClr val="accent1"/>
        </a:buClr>
        <a:buFont typeface="Arial"/>
        <a:buChar char="•"/>
        <a:defRPr sz="105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347" imgH="346" progId="TCLayout.ActiveDocument.1">
                  <p:embed/>
                </p:oleObj>
              </mc:Choice>
              <mc:Fallback>
                <p:oleObj name="think-cell Slide" r:id="rId24" imgW="347" imgH="34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5245" y="228599"/>
            <a:ext cx="11674340" cy="859536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65245" y="1179575"/>
            <a:ext cx="11674340" cy="47091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6173" y="6496409"/>
            <a:ext cx="9460550" cy="17222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>
              <a:defRPr sz="1000">
                <a:solidFill>
                  <a:schemeClr val="tx2"/>
                </a:solidFill>
                <a:latin typeface="+mn-lt"/>
                <a:cs typeface="Arial"/>
              </a:defRPr>
            </a:lvl1pPr>
          </a:lstStyle>
          <a:p>
            <a:pPr defTabSz="457200"/>
            <a:r>
              <a:rPr lang="en-US">
                <a:solidFill>
                  <a:srgbClr val="666666"/>
                </a:solidFill>
              </a:rPr>
              <a:t>PPG Confidential</a:t>
            </a:r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60418" y="6496409"/>
            <a:ext cx="455756" cy="17222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>
              <a:defRPr sz="1000">
                <a:solidFill>
                  <a:schemeClr val="tx2"/>
                </a:solidFill>
                <a:latin typeface="+mn-lt"/>
                <a:cs typeface="Arial"/>
              </a:defRPr>
            </a:lvl1pPr>
          </a:lstStyle>
          <a:p>
            <a:pPr defTabSz="457200"/>
            <a:fld id="{FD9C4343-C115-504A-8D4F-0B17318D4A48}" type="slidenum">
              <a:rPr lang="en-US" smtClean="0">
                <a:solidFill>
                  <a:srgbClr val="666666"/>
                </a:solidFill>
              </a:rPr>
              <a:pPr defTabSz="457200"/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87687" y="6129360"/>
            <a:ext cx="647072" cy="501631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7780830" y="-3094"/>
            <a:ext cx="4411172" cy="173856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200"/>
            <a:endParaRPr lang="en-US" sz="1799">
              <a:solidFill>
                <a:prstClr val="white"/>
              </a:solidFill>
            </a:endParaRPr>
          </a:p>
        </p:txBody>
      </p:sp>
      <p:sp>
        <p:nvSpPr>
          <p:cNvPr id="14" name="Rectangle 3"/>
          <p:cNvSpPr/>
          <p:nvPr userDrawn="1"/>
        </p:nvSpPr>
        <p:spPr>
          <a:xfrm>
            <a:off x="-1588" y="-3094"/>
            <a:ext cx="8269862" cy="177031"/>
          </a:xfrm>
          <a:custGeom>
            <a:avLst/>
            <a:gdLst>
              <a:gd name="connsiteX0" fmla="*/ 0 w 6709251"/>
              <a:gd name="connsiteY0" fmla="*/ 0 h 182880"/>
              <a:gd name="connsiteX1" fmla="*/ 6709251 w 6709251"/>
              <a:gd name="connsiteY1" fmla="*/ 0 h 182880"/>
              <a:gd name="connsiteX2" fmla="*/ 6709251 w 6709251"/>
              <a:gd name="connsiteY2" fmla="*/ 182880 h 182880"/>
              <a:gd name="connsiteX3" fmla="*/ 0 w 6709251"/>
              <a:gd name="connsiteY3" fmla="*/ 182880 h 182880"/>
              <a:gd name="connsiteX4" fmla="*/ 0 w 6709251"/>
              <a:gd name="connsiteY4" fmla="*/ 0 h 182880"/>
              <a:gd name="connsiteX0" fmla="*/ 0 w 7073510"/>
              <a:gd name="connsiteY0" fmla="*/ 0 h 182880"/>
              <a:gd name="connsiteX1" fmla="*/ 7073510 w 7073510"/>
              <a:gd name="connsiteY1" fmla="*/ 0 h 182880"/>
              <a:gd name="connsiteX2" fmla="*/ 6709251 w 7073510"/>
              <a:gd name="connsiteY2" fmla="*/ 182880 h 182880"/>
              <a:gd name="connsiteX3" fmla="*/ 0 w 7073510"/>
              <a:gd name="connsiteY3" fmla="*/ 182880 h 182880"/>
              <a:gd name="connsiteX4" fmla="*/ 0 w 7073510"/>
              <a:gd name="connsiteY4" fmla="*/ 0 h 182880"/>
              <a:gd name="connsiteX0" fmla="*/ 0 w 8678702"/>
              <a:gd name="connsiteY0" fmla="*/ 0 h 182880"/>
              <a:gd name="connsiteX1" fmla="*/ 8678702 w 8678702"/>
              <a:gd name="connsiteY1" fmla="*/ 0 h 182880"/>
              <a:gd name="connsiteX2" fmla="*/ 8314443 w 8678702"/>
              <a:gd name="connsiteY2" fmla="*/ 182880 h 182880"/>
              <a:gd name="connsiteX3" fmla="*/ 1605192 w 8678702"/>
              <a:gd name="connsiteY3" fmla="*/ 182880 h 182880"/>
              <a:gd name="connsiteX4" fmla="*/ 0 w 8678702"/>
              <a:gd name="connsiteY4" fmla="*/ 0 h 182880"/>
              <a:gd name="connsiteX0" fmla="*/ 0 w 8678702"/>
              <a:gd name="connsiteY0" fmla="*/ 0 h 186220"/>
              <a:gd name="connsiteX1" fmla="*/ 8678702 w 8678702"/>
              <a:gd name="connsiteY1" fmla="*/ 0 h 186220"/>
              <a:gd name="connsiteX2" fmla="*/ 8314443 w 8678702"/>
              <a:gd name="connsiteY2" fmla="*/ 182880 h 186220"/>
              <a:gd name="connsiteX3" fmla="*/ 6661 w 8678702"/>
              <a:gd name="connsiteY3" fmla="*/ 186220 h 186220"/>
              <a:gd name="connsiteX4" fmla="*/ 0 w 8678702"/>
              <a:gd name="connsiteY4" fmla="*/ 0 h 186220"/>
              <a:gd name="connsiteX0" fmla="*/ 133211 w 8672041"/>
              <a:gd name="connsiteY0" fmla="*/ 50097 h 186220"/>
              <a:gd name="connsiteX1" fmla="*/ 8672041 w 8672041"/>
              <a:gd name="connsiteY1" fmla="*/ 0 h 186220"/>
              <a:gd name="connsiteX2" fmla="*/ 8307782 w 8672041"/>
              <a:gd name="connsiteY2" fmla="*/ 182880 h 186220"/>
              <a:gd name="connsiteX3" fmla="*/ 0 w 8672041"/>
              <a:gd name="connsiteY3" fmla="*/ 186220 h 186220"/>
              <a:gd name="connsiteX4" fmla="*/ 133211 w 8672041"/>
              <a:gd name="connsiteY4" fmla="*/ 50097 h 186220"/>
              <a:gd name="connsiteX0" fmla="*/ 3330 w 8672041"/>
              <a:gd name="connsiteY0" fmla="*/ 3340 h 186220"/>
              <a:gd name="connsiteX1" fmla="*/ 8672041 w 8672041"/>
              <a:gd name="connsiteY1" fmla="*/ 0 h 186220"/>
              <a:gd name="connsiteX2" fmla="*/ 8307782 w 8672041"/>
              <a:gd name="connsiteY2" fmla="*/ 182880 h 186220"/>
              <a:gd name="connsiteX3" fmla="*/ 0 w 8672041"/>
              <a:gd name="connsiteY3" fmla="*/ 186220 h 186220"/>
              <a:gd name="connsiteX4" fmla="*/ 3330 w 8672041"/>
              <a:gd name="connsiteY4" fmla="*/ 3340 h 18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72041" h="186220">
                <a:moveTo>
                  <a:pt x="3330" y="3340"/>
                </a:moveTo>
                <a:lnTo>
                  <a:pt x="8672041" y="0"/>
                </a:lnTo>
                <a:lnTo>
                  <a:pt x="8307782" y="182880"/>
                </a:lnTo>
                <a:lnTo>
                  <a:pt x="0" y="186220"/>
                </a:lnTo>
                <a:lnTo>
                  <a:pt x="3330" y="334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sz="1799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82189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8" r:id="rId1"/>
    <p:sldLayoutId id="2147483799" r:id="rId2"/>
    <p:sldLayoutId id="2147483800" r:id="rId3"/>
    <p:sldLayoutId id="2147483801" r:id="rId4"/>
    <p:sldLayoutId id="2147483802" r:id="rId5"/>
    <p:sldLayoutId id="2147483803" r:id="rId6"/>
    <p:sldLayoutId id="2147483804" r:id="rId7"/>
    <p:sldLayoutId id="2147483805" r:id="rId8"/>
    <p:sldLayoutId id="2147483806" r:id="rId9"/>
    <p:sldLayoutId id="2147483807" r:id="rId10"/>
    <p:sldLayoutId id="2147483808" r:id="rId11"/>
    <p:sldLayoutId id="2147483809" r:id="rId12"/>
    <p:sldLayoutId id="2147483810" r:id="rId13"/>
    <p:sldLayoutId id="2147483811" r:id="rId14"/>
    <p:sldLayoutId id="2147483812" r:id="rId15"/>
    <p:sldLayoutId id="2147483813" r:id="rId16"/>
    <p:sldLayoutId id="2147483815" r:id="rId17"/>
    <p:sldLayoutId id="2147483816" r:id="rId18"/>
    <p:sldLayoutId id="2147483817" r:id="rId19"/>
    <p:sldLayoutId id="2147483818" r:id="rId20"/>
    <p:sldLayoutId id="2147483819" r:id="rId21"/>
  </p:sldLayoutIdLst>
  <p:hf hdr="0" dt="0"/>
  <p:txStyles>
    <p:titleStyle>
      <a:lvl1pPr algn="l" defTabSz="457063" rtl="0" eaLnBrk="1" latinLnBrk="0" hangingPunct="1">
        <a:spcBef>
          <a:spcPct val="0"/>
        </a:spcBef>
        <a:buNone/>
        <a:defRPr sz="2799" b="1" kern="1200">
          <a:solidFill>
            <a:schemeClr val="tx1"/>
          </a:solidFill>
          <a:latin typeface="+mj-lt"/>
          <a:ea typeface="+mj-ea"/>
          <a:cs typeface="Arial"/>
        </a:defRPr>
      </a:lvl1pPr>
    </p:titleStyle>
    <p:bodyStyle>
      <a:lvl1pPr marL="0" indent="0" algn="l" defTabSz="457063" rtl="0" eaLnBrk="1" latinLnBrk="0" hangingPunct="1">
        <a:spcBef>
          <a:spcPts val="528"/>
        </a:spcBef>
        <a:spcAft>
          <a:spcPts val="0"/>
        </a:spcAft>
        <a:buClr>
          <a:schemeClr val="accent1"/>
        </a:buClr>
        <a:buFont typeface="Arial"/>
        <a:buNone/>
        <a:defRPr sz="2199" b="1" kern="1200">
          <a:solidFill>
            <a:schemeClr val="accent1"/>
          </a:solidFill>
          <a:latin typeface="+mn-lt"/>
          <a:ea typeface="+mn-ea"/>
          <a:cs typeface="Arial"/>
        </a:defRPr>
      </a:lvl1pPr>
      <a:lvl2pPr marL="171399" indent="-171399" algn="l" defTabSz="457063" rtl="0" eaLnBrk="1" latinLnBrk="0" hangingPunct="1">
        <a:spcBef>
          <a:spcPts val="528"/>
        </a:spcBef>
        <a:spcAft>
          <a:spcPts val="0"/>
        </a:spcAft>
        <a:buClr>
          <a:schemeClr val="accent1"/>
        </a:buClr>
        <a:buFont typeface="Arial"/>
        <a:buChar char="•"/>
        <a:defRPr sz="2199" b="0" i="0" kern="1200">
          <a:solidFill>
            <a:schemeClr val="tx1"/>
          </a:solidFill>
          <a:latin typeface="Arial"/>
          <a:ea typeface="+mn-ea"/>
          <a:cs typeface="Arial"/>
        </a:defRPr>
      </a:lvl2pPr>
      <a:lvl3pPr marL="344385" indent="-165050" algn="l" defTabSz="457063" rtl="0" eaLnBrk="1" latinLnBrk="0" hangingPunct="1">
        <a:spcBef>
          <a:spcPts val="528"/>
        </a:spcBef>
        <a:spcAft>
          <a:spcPts val="0"/>
        </a:spcAft>
        <a:buClr>
          <a:schemeClr val="accent1"/>
        </a:buClr>
        <a:buFont typeface="Arial"/>
        <a:buChar char="•"/>
        <a:tabLst/>
        <a:defRPr sz="1999" kern="1200">
          <a:solidFill>
            <a:schemeClr val="tx1"/>
          </a:solidFill>
          <a:latin typeface="+mn-lt"/>
          <a:ea typeface="+mn-ea"/>
          <a:cs typeface="Arial"/>
        </a:defRPr>
      </a:lvl3pPr>
      <a:lvl4pPr marL="515783" indent="-171399" algn="l" defTabSz="457063" rtl="0" eaLnBrk="1" latinLnBrk="0" hangingPunct="1">
        <a:spcBef>
          <a:spcPts val="528"/>
        </a:spcBef>
        <a:spcAft>
          <a:spcPts val="0"/>
        </a:spcAft>
        <a:buClr>
          <a:schemeClr val="accent1"/>
        </a:buClr>
        <a:buFont typeface="Arial"/>
        <a:buChar char="•"/>
        <a:tabLst>
          <a:tab pos="515783" algn="l"/>
        </a:tabLst>
        <a:defRPr sz="1799" kern="1200">
          <a:solidFill>
            <a:schemeClr val="tx1"/>
          </a:solidFill>
          <a:latin typeface="+mn-lt"/>
          <a:ea typeface="+mn-ea"/>
          <a:cs typeface="Arial"/>
        </a:defRPr>
      </a:lvl4pPr>
      <a:lvl5pPr marL="685594" indent="-169812" algn="l" defTabSz="457063" rtl="0" eaLnBrk="1" latinLnBrk="0" hangingPunct="1">
        <a:spcBef>
          <a:spcPts val="528"/>
        </a:spcBef>
        <a:spcAft>
          <a:spcPts val="0"/>
        </a:spcAft>
        <a:buClr>
          <a:schemeClr val="accent1"/>
        </a:buClr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Arial"/>
        </a:defRPr>
      </a:lvl5pPr>
      <a:lvl6pPr marL="799860" indent="-114266" algn="l" defTabSz="457063" rtl="0" eaLnBrk="1" latinLnBrk="0" hangingPunct="1">
        <a:spcBef>
          <a:spcPts val="528"/>
        </a:spcBef>
        <a:spcAft>
          <a:spcPts val="0"/>
        </a:spcAft>
        <a:buClr>
          <a:schemeClr val="accent1"/>
        </a:buClr>
        <a:buSzPct val="100000"/>
        <a:buFont typeface="Arial"/>
        <a:buChar char="•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915713" indent="-115853" algn="l" defTabSz="457063" rtl="0" eaLnBrk="1" latinLnBrk="0" hangingPunct="1">
        <a:spcBef>
          <a:spcPts val="528"/>
        </a:spcBef>
        <a:spcAft>
          <a:spcPts val="0"/>
        </a:spcAft>
        <a:buClr>
          <a:schemeClr val="accent1"/>
        </a:buClr>
        <a:buFont typeface="Arial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029979" indent="-114266" algn="l" defTabSz="457063" rtl="0" eaLnBrk="1" latinLnBrk="0" hangingPunct="1">
        <a:spcBef>
          <a:spcPct val="20000"/>
        </a:spcBef>
        <a:buClr>
          <a:schemeClr val="accent1"/>
        </a:buClr>
        <a:buFont typeface="Arial"/>
        <a:buChar char="•"/>
        <a:defRPr sz="105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198203" indent="-106331" algn="l" defTabSz="457063" rtl="0" eaLnBrk="1" latinLnBrk="0" hangingPunct="1">
        <a:spcBef>
          <a:spcPct val="20000"/>
        </a:spcBef>
        <a:buClr>
          <a:schemeClr val="accent1"/>
        </a:buClr>
        <a:buFont typeface="Arial"/>
        <a:buChar char="•"/>
        <a:defRPr sz="105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06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45706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45706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45706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45706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45706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45706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45706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45706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12883" y="323849"/>
            <a:ext cx="11674340" cy="859536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12883" y="1274825"/>
            <a:ext cx="11674340" cy="47091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63811" y="6496407"/>
            <a:ext cx="9460550" cy="17222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>
              <a:defRPr sz="1000">
                <a:solidFill>
                  <a:schemeClr val="tx2"/>
                </a:solidFill>
                <a:latin typeface="+mn-lt"/>
                <a:cs typeface="Arial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08056" y="6496407"/>
            <a:ext cx="455756" cy="17222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>
              <a:defRPr sz="1000">
                <a:solidFill>
                  <a:schemeClr val="tx2"/>
                </a:solidFill>
                <a:latin typeface="+mn-lt"/>
                <a:cs typeface="Arial"/>
              </a:defRPr>
            </a:lvl1pPr>
          </a:lstStyle>
          <a:p>
            <a:fld id="{FD9C4343-C115-504A-8D4F-0B17318D4A4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87686" y="6171890"/>
            <a:ext cx="647072" cy="501631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7780829" y="2799"/>
            <a:ext cx="4411172" cy="170901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0F2D40B5-CEF7-4856-8419-7E9A195E88DD}"/>
              </a:ext>
            </a:extLst>
          </p:cNvPr>
          <p:cNvGrpSpPr/>
          <p:nvPr userDrawn="1"/>
        </p:nvGrpSpPr>
        <p:grpSpPr>
          <a:xfrm>
            <a:off x="1" y="-3332"/>
            <a:ext cx="8110344" cy="177031"/>
            <a:chOff x="1" y="-3332"/>
            <a:chExt cx="8108232" cy="177031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C6383C97-5634-458F-A88C-CC97F0F69D2C}"/>
                </a:ext>
              </a:extLst>
            </p:cNvPr>
            <p:cNvSpPr/>
            <p:nvPr userDrawn="1"/>
          </p:nvSpPr>
          <p:spPr>
            <a:xfrm>
              <a:off x="1" y="-3332"/>
              <a:ext cx="7931202" cy="17703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3" name="Right Triangle 12">
              <a:extLst>
                <a:ext uri="{FF2B5EF4-FFF2-40B4-BE49-F238E27FC236}">
                  <a16:creationId xmlns:a16="http://schemas.microsoft.com/office/drawing/2014/main" id="{FD1670EC-A76D-4E27-B113-D499D6F06367}"/>
                </a:ext>
              </a:extLst>
            </p:cNvPr>
            <p:cNvSpPr/>
            <p:nvPr userDrawn="1"/>
          </p:nvSpPr>
          <p:spPr>
            <a:xfrm flipV="1">
              <a:off x="7931202" y="-3332"/>
              <a:ext cx="177031" cy="177031"/>
            </a:xfrm>
            <a:prstGeom prst="rtTriangle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34501614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1" r:id="rId1"/>
    <p:sldLayoutId id="2147483822" r:id="rId2"/>
    <p:sldLayoutId id="2147483823" r:id="rId3"/>
    <p:sldLayoutId id="2147483824" r:id="rId4"/>
    <p:sldLayoutId id="2147483825" r:id="rId5"/>
    <p:sldLayoutId id="2147483826" r:id="rId6"/>
    <p:sldLayoutId id="2147483827" r:id="rId7"/>
    <p:sldLayoutId id="2147483828" r:id="rId8"/>
    <p:sldLayoutId id="2147483829" r:id="rId9"/>
    <p:sldLayoutId id="2147483830" r:id="rId10"/>
    <p:sldLayoutId id="2147483831" r:id="rId11"/>
    <p:sldLayoutId id="2147483832" r:id="rId12"/>
    <p:sldLayoutId id="2147483833" r:id="rId13"/>
    <p:sldLayoutId id="2147483834" r:id="rId14"/>
    <p:sldLayoutId id="2147483835" r:id="rId15"/>
  </p:sldLayoutIdLst>
  <p:hf hdr="0"/>
  <p:txStyles>
    <p:titleStyle>
      <a:lvl1pPr algn="l" defTabSz="457200" rtl="0" eaLnBrk="1" latinLnBrk="0" hangingPunct="1"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Arial"/>
        </a:defRPr>
      </a:lvl1pPr>
    </p:titleStyle>
    <p:bodyStyle>
      <a:lvl1pPr marL="233363" indent="-233363" algn="l" defTabSz="457200" rtl="0" eaLnBrk="1" latinLnBrk="0" hangingPunct="1">
        <a:spcBef>
          <a:spcPts val="528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defRPr sz="2400" b="0" kern="1200">
          <a:solidFill>
            <a:schemeClr val="tx1"/>
          </a:solidFill>
          <a:latin typeface="+mn-lt"/>
          <a:ea typeface="+mn-ea"/>
          <a:cs typeface="Arial"/>
        </a:defRPr>
      </a:lvl1pPr>
      <a:lvl2pPr marL="339725" indent="-169863" algn="l" defTabSz="457200" rtl="0" eaLnBrk="1" latinLnBrk="0" hangingPunct="1">
        <a:spcBef>
          <a:spcPts val="528"/>
        </a:spcBef>
        <a:spcAft>
          <a:spcPts val="0"/>
        </a:spcAft>
        <a:buClr>
          <a:schemeClr val="accent1"/>
        </a:buClr>
        <a:buFont typeface="Arial"/>
        <a:buChar char="•"/>
        <a:defRPr sz="2200" b="0" i="0" kern="1200">
          <a:solidFill>
            <a:schemeClr val="tx1"/>
          </a:solidFill>
          <a:latin typeface="Arial"/>
          <a:ea typeface="+mn-ea"/>
          <a:cs typeface="Arial"/>
        </a:defRPr>
      </a:lvl2pPr>
      <a:lvl3pPr marL="509588" indent="-169863" algn="l" defTabSz="457200" rtl="0" eaLnBrk="1" latinLnBrk="0" hangingPunct="1">
        <a:spcBef>
          <a:spcPts val="528"/>
        </a:spcBef>
        <a:spcAft>
          <a:spcPts val="0"/>
        </a:spcAft>
        <a:buClr>
          <a:schemeClr val="accent1"/>
        </a:buClr>
        <a:buFont typeface="Arial"/>
        <a:buChar char="•"/>
        <a:tabLst/>
        <a:defRPr sz="2000" kern="1200">
          <a:solidFill>
            <a:schemeClr val="tx1"/>
          </a:solidFill>
          <a:latin typeface="+mn-lt"/>
          <a:ea typeface="+mn-ea"/>
          <a:cs typeface="Arial"/>
        </a:defRPr>
      </a:lvl3pPr>
      <a:lvl4pPr marL="690563" indent="-180975" algn="l" defTabSz="457200" rtl="0" eaLnBrk="1" latinLnBrk="0" hangingPunct="1">
        <a:spcBef>
          <a:spcPts val="528"/>
        </a:spcBef>
        <a:spcAft>
          <a:spcPts val="0"/>
        </a:spcAft>
        <a:buClr>
          <a:schemeClr val="accent1"/>
        </a:buClr>
        <a:buFont typeface="Arial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Arial"/>
        </a:defRPr>
      </a:lvl4pPr>
      <a:lvl5pPr marL="857250" indent="-166688" algn="l" defTabSz="457200" rtl="0" eaLnBrk="1" latinLnBrk="0" hangingPunct="1">
        <a:spcBef>
          <a:spcPts val="528"/>
        </a:spcBef>
        <a:spcAft>
          <a:spcPts val="0"/>
        </a:spcAft>
        <a:buClr>
          <a:schemeClr val="accent1"/>
        </a:buClr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Arial"/>
        </a:defRPr>
      </a:lvl5pPr>
      <a:lvl6pPr marL="800100" indent="-114300" algn="l" defTabSz="457200" rtl="0" eaLnBrk="1" latinLnBrk="0" hangingPunct="1">
        <a:spcBef>
          <a:spcPts val="528"/>
        </a:spcBef>
        <a:spcAft>
          <a:spcPts val="0"/>
        </a:spcAft>
        <a:buClr>
          <a:schemeClr val="accent1"/>
        </a:buClr>
        <a:buSzPct val="100000"/>
        <a:buFont typeface="Arial"/>
        <a:buChar char="•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915988" indent="-115888" algn="l" defTabSz="457200" rtl="0" eaLnBrk="1" latinLnBrk="0" hangingPunct="1">
        <a:spcBef>
          <a:spcPts val="528"/>
        </a:spcBef>
        <a:spcAft>
          <a:spcPts val="0"/>
        </a:spcAft>
        <a:buClr>
          <a:schemeClr val="accent1"/>
        </a:buClr>
        <a:buFont typeface="Arial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030288" indent="-114300" algn="l" defTabSz="457200" rtl="0" eaLnBrk="1" latinLnBrk="0" hangingPunct="1">
        <a:spcBef>
          <a:spcPct val="20000"/>
        </a:spcBef>
        <a:buClr>
          <a:schemeClr val="accent1"/>
        </a:buClr>
        <a:buFont typeface="Arial"/>
        <a:buChar char="•"/>
        <a:defRPr sz="105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198563" indent="-106363" algn="l" defTabSz="457200" rtl="0" eaLnBrk="1" latinLnBrk="0" hangingPunct="1">
        <a:spcBef>
          <a:spcPct val="20000"/>
        </a:spcBef>
        <a:buClr>
          <a:schemeClr val="accent1"/>
        </a:buClr>
        <a:buFont typeface="Arial"/>
        <a:buChar char="•"/>
        <a:defRPr sz="105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12883" y="323849"/>
            <a:ext cx="11674340" cy="859536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12883" y="1274825"/>
            <a:ext cx="11674340" cy="47091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63811" y="6496407"/>
            <a:ext cx="9460550" cy="17222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>
              <a:defRPr sz="1000">
                <a:solidFill>
                  <a:schemeClr val="tx2"/>
                </a:solidFill>
                <a:latin typeface="+mn-lt"/>
                <a:cs typeface="Arial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08056" y="6496407"/>
            <a:ext cx="455756" cy="17222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>
              <a:defRPr sz="1000">
                <a:solidFill>
                  <a:schemeClr val="tx2"/>
                </a:solidFill>
                <a:latin typeface="+mn-lt"/>
                <a:cs typeface="Arial"/>
              </a:defRPr>
            </a:lvl1pPr>
          </a:lstStyle>
          <a:p>
            <a:fld id="{FD9C4343-C115-504A-8D4F-0B17318D4A4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87686" y="6171890"/>
            <a:ext cx="647072" cy="501631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7780829" y="-3095"/>
            <a:ext cx="4411172" cy="177031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4" name="Rectangle 3"/>
          <p:cNvSpPr/>
          <p:nvPr userDrawn="1"/>
        </p:nvSpPr>
        <p:spPr>
          <a:xfrm>
            <a:off x="1" y="-4944"/>
            <a:ext cx="8268272" cy="184773"/>
          </a:xfrm>
          <a:custGeom>
            <a:avLst/>
            <a:gdLst>
              <a:gd name="connsiteX0" fmla="*/ 0 w 6709251"/>
              <a:gd name="connsiteY0" fmla="*/ 0 h 182880"/>
              <a:gd name="connsiteX1" fmla="*/ 6709251 w 6709251"/>
              <a:gd name="connsiteY1" fmla="*/ 0 h 182880"/>
              <a:gd name="connsiteX2" fmla="*/ 6709251 w 6709251"/>
              <a:gd name="connsiteY2" fmla="*/ 182880 h 182880"/>
              <a:gd name="connsiteX3" fmla="*/ 0 w 6709251"/>
              <a:gd name="connsiteY3" fmla="*/ 182880 h 182880"/>
              <a:gd name="connsiteX4" fmla="*/ 0 w 6709251"/>
              <a:gd name="connsiteY4" fmla="*/ 0 h 182880"/>
              <a:gd name="connsiteX0" fmla="*/ 0 w 7073510"/>
              <a:gd name="connsiteY0" fmla="*/ 0 h 182880"/>
              <a:gd name="connsiteX1" fmla="*/ 7073510 w 7073510"/>
              <a:gd name="connsiteY1" fmla="*/ 0 h 182880"/>
              <a:gd name="connsiteX2" fmla="*/ 6709251 w 7073510"/>
              <a:gd name="connsiteY2" fmla="*/ 182880 h 182880"/>
              <a:gd name="connsiteX3" fmla="*/ 0 w 7073510"/>
              <a:gd name="connsiteY3" fmla="*/ 182880 h 182880"/>
              <a:gd name="connsiteX4" fmla="*/ 0 w 7073510"/>
              <a:gd name="connsiteY4" fmla="*/ 0 h 182880"/>
              <a:gd name="connsiteX0" fmla="*/ 0 w 8678702"/>
              <a:gd name="connsiteY0" fmla="*/ 0 h 182880"/>
              <a:gd name="connsiteX1" fmla="*/ 8678702 w 8678702"/>
              <a:gd name="connsiteY1" fmla="*/ 0 h 182880"/>
              <a:gd name="connsiteX2" fmla="*/ 8314443 w 8678702"/>
              <a:gd name="connsiteY2" fmla="*/ 182880 h 182880"/>
              <a:gd name="connsiteX3" fmla="*/ 1605192 w 8678702"/>
              <a:gd name="connsiteY3" fmla="*/ 182880 h 182880"/>
              <a:gd name="connsiteX4" fmla="*/ 0 w 8678702"/>
              <a:gd name="connsiteY4" fmla="*/ 0 h 182880"/>
              <a:gd name="connsiteX0" fmla="*/ 0 w 8678702"/>
              <a:gd name="connsiteY0" fmla="*/ 0 h 186220"/>
              <a:gd name="connsiteX1" fmla="*/ 8678702 w 8678702"/>
              <a:gd name="connsiteY1" fmla="*/ 0 h 186220"/>
              <a:gd name="connsiteX2" fmla="*/ 8314443 w 8678702"/>
              <a:gd name="connsiteY2" fmla="*/ 182880 h 186220"/>
              <a:gd name="connsiteX3" fmla="*/ 6661 w 8678702"/>
              <a:gd name="connsiteY3" fmla="*/ 186220 h 186220"/>
              <a:gd name="connsiteX4" fmla="*/ 0 w 8678702"/>
              <a:gd name="connsiteY4" fmla="*/ 0 h 186220"/>
              <a:gd name="connsiteX0" fmla="*/ 133211 w 8672041"/>
              <a:gd name="connsiteY0" fmla="*/ 50097 h 186220"/>
              <a:gd name="connsiteX1" fmla="*/ 8672041 w 8672041"/>
              <a:gd name="connsiteY1" fmla="*/ 0 h 186220"/>
              <a:gd name="connsiteX2" fmla="*/ 8307782 w 8672041"/>
              <a:gd name="connsiteY2" fmla="*/ 182880 h 186220"/>
              <a:gd name="connsiteX3" fmla="*/ 0 w 8672041"/>
              <a:gd name="connsiteY3" fmla="*/ 186220 h 186220"/>
              <a:gd name="connsiteX4" fmla="*/ 133211 w 8672041"/>
              <a:gd name="connsiteY4" fmla="*/ 50097 h 186220"/>
              <a:gd name="connsiteX0" fmla="*/ 3330 w 8672041"/>
              <a:gd name="connsiteY0" fmla="*/ 3340 h 186220"/>
              <a:gd name="connsiteX1" fmla="*/ 8672041 w 8672041"/>
              <a:gd name="connsiteY1" fmla="*/ 0 h 186220"/>
              <a:gd name="connsiteX2" fmla="*/ 8307782 w 8672041"/>
              <a:gd name="connsiteY2" fmla="*/ 182880 h 186220"/>
              <a:gd name="connsiteX3" fmla="*/ 0 w 8672041"/>
              <a:gd name="connsiteY3" fmla="*/ 186220 h 186220"/>
              <a:gd name="connsiteX4" fmla="*/ 3330 w 8672041"/>
              <a:gd name="connsiteY4" fmla="*/ 3340 h 186220"/>
              <a:gd name="connsiteX0" fmla="*/ 3330 w 8672041"/>
              <a:gd name="connsiteY0" fmla="*/ 3340 h 188165"/>
              <a:gd name="connsiteX1" fmla="*/ 8672041 w 8672041"/>
              <a:gd name="connsiteY1" fmla="*/ 0 h 188165"/>
              <a:gd name="connsiteX2" fmla="*/ 8307782 w 8672041"/>
              <a:gd name="connsiteY2" fmla="*/ 188165 h 188165"/>
              <a:gd name="connsiteX3" fmla="*/ 0 w 8672041"/>
              <a:gd name="connsiteY3" fmla="*/ 186220 h 188165"/>
              <a:gd name="connsiteX4" fmla="*/ 3330 w 8672041"/>
              <a:gd name="connsiteY4" fmla="*/ 3340 h 188165"/>
              <a:gd name="connsiteX0" fmla="*/ 3330 w 8672041"/>
              <a:gd name="connsiteY0" fmla="*/ 3340 h 186220"/>
              <a:gd name="connsiteX1" fmla="*/ 8672041 w 8672041"/>
              <a:gd name="connsiteY1" fmla="*/ 0 h 186220"/>
              <a:gd name="connsiteX2" fmla="*/ 8307782 w 8672041"/>
              <a:gd name="connsiteY2" fmla="*/ 182880 h 186220"/>
              <a:gd name="connsiteX3" fmla="*/ 0 w 8672041"/>
              <a:gd name="connsiteY3" fmla="*/ 186220 h 186220"/>
              <a:gd name="connsiteX4" fmla="*/ 3330 w 8672041"/>
              <a:gd name="connsiteY4" fmla="*/ 3340 h 186220"/>
              <a:gd name="connsiteX0" fmla="*/ 0 w 8673980"/>
              <a:gd name="connsiteY0" fmla="*/ 3340 h 186220"/>
              <a:gd name="connsiteX1" fmla="*/ 8673980 w 8673980"/>
              <a:gd name="connsiteY1" fmla="*/ 0 h 186220"/>
              <a:gd name="connsiteX2" fmla="*/ 8309721 w 8673980"/>
              <a:gd name="connsiteY2" fmla="*/ 182880 h 186220"/>
              <a:gd name="connsiteX3" fmla="*/ 1939 w 8673980"/>
              <a:gd name="connsiteY3" fmla="*/ 186220 h 186220"/>
              <a:gd name="connsiteX4" fmla="*/ 0 w 8673980"/>
              <a:gd name="connsiteY4" fmla="*/ 3340 h 186220"/>
              <a:gd name="connsiteX0" fmla="*/ 0 w 8673980"/>
              <a:gd name="connsiteY0" fmla="*/ 0 h 188166"/>
              <a:gd name="connsiteX1" fmla="*/ 8673980 w 8673980"/>
              <a:gd name="connsiteY1" fmla="*/ 1946 h 188166"/>
              <a:gd name="connsiteX2" fmla="*/ 8309721 w 8673980"/>
              <a:gd name="connsiteY2" fmla="*/ 184826 h 188166"/>
              <a:gd name="connsiteX3" fmla="*/ 1939 w 8673980"/>
              <a:gd name="connsiteY3" fmla="*/ 188166 h 188166"/>
              <a:gd name="connsiteX4" fmla="*/ 0 w 8673980"/>
              <a:gd name="connsiteY4" fmla="*/ 0 h 188166"/>
              <a:gd name="connsiteX0" fmla="*/ 8631 w 8682611"/>
              <a:gd name="connsiteY0" fmla="*/ 0 h 262155"/>
              <a:gd name="connsiteX1" fmla="*/ 8682611 w 8682611"/>
              <a:gd name="connsiteY1" fmla="*/ 1946 h 262155"/>
              <a:gd name="connsiteX2" fmla="*/ 8318352 w 8682611"/>
              <a:gd name="connsiteY2" fmla="*/ 184826 h 262155"/>
              <a:gd name="connsiteX3" fmla="*/ 30 w 8682611"/>
              <a:gd name="connsiteY3" fmla="*/ 262155 h 262155"/>
              <a:gd name="connsiteX4" fmla="*/ 8631 w 8682611"/>
              <a:gd name="connsiteY4" fmla="*/ 0 h 262155"/>
              <a:gd name="connsiteX0" fmla="*/ 3393 w 8677373"/>
              <a:gd name="connsiteY0" fmla="*/ 0 h 198736"/>
              <a:gd name="connsiteX1" fmla="*/ 8677373 w 8677373"/>
              <a:gd name="connsiteY1" fmla="*/ 1946 h 198736"/>
              <a:gd name="connsiteX2" fmla="*/ 8313114 w 8677373"/>
              <a:gd name="connsiteY2" fmla="*/ 184826 h 198736"/>
              <a:gd name="connsiteX3" fmla="*/ 63 w 8677373"/>
              <a:gd name="connsiteY3" fmla="*/ 198736 h 198736"/>
              <a:gd name="connsiteX4" fmla="*/ 3393 w 8677373"/>
              <a:gd name="connsiteY4" fmla="*/ 0 h 198736"/>
              <a:gd name="connsiteX0" fmla="*/ 3393 w 8677373"/>
              <a:gd name="connsiteY0" fmla="*/ 0 h 198736"/>
              <a:gd name="connsiteX1" fmla="*/ 8677373 w 8677373"/>
              <a:gd name="connsiteY1" fmla="*/ 1946 h 198736"/>
              <a:gd name="connsiteX2" fmla="*/ 8313115 w 8677373"/>
              <a:gd name="connsiteY2" fmla="*/ 189197 h 198736"/>
              <a:gd name="connsiteX3" fmla="*/ 63 w 8677373"/>
              <a:gd name="connsiteY3" fmla="*/ 198736 h 198736"/>
              <a:gd name="connsiteX4" fmla="*/ 3393 w 8677373"/>
              <a:gd name="connsiteY4" fmla="*/ 0 h 198736"/>
              <a:gd name="connsiteX0" fmla="*/ 0 w 8678339"/>
              <a:gd name="connsiteY0" fmla="*/ 0 h 198736"/>
              <a:gd name="connsiteX1" fmla="*/ 8678339 w 8678339"/>
              <a:gd name="connsiteY1" fmla="*/ 1946 h 198736"/>
              <a:gd name="connsiteX2" fmla="*/ 8314081 w 8678339"/>
              <a:gd name="connsiteY2" fmla="*/ 189197 h 198736"/>
              <a:gd name="connsiteX3" fmla="*/ 1029 w 8678339"/>
              <a:gd name="connsiteY3" fmla="*/ 198736 h 198736"/>
              <a:gd name="connsiteX4" fmla="*/ 0 w 8678339"/>
              <a:gd name="connsiteY4" fmla="*/ 0 h 198736"/>
              <a:gd name="connsiteX0" fmla="*/ 0 w 8678339"/>
              <a:gd name="connsiteY0" fmla="*/ 0 h 194364"/>
              <a:gd name="connsiteX1" fmla="*/ 8678339 w 8678339"/>
              <a:gd name="connsiteY1" fmla="*/ 1946 h 194364"/>
              <a:gd name="connsiteX2" fmla="*/ 8314081 w 8678339"/>
              <a:gd name="connsiteY2" fmla="*/ 189197 h 194364"/>
              <a:gd name="connsiteX3" fmla="*/ 1029 w 8678339"/>
              <a:gd name="connsiteY3" fmla="*/ 194364 h 194364"/>
              <a:gd name="connsiteX4" fmla="*/ 0 w 8678339"/>
              <a:gd name="connsiteY4" fmla="*/ 0 h 194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78339" h="194364">
                <a:moveTo>
                  <a:pt x="0" y="0"/>
                </a:moveTo>
                <a:lnTo>
                  <a:pt x="8678339" y="1946"/>
                </a:lnTo>
                <a:lnTo>
                  <a:pt x="8314081" y="189197"/>
                </a:lnTo>
                <a:lnTo>
                  <a:pt x="1029" y="194364"/>
                </a:lnTo>
                <a:cubicBezTo>
                  <a:pt x="383" y="133404"/>
                  <a:pt x="646" y="60960"/>
                  <a:pt x="0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26400895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3" r:id="rId1"/>
    <p:sldLayoutId id="2147483854" r:id="rId2"/>
    <p:sldLayoutId id="2147483855" r:id="rId3"/>
    <p:sldLayoutId id="2147483856" r:id="rId4"/>
    <p:sldLayoutId id="2147483857" r:id="rId5"/>
    <p:sldLayoutId id="2147483858" r:id="rId6"/>
    <p:sldLayoutId id="2147483859" r:id="rId7"/>
    <p:sldLayoutId id="2147483860" r:id="rId8"/>
    <p:sldLayoutId id="2147483861" r:id="rId9"/>
    <p:sldLayoutId id="2147483862" r:id="rId10"/>
    <p:sldLayoutId id="2147483863" r:id="rId11"/>
    <p:sldLayoutId id="2147483864" r:id="rId12"/>
    <p:sldLayoutId id="2147483865" r:id="rId13"/>
    <p:sldLayoutId id="2147483866" r:id="rId14"/>
    <p:sldLayoutId id="2147483867" r:id="rId15"/>
    <p:sldLayoutId id="2147483868" r:id="rId16"/>
    <p:sldLayoutId id="2147483869" r:id="rId17"/>
    <p:sldLayoutId id="2147483871" r:id="rId18"/>
  </p:sldLayoutIdLst>
  <p:hf hdr="0"/>
  <p:txStyles>
    <p:titleStyle>
      <a:lvl1pPr algn="l" defTabSz="457200" rtl="0" eaLnBrk="1" latinLnBrk="0" hangingPunct="1"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Arial"/>
        </a:defRPr>
      </a:lvl1pPr>
    </p:titleStyle>
    <p:bodyStyle>
      <a:lvl1pPr marL="233363" indent="-233363" algn="l" defTabSz="457200" rtl="0" eaLnBrk="1" latinLnBrk="0" hangingPunct="1">
        <a:spcBef>
          <a:spcPts val="528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defRPr sz="2400" b="0" kern="1200">
          <a:solidFill>
            <a:schemeClr val="tx1"/>
          </a:solidFill>
          <a:latin typeface="+mn-lt"/>
          <a:ea typeface="+mn-ea"/>
          <a:cs typeface="Arial"/>
        </a:defRPr>
      </a:lvl1pPr>
      <a:lvl2pPr marL="339725" indent="-169863" algn="l" defTabSz="457200" rtl="0" eaLnBrk="1" latinLnBrk="0" hangingPunct="1">
        <a:spcBef>
          <a:spcPts val="528"/>
        </a:spcBef>
        <a:spcAft>
          <a:spcPts val="0"/>
        </a:spcAft>
        <a:buClr>
          <a:schemeClr val="accent1"/>
        </a:buClr>
        <a:buFont typeface="Arial"/>
        <a:buChar char="•"/>
        <a:defRPr sz="2200" b="0" i="0" kern="1200">
          <a:solidFill>
            <a:schemeClr val="tx1"/>
          </a:solidFill>
          <a:latin typeface="Arial"/>
          <a:ea typeface="+mn-ea"/>
          <a:cs typeface="Arial"/>
        </a:defRPr>
      </a:lvl2pPr>
      <a:lvl3pPr marL="509588" indent="-169863" algn="l" defTabSz="457200" rtl="0" eaLnBrk="1" latinLnBrk="0" hangingPunct="1">
        <a:spcBef>
          <a:spcPts val="528"/>
        </a:spcBef>
        <a:spcAft>
          <a:spcPts val="0"/>
        </a:spcAft>
        <a:buClr>
          <a:schemeClr val="accent1"/>
        </a:buClr>
        <a:buFont typeface="Arial"/>
        <a:buChar char="•"/>
        <a:tabLst/>
        <a:defRPr sz="2000" kern="1200">
          <a:solidFill>
            <a:schemeClr val="tx1"/>
          </a:solidFill>
          <a:latin typeface="+mn-lt"/>
          <a:ea typeface="+mn-ea"/>
          <a:cs typeface="Arial"/>
        </a:defRPr>
      </a:lvl3pPr>
      <a:lvl4pPr marL="690563" indent="-180975" algn="l" defTabSz="457200" rtl="0" eaLnBrk="1" latinLnBrk="0" hangingPunct="1">
        <a:spcBef>
          <a:spcPts val="528"/>
        </a:spcBef>
        <a:spcAft>
          <a:spcPts val="0"/>
        </a:spcAft>
        <a:buClr>
          <a:schemeClr val="accent1"/>
        </a:buClr>
        <a:buFont typeface="Arial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Arial"/>
        </a:defRPr>
      </a:lvl4pPr>
      <a:lvl5pPr marL="857250" indent="-166688" algn="l" defTabSz="457200" rtl="0" eaLnBrk="1" latinLnBrk="0" hangingPunct="1">
        <a:spcBef>
          <a:spcPts val="528"/>
        </a:spcBef>
        <a:spcAft>
          <a:spcPts val="0"/>
        </a:spcAft>
        <a:buClr>
          <a:schemeClr val="accent1"/>
        </a:buClr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Arial"/>
        </a:defRPr>
      </a:lvl5pPr>
      <a:lvl6pPr marL="800100" indent="-114300" algn="l" defTabSz="457200" rtl="0" eaLnBrk="1" latinLnBrk="0" hangingPunct="1">
        <a:spcBef>
          <a:spcPts val="528"/>
        </a:spcBef>
        <a:spcAft>
          <a:spcPts val="0"/>
        </a:spcAft>
        <a:buClr>
          <a:schemeClr val="accent1"/>
        </a:buClr>
        <a:buSzPct val="100000"/>
        <a:buFont typeface="Arial"/>
        <a:buChar char="•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915988" indent="-115888" algn="l" defTabSz="457200" rtl="0" eaLnBrk="1" latinLnBrk="0" hangingPunct="1">
        <a:spcBef>
          <a:spcPts val="528"/>
        </a:spcBef>
        <a:spcAft>
          <a:spcPts val="0"/>
        </a:spcAft>
        <a:buClr>
          <a:schemeClr val="accent1"/>
        </a:buClr>
        <a:buFont typeface="Arial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030288" indent="-114300" algn="l" defTabSz="457200" rtl="0" eaLnBrk="1" latinLnBrk="0" hangingPunct="1">
        <a:spcBef>
          <a:spcPct val="20000"/>
        </a:spcBef>
        <a:buClr>
          <a:schemeClr val="accent1"/>
        </a:buClr>
        <a:buFont typeface="Arial"/>
        <a:buChar char="•"/>
        <a:defRPr sz="105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198563" indent="-106363" algn="l" defTabSz="457200" rtl="0" eaLnBrk="1" latinLnBrk="0" hangingPunct="1">
        <a:spcBef>
          <a:spcPct val="20000"/>
        </a:spcBef>
        <a:buClr>
          <a:schemeClr val="accent1"/>
        </a:buClr>
        <a:buFont typeface="Arial"/>
        <a:buChar char="•"/>
        <a:defRPr sz="105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12883" y="323849"/>
            <a:ext cx="11674340" cy="859536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12883" y="1274825"/>
            <a:ext cx="11674340" cy="47091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63811" y="6496409"/>
            <a:ext cx="9460550" cy="17222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>
              <a:defRPr sz="1000">
                <a:solidFill>
                  <a:schemeClr val="tx2"/>
                </a:solidFill>
                <a:latin typeface="+mn-lt"/>
                <a:cs typeface="Arial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08057" y="6496409"/>
            <a:ext cx="455756" cy="17222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>
              <a:defRPr sz="1000">
                <a:solidFill>
                  <a:schemeClr val="tx2"/>
                </a:solidFill>
                <a:latin typeface="+mn-lt"/>
                <a:cs typeface="Arial"/>
              </a:defRPr>
            </a:lvl1pPr>
          </a:lstStyle>
          <a:p>
            <a:fld id="{FD9C4343-C115-504A-8D4F-0B17318D4A4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87687" y="6171892"/>
            <a:ext cx="647072" cy="501631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7780830" y="2801"/>
            <a:ext cx="4411172" cy="170901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0F2D40B5-CEF7-4856-8419-7E9A195E88DD}"/>
              </a:ext>
            </a:extLst>
          </p:cNvPr>
          <p:cNvGrpSpPr/>
          <p:nvPr userDrawn="1"/>
        </p:nvGrpSpPr>
        <p:grpSpPr>
          <a:xfrm>
            <a:off x="1" y="-3332"/>
            <a:ext cx="8110344" cy="177031"/>
            <a:chOff x="1" y="-3332"/>
            <a:chExt cx="8108232" cy="177031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C6383C97-5634-458F-A88C-CC97F0F69D2C}"/>
                </a:ext>
              </a:extLst>
            </p:cNvPr>
            <p:cNvSpPr/>
            <p:nvPr userDrawn="1"/>
          </p:nvSpPr>
          <p:spPr>
            <a:xfrm>
              <a:off x="1" y="-3332"/>
              <a:ext cx="7931202" cy="17703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799"/>
            </a:p>
          </p:txBody>
        </p:sp>
        <p:sp>
          <p:nvSpPr>
            <p:cNvPr id="13" name="Right Triangle 12">
              <a:extLst>
                <a:ext uri="{FF2B5EF4-FFF2-40B4-BE49-F238E27FC236}">
                  <a16:creationId xmlns:a16="http://schemas.microsoft.com/office/drawing/2014/main" id="{FD1670EC-A76D-4E27-B113-D499D6F06367}"/>
                </a:ext>
              </a:extLst>
            </p:cNvPr>
            <p:cNvSpPr/>
            <p:nvPr userDrawn="1"/>
          </p:nvSpPr>
          <p:spPr>
            <a:xfrm flipV="1">
              <a:off x="7931202" y="-3332"/>
              <a:ext cx="177031" cy="177031"/>
            </a:xfrm>
            <a:prstGeom prst="rtTriangle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/>
            </a:p>
          </p:txBody>
        </p:sp>
      </p:grpSp>
    </p:spTree>
    <p:extLst>
      <p:ext uri="{BB962C8B-B14F-4D97-AF65-F5344CB8AC3E}">
        <p14:creationId xmlns:p14="http://schemas.microsoft.com/office/powerpoint/2010/main" val="599099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7" r:id="rId1"/>
    <p:sldLayoutId id="2147483898" r:id="rId2"/>
    <p:sldLayoutId id="2147483899" r:id="rId3"/>
    <p:sldLayoutId id="2147483900" r:id="rId4"/>
    <p:sldLayoutId id="2147483901" r:id="rId5"/>
    <p:sldLayoutId id="2147483902" r:id="rId6"/>
    <p:sldLayoutId id="2147483903" r:id="rId7"/>
    <p:sldLayoutId id="2147483904" r:id="rId8"/>
    <p:sldLayoutId id="2147483905" r:id="rId9"/>
    <p:sldLayoutId id="2147483906" r:id="rId10"/>
    <p:sldLayoutId id="2147483907" r:id="rId11"/>
    <p:sldLayoutId id="2147483908" r:id="rId12"/>
    <p:sldLayoutId id="2147483909" r:id="rId13"/>
    <p:sldLayoutId id="2147483910" r:id="rId14"/>
  </p:sldLayoutIdLst>
  <p:hf hdr="0"/>
  <p:txStyles>
    <p:titleStyle>
      <a:lvl1pPr algn="l" defTabSz="457063" rtl="0" eaLnBrk="1" latinLnBrk="0" hangingPunct="1">
        <a:spcBef>
          <a:spcPct val="0"/>
        </a:spcBef>
        <a:buNone/>
        <a:defRPr sz="2799" b="1" kern="1200">
          <a:solidFill>
            <a:schemeClr val="tx1"/>
          </a:solidFill>
          <a:latin typeface="+mj-lt"/>
          <a:ea typeface="+mj-ea"/>
          <a:cs typeface="Arial"/>
        </a:defRPr>
      </a:lvl1pPr>
    </p:titleStyle>
    <p:bodyStyle>
      <a:lvl1pPr marL="233293" indent="-233293" algn="l" defTabSz="457063" rtl="0" eaLnBrk="1" latinLnBrk="0" hangingPunct="1">
        <a:spcBef>
          <a:spcPts val="528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defRPr sz="2399" b="0" kern="1200">
          <a:solidFill>
            <a:schemeClr val="tx1"/>
          </a:solidFill>
          <a:latin typeface="+mn-lt"/>
          <a:ea typeface="+mn-ea"/>
          <a:cs typeface="Arial"/>
        </a:defRPr>
      </a:lvl1pPr>
      <a:lvl2pPr marL="339623" indent="-169812" algn="l" defTabSz="457063" rtl="0" eaLnBrk="1" latinLnBrk="0" hangingPunct="1">
        <a:spcBef>
          <a:spcPts val="528"/>
        </a:spcBef>
        <a:spcAft>
          <a:spcPts val="0"/>
        </a:spcAft>
        <a:buClr>
          <a:schemeClr val="accent1"/>
        </a:buClr>
        <a:buFont typeface="Arial"/>
        <a:buChar char="•"/>
        <a:defRPr sz="2199" b="0" i="0" kern="1200">
          <a:solidFill>
            <a:schemeClr val="tx1"/>
          </a:solidFill>
          <a:latin typeface="Arial"/>
          <a:ea typeface="+mn-ea"/>
          <a:cs typeface="Arial"/>
        </a:defRPr>
      </a:lvl2pPr>
      <a:lvl3pPr marL="509435" indent="-169812" algn="l" defTabSz="457063" rtl="0" eaLnBrk="1" latinLnBrk="0" hangingPunct="1">
        <a:spcBef>
          <a:spcPts val="528"/>
        </a:spcBef>
        <a:spcAft>
          <a:spcPts val="0"/>
        </a:spcAft>
        <a:buClr>
          <a:schemeClr val="accent1"/>
        </a:buClr>
        <a:buFont typeface="Arial"/>
        <a:buChar char="•"/>
        <a:tabLst/>
        <a:defRPr sz="1999" kern="1200">
          <a:solidFill>
            <a:schemeClr val="tx1"/>
          </a:solidFill>
          <a:latin typeface="+mn-lt"/>
          <a:ea typeface="+mn-ea"/>
          <a:cs typeface="Arial"/>
        </a:defRPr>
      </a:lvl3pPr>
      <a:lvl4pPr marL="690356" indent="-180921" algn="l" defTabSz="457063" rtl="0" eaLnBrk="1" latinLnBrk="0" hangingPunct="1">
        <a:spcBef>
          <a:spcPts val="528"/>
        </a:spcBef>
        <a:spcAft>
          <a:spcPts val="0"/>
        </a:spcAft>
        <a:buClr>
          <a:schemeClr val="accent1"/>
        </a:buClr>
        <a:buFont typeface="Arial"/>
        <a:buChar char="•"/>
        <a:tabLst/>
        <a:defRPr sz="1799" kern="1200">
          <a:solidFill>
            <a:schemeClr val="tx1"/>
          </a:solidFill>
          <a:latin typeface="+mn-lt"/>
          <a:ea typeface="+mn-ea"/>
          <a:cs typeface="Arial"/>
        </a:defRPr>
      </a:lvl4pPr>
      <a:lvl5pPr marL="856993" indent="-166638" algn="l" defTabSz="457063" rtl="0" eaLnBrk="1" latinLnBrk="0" hangingPunct="1">
        <a:spcBef>
          <a:spcPts val="528"/>
        </a:spcBef>
        <a:spcAft>
          <a:spcPts val="0"/>
        </a:spcAft>
        <a:buClr>
          <a:schemeClr val="accent1"/>
        </a:buClr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Arial"/>
        </a:defRPr>
      </a:lvl5pPr>
      <a:lvl6pPr marL="799860" indent="-114266" algn="l" defTabSz="457063" rtl="0" eaLnBrk="1" latinLnBrk="0" hangingPunct="1">
        <a:spcBef>
          <a:spcPts val="528"/>
        </a:spcBef>
        <a:spcAft>
          <a:spcPts val="0"/>
        </a:spcAft>
        <a:buClr>
          <a:schemeClr val="accent1"/>
        </a:buClr>
        <a:buSzPct val="100000"/>
        <a:buFont typeface="Arial"/>
        <a:buChar char="•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915713" indent="-115853" algn="l" defTabSz="457063" rtl="0" eaLnBrk="1" latinLnBrk="0" hangingPunct="1">
        <a:spcBef>
          <a:spcPts val="528"/>
        </a:spcBef>
        <a:spcAft>
          <a:spcPts val="0"/>
        </a:spcAft>
        <a:buClr>
          <a:schemeClr val="accent1"/>
        </a:buClr>
        <a:buFont typeface="Arial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029979" indent="-114266" algn="l" defTabSz="457063" rtl="0" eaLnBrk="1" latinLnBrk="0" hangingPunct="1">
        <a:spcBef>
          <a:spcPct val="20000"/>
        </a:spcBef>
        <a:buClr>
          <a:schemeClr val="accent1"/>
        </a:buClr>
        <a:buFont typeface="Arial"/>
        <a:buChar char="•"/>
        <a:defRPr sz="105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198203" indent="-106331" algn="l" defTabSz="457063" rtl="0" eaLnBrk="1" latinLnBrk="0" hangingPunct="1">
        <a:spcBef>
          <a:spcPct val="20000"/>
        </a:spcBef>
        <a:buClr>
          <a:schemeClr val="accent1"/>
        </a:buClr>
        <a:buFont typeface="Arial"/>
        <a:buChar char="•"/>
        <a:defRPr sz="105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06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45706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45706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45706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45706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45706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45706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45706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45706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12883" y="323849"/>
            <a:ext cx="11674340" cy="85953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12883" y="1274825"/>
            <a:ext cx="11674340" cy="47091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63811" y="6496407"/>
            <a:ext cx="9460550" cy="17222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tx2"/>
                </a:solidFill>
                <a:latin typeface="+mn-lt"/>
                <a:cs typeface="Arial"/>
              </a:defRPr>
            </a:lvl1pPr>
          </a:lstStyle>
          <a:p>
            <a:r>
              <a:rPr lang="en-US" noProof="0"/>
              <a:t>Add a footer</a:t>
            </a:r>
            <a:endParaRPr lang="en-US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08056" y="6496407"/>
            <a:ext cx="455756" cy="17222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>
              <a:defRPr sz="1000">
                <a:solidFill>
                  <a:schemeClr val="tx2"/>
                </a:solidFill>
                <a:latin typeface="+mn-lt"/>
                <a:cs typeface="Arial"/>
              </a:defRPr>
            </a:lvl1pPr>
          </a:lstStyle>
          <a:p>
            <a:fld id="{8699F50C-BE38-4BD0-BA84-9B090E1F2B9B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87686" y="6171890"/>
            <a:ext cx="647072" cy="501631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7780829" y="2799"/>
            <a:ext cx="4411172" cy="170901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0F2D40B5-CEF7-4856-8419-7E9A195E88DD}"/>
              </a:ext>
            </a:extLst>
          </p:cNvPr>
          <p:cNvGrpSpPr/>
          <p:nvPr/>
        </p:nvGrpSpPr>
        <p:grpSpPr>
          <a:xfrm>
            <a:off x="1" y="-3332"/>
            <a:ext cx="8110344" cy="177031"/>
            <a:chOff x="1" y="-3332"/>
            <a:chExt cx="8108232" cy="177031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C6383C97-5634-458F-A88C-CC97F0F69D2C}"/>
                </a:ext>
              </a:extLst>
            </p:cNvPr>
            <p:cNvSpPr/>
            <p:nvPr userDrawn="1"/>
          </p:nvSpPr>
          <p:spPr>
            <a:xfrm>
              <a:off x="1" y="-3332"/>
              <a:ext cx="7931202" cy="17703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 dirty="0"/>
            </a:p>
          </p:txBody>
        </p:sp>
        <p:sp>
          <p:nvSpPr>
            <p:cNvPr id="13" name="Right Triangle 12">
              <a:extLst>
                <a:ext uri="{FF2B5EF4-FFF2-40B4-BE49-F238E27FC236}">
                  <a16:creationId xmlns:a16="http://schemas.microsoft.com/office/drawing/2014/main" id="{FD1670EC-A76D-4E27-B113-D499D6F06367}"/>
                </a:ext>
              </a:extLst>
            </p:cNvPr>
            <p:cNvSpPr/>
            <p:nvPr userDrawn="1"/>
          </p:nvSpPr>
          <p:spPr>
            <a:xfrm flipV="1">
              <a:off x="7931202" y="-3332"/>
              <a:ext cx="177031" cy="177031"/>
            </a:xfrm>
            <a:prstGeom prst="rtTriangle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19788318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3" r:id="rId1"/>
    <p:sldLayoutId id="2147483914" r:id="rId2"/>
    <p:sldLayoutId id="2147483915" r:id="rId3"/>
    <p:sldLayoutId id="2147483916" r:id="rId4"/>
    <p:sldLayoutId id="2147483917" r:id="rId5"/>
    <p:sldLayoutId id="2147483918" r:id="rId6"/>
    <p:sldLayoutId id="2147483919" r:id="rId7"/>
    <p:sldLayoutId id="2147483920" r:id="rId8"/>
    <p:sldLayoutId id="2147483921" r:id="rId9"/>
    <p:sldLayoutId id="2147483922" r:id="rId10"/>
    <p:sldLayoutId id="2147483923" r:id="rId11"/>
    <p:sldLayoutId id="2147483924" r:id="rId12"/>
    <p:sldLayoutId id="2147483925" r:id="rId13"/>
    <p:sldLayoutId id="2147483926" r:id="rId14"/>
  </p:sldLayoutIdLst>
  <p:hf hdr="0"/>
  <p:txStyles>
    <p:titleStyle>
      <a:lvl1pPr algn="l" defTabSz="457200" rtl="0" eaLnBrk="1" latinLnBrk="0" hangingPunct="1"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Arial"/>
        </a:defRPr>
      </a:lvl1pPr>
    </p:titleStyle>
    <p:bodyStyle>
      <a:lvl1pPr marL="233363" indent="-233363" algn="l" defTabSz="457200" rtl="0" eaLnBrk="1" latinLnBrk="0" hangingPunct="1">
        <a:spcBef>
          <a:spcPts val="12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defRPr sz="2400" b="0" kern="1200">
          <a:solidFill>
            <a:schemeClr val="tx1"/>
          </a:solidFill>
          <a:latin typeface="+mn-lt"/>
          <a:ea typeface="+mn-ea"/>
          <a:cs typeface="Arial"/>
        </a:defRPr>
      </a:lvl1pPr>
      <a:lvl2pPr marL="509588" indent="-222250" algn="l" defTabSz="457200" rtl="0" eaLnBrk="1" latinLnBrk="0" hangingPunct="1">
        <a:spcBef>
          <a:spcPts val="528"/>
        </a:spcBef>
        <a:spcAft>
          <a:spcPts val="0"/>
        </a:spcAft>
        <a:buClr>
          <a:schemeClr val="accent1"/>
        </a:buClr>
        <a:buFont typeface="Arial"/>
        <a:buChar char="•"/>
        <a:defRPr sz="2000" b="0" i="0" kern="1200">
          <a:solidFill>
            <a:schemeClr val="tx1"/>
          </a:solidFill>
          <a:latin typeface="Arial"/>
          <a:ea typeface="+mn-ea"/>
          <a:cs typeface="Arial"/>
        </a:defRPr>
      </a:lvl2pPr>
      <a:lvl3pPr marL="690563" indent="-180975" algn="l" defTabSz="457200" rtl="0" eaLnBrk="1" latinLnBrk="0" hangingPunct="1">
        <a:spcBef>
          <a:spcPts val="528"/>
        </a:spcBef>
        <a:spcAft>
          <a:spcPts val="0"/>
        </a:spcAft>
        <a:buClr>
          <a:schemeClr val="accent1"/>
        </a:buClr>
        <a:buFont typeface="Arial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Arial"/>
        </a:defRPr>
      </a:lvl3pPr>
      <a:lvl4pPr marL="862013" indent="-171450" algn="l" defTabSz="457200" rtl="0" eaLnBrk="1" latinLnBrk="0" hangingPunct="1">
        <a:spcBef>
          <a:spcPts val="528"/>
        </a:spcBef>
        <a:spcAft>
          <a:spcPts val="0"/>
        </a:spcAft>
        <a:buClr>
          <a:schemeClr val="accent1"/>
        </a:buClr>
        <a:buFont typeface="Arial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Arial"/>
        </a:defRPr>
      </a:lvl4pPr>
      <a:lvl5pPr marL="857250" indent="-166688" algn="l" defTabSz="457200" rtl="0" eaLnBrk="1" latinLnBrk="0" hangingPunct="1">
        <a:spcBef>
          <a:spcPts val="528"/>
        </a:spcBef>
        <a:spcAft>
          <a:spcPts val="0"/>
        </a:spcAft>
        <a:buClr>
          <a:schemeClr val="accent1"/>
        </a:buClr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Arial"/>
        </a:defRPr>
      </a:lvl5pPr>
      <a:lvl6pPr marL="800100" indent="-114300" algn="l" defTabSz="457200" rtl="0" eaLnBrk="1" latinLnBrk="0" hangingPunct="1">
        <a:spcBef>
          <a:spcPts val="528"/>
        </a:spcBef>
        <a:spcAft>
          <a:spcPts val="0"/>
        </a:spcAft>
        <a:buClr>
          <a:schemeClr val="accent1"/>
        </a:buClr>
        <a:buSzPct val="100000"/>
        <a:buFont typeface="Arial"/>
        <a:buChar char="•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915988" indent="-115888" algn="l" defTabSz="457200" rtl="0" eaLnBrk="1" latinLnBrk="0" hangingPunct="1">
        <a:spcBef>
          <a:spcPts val="528"/>
        </a:spcBef>
        <a:spcAft>
          <a:spcPts val="0"/>
        </a:spcAft>
        <a:buClr>
          <a:schemeClr val="accent1"/>
        </a:buClr>
        <a:buFont typeface="Arial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030288" indent="-114300" algn="l" defTabSz="457200" rtl="0" eaLnBrk="1" latinLnBrk="0" hangingPunct="1">
        <a:spcBef>
          <a:spcPct val="20000"/>
        </a:spcBef>
        <a:buClr>
          <a:schemeClr val="accent1"/>
        </a:buClr>
        <a:buFont typeface="Arial"/>
        <a:buChar char="•"/>
        <a:defRPr sz="105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198563" indent="-106363" algn="l" defTabSz="457200" rtl="0" eaLnBrk="1" latinLnBrk="0" hangingPunct="1">
        <a:spcBef>
          <a:spcPct val="20000"/>
        </a:spcBef>
        <a:buClr>
          <a:schemeClr val="accent1"/>
        </a:buClr>
        <a:buFont typeface="Arial"/>
        <a:buChar char="•"/>
        <a:defRPr sz="105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3" Type="http://schemas.openxmlformats.org/officeDocument/2006/relationships/image" Target="../media/image11.jpeg"/><Relationship Id="rId7" Type="http://schemas.openxmlformats.org/officeDocument/2006/relationships/image" Target="../media/image15.jpe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64.xml"/><Relationship Id="rId6" Type="http://schemas.openxmlformats.org/officeDocument/2006/relationships/image" Target="../media/image14.jpeg"/><Relationship Id="rId5" Type="http://schemas.openxmlformats.org/officeDocument/2006/relationships/image" Target="../media/image13.jpeg"/><Relationship Id="rId4" Type="http://schemas.openxmlformats.org/officeDocument/2006/relationships/image" Target="../media/image12.jpeg"/><Relationship Id="rId9" Type="http://schemas.openxmlformats.org/officeDocument/2006/relationships/image" Target="../media/image17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7" Type="http://schemas.openxmlformats.org/officeDocument/2006/relationships/image" Target="../media/image55.png"/><Relationship Id="rId2" Type="http://schemas.microsoft.com/office/2018/10/relationships/comments" Target="../comments/modernComment_1D7_DF015B7.xml"/><Relationship Id="rId1" Type="http://schemas.openxmlformats.org/officeDocument/2006/relationships/slideLayout" Target="../slideLayouts/slideLayout82.xml"/><Relationship Id="rId6" Type="http://schemas.openxmlformats.org/officeDocument/2006/relationships/image" Target="../media/image58.png"/><Relationship Id="rId5" Type="http://schemas.openxmlformats.org/officeDocument/2006/relationships/image" Target="../media/image57.png"/><Relationship Id="rId4" Type="http://schemas.openxmlformats.org/officeDocument/2006/relationships/image" Target="../media/image54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jpeg"/><Relationship Id="rId3" Type="http://schemas.openxmlformats.org/officeDocument/2006/relationships/image" Target="../media/image60.jpeg"/><Relationship Id="rId7" Type="http://schemas.openxmlformats.org/officeDocument/2006/relationships/image" Target="../media/image64.jpeg"/><Relationship Id="rId2" Type="http://schemas.openxmlformats.org/officeDocument/2006/relationships/image" Target="../media/image59.jpeg"/><Relationship Id="rId1" Type="http://schemas.openxmlformats.org/officeDocument/2006/relationships/slideLayout" Target="../slideLayouts/slideLayout69.xml"/><Relationship Id="rId6" Type="http://schemas.openxmlformats.org/officeDocument/2006/relationships/image" Target="../media/image63.jpeg"/><Relationship Id="rId11" Type="http://schemas.openxmlformats.org/officeDocument/2006/relationships/image" Target="../media/image68.png"/><Relationship Id="rId5" Type="http://schemas.openxmlformats.org/officeDocument/2006/relationships/image" Target="../media/image62.jpeg"/><Relationship Id="rId10" Type="http://schemas.openxmlformats.org/officeDocument/2006/relationships/image" Target="../media/image67.jpeg"/><Relationship Id="rId4" Type="http://schemas.openxmlformats.org/officeDocument/2006/relationships/image" Target="../media/image61.jpeg"/><Relationship Id="rId9" Type="http://schemas.openxmlformats.org/officeDocument/2006/relationships/image" Target="../media/image66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70.jpeg"/></Relationships>
</file>

<file path=ppt/slides/_rels/slide13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DA_74406E95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9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6.jpeg"/><Relationship Id="rId3" Type="http://schemas.openxmlformats.org/officeDocument/2006/relationships/image" Target="../media/image71.jpeg"/><Relationship Id="rId7" Type="http://schemas.openxmlformats.org/officeDocument/2006/relationships/image" Target="../media/image75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5.xml"/><Relationship Id="rId6" Type="http://schemas.openxmlformats.org/officeDocument/2006/relationships/image" Target="../media/image74.png"/><Relationship Id="rId5" Type="http://schemas.openxmlformats.org/officeDocument/2006/relationships/image" Target="../media/image73.jpeg"/><Relationship Id="rId4" Type="http://schemas.openxmlformats.org/officeDocument/2006/relationships/image" Target="../media/image72.jpeg"/><Relationship Id="rId9" Type="http://schemas.openxmlformats.org/officeDocument/2006/relationships/image" Target="https://files.constantcontact.com/6f7071db201/a223a3fc-88d4-401e-b6d3-bc1777c371c7.png" TargetMode="Externa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https://files.constantcontact.com/6f7071db201/a223a3fc-88d4-401e-b6d3-bc1777c371c7.png" TargetMode="External"/><Relationship Id="rId3" Type="http://schemas.openxmlformats.org/officeDocument/2006/relationships/image" Target="../media/image71.jpeg"/><Relationship Id="rId7" Type="http://schemas.openxmlformats.org/officeDocument/2006/relationships/image" Target="../media/image75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5.xml"/><Relationship Id="rId6" Type="http://schemas.openxmlformats.org/officeDocument/2006/relationships/image" Target="../media/image74.png"/><Relationship Id="rId5" Type="http://schemas.openxmlformats.org/officeDocument/2006/relationships/image" Target="../media/image73.jpeg"/><Relationship Id="rId4" Type="http://schemas.openxmlformats.org/officeDocument/2006/relationships/image" Target="../media/image72.jpeg"/><Relationship Id="rId9" Type="http://schemas.openxmlformats.org/officeDocument/2006/relationships/image" Target="../media/image76.jpe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jpeg"/><Relationship Id="rId1" Type="http://schemas.openxmlformats.org/officeDocument/2006/relationships/slideLayout" Target="../slideLayouts/slideLayout8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3.xml"/><Relationship Id="rId6" Type="http://schemas.openxmlformats.org/officeDocument/2006/relationships/image" Target="../media/image28.emf"/><Relationship Id="rId5" Type="http://schemas.openxmlformats.org/officeDocument/2006/relationships/image" Target="../media/image80.emf"/><Relationship Id="rId4" Type="http://schemas.openxmlformats.org/officeDocument/2006/relationships/image" Target="../media/image79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3.xml"/><Relationship Id="rId4" Type="http://schemas.openxmlformats.org/officeDocument/2006/relationships/image" Target="../media/image82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5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3.xml"/><Relationship Id="rId4" Type="http://schemas.openxmlformats.org/officeDocument/2006/relationships/image" Target="../media/image84.sv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93.xml"/><Relationship Id="rId6" Type="http://schemas.openxmlformats.org/officeDocument/2006/relationships/image" Target="../media/image88.svg"/><Relationship Id="rId5" Type="http://schemas.openxmlformats.org/officeDocument/2006/relationships/image" Target="../media/image87.png"/><Relationship Id="rId4" Type="http://schemas.openxmlformats.org/officeDocument/2006/relationships/image" Target="../media/image86.sv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9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93.xml"/><Relationship Id="rId5" Type="http://schemas.openxmlformats.org/officeDocument/2006/relationships/chart" Target="../charts/chart3.xml"/><Relationship Id="rId4" Type="http://schemas.openxmlformats.org/officeDocument/2006/relationships/image" Target="../media/image90.sv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93.xml"/><Relationship Id="rId4" Type="http://schemas.openxmlformats.org/officeDocument/2006/relationships/image" Target="../media/image92.sv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93.xml"/><Relationship Id="rId6" Type="http://schemas.openxmlformats.org/officeDocument/2006/relationships/image" Target="../media/image88.svg"/><Relationship Id="rId5" Type="http://schemas.openxmlformats.org/officeDocument/2006/relationships/image" Target="../media/image87.png"/><Relationship Id="rId4" Type="http://schemas.openxmlformats.org/officeDocument/2006/relationships/image" Target="../media/image86.sv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9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93.xml"/><Relationship Id="rId5" Type="http://schemas.openxmlformats.org/officeDocument/2006/relationships/chart" Target="../charts/chart5.xml"/><Relationship Id="rId4" Type="http://schemas.openxmlformats.org/officeDocument/2006/relationships/image" Target="../media/image94.sv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9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9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7" Type="http://schemas.openxmlformats.org/officeDocument/2006/relationships/image" Target="../media/image23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0.xml"/><Relationship Id="rId6" Type="http://schemas.openxmlformats.org/officeDocument/2006/relationships/image" Target="../media/image22.emf"/><Relationship Id="rId5" Type="http://schemas.openxmlformats.org/officeDocument/2006/relationships/image" Target="../media/image21.emf"/><Relationship Id="rId4" Type="http://schemas.openxmlformats.org/officeDocument/2006/relationships/image" Target="../media/image20.emf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6.png"/><Relationship Id="rId1" Type="http://schemas.openxmlformats.org/officeDocument/2006/relationships/slideLayout" Target="../slideLayouts/slideLayout11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emf"/><Relationship Id="rId3" Type="http://schemas.openxmlformats.org/officeDocument/2006/relationships/image" Target="../media/image25.png"/><Relationship Id="rId7" Type="http://schemas.openxmlformats.org/officeDocument/2006/relationships/image" Target="../media/image29.emf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60.xml"/><Relationship Id="rId6" Type="http://schemas.openxmlformats.org/officeDocument/2006/relationships/image" Target="../media/image28.emf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emf"/><Relationship Id="rId3" Type="http://schemas.openxmlformats.org/officeDocument/2006/relationships/image" Target="../media/image32.jpeg"/><Relationship Id="rId7" Type="http://schemas.openxmlformats.org/officeDocument/2006/relationships/image" Target="../media/image36.emf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60.xml"/><Relationship Id="rId6" Type="http://schemas.openxmlformats.org/officeDocument/2006/relationships/image" Target="../media/image35.jpeg"/><Relationship Id="rId11" Type="http://schemas.openxmlformats.org/officeDocument/2006/relationships/image" Target="../media/image40.emf"/><Relationship Id="rId5" Type="http://schemas.openxmlformats.org/officeDocument/2006/relationships/image" Target="../media/image34.jpeg"/><Relationship Id="rId10" Type="http://schemas.openxmlformats.org/officeDocument/2006/relationships/image" Target="../media/image39.emf"/><Relationship Id="rId4" Type="http://schemas.openxmlformats.org/officeDocument/2006/relationships/image" Target="../media/image33.jpeg"/><Relationship Id="rId9" Type="http://schemas.openxmlformats.org/officeDocument/2006/relationships/image" Target="../media/image38.emf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EC_7E6CADD2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43.png"/><Relationship Id="rId4" Type="http://schemas.openxmlformats.org/officeDocument/2006/relationships/image" Target="../media/image42.w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microsoft.com/office/2018/10/relationships/comments" Target="../comments/modernComment_20D_7725D55D.xml"/><Relationship Id="rId7" Type="http://schemas.openxmlformats.org/officeDocument/2006/relationships/image" Target="../media/image4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46.png"/><Relationship Id="rId11" Type="http://schemas.openxmlformats.org/officeDocument/2006/relationships/image" Target="../media/image51.png"/><Relationship Id="rId5" Type="http://schemas.openxmlformats.org/officeDocument/2006/relationships/image" Target="../media/image45.png"/><Relationship Id="rId10" Type="http://schemas.openxmlformats.org/officeDocument/2006/relationships/image" Target="../media/image50.png"/><Relationship Id="rId4" Type="http://schemas.openxmlformats.org/officeDocument/2006/relationships/image" Target="../media/image44.png"/><Relationship Id="rId9" Type="http://schemas.openxmlformats.org/officeDocument/2006/relationships/image" Target="../media/image4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2" Type="http://schemas.microsoft.com/office/2018/10/relationships/comments" Target="../comments/modernComment_1D8_25052CCA.xml"/><Relationship Id="rId1" Type="http://schemas.openxmlformats.org/officeDocument/2006/relationships/slideLayout" Target="../slideLayouts/slideLayout82.xml"/><Relationship Id="rId6" Type="http://schemas.openxmlformats.org/officeDocument/2006/relationships/image" Target="../media/image55.png"/><Relationship Id="rId5" Type="http://schemas.openxmlformats.org/officeDocument/2006/relationships/image" Target="../media/image54.jpeg"/><Relationship Id="rId4" Type="http://schemas.openxmlformats.org/officeDocument/2006/relationships/image" Target="../media/image53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162411-F6F4-410D-8515-55A94A2207C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1"/>
                </a:solidFill>
              </a:rPr>
              <a:t>Industrial Coatings from PPG</a:t>
            </a:r>
          </a:p>
        </p:txBody>
      </p:sp>
      <p:pic>
        <p:nvPicPr>
          <p:cNvPr id="14" name="Picture Placeholder 13">
            <a:extLst>
              <a:ext uri="{FF2B5EF4-FFF2-40B4-BE49-F238E27FC236}">
                <a16:creationId xmlns:a16="http://schemas.microsoft.com/office/drawing/2014/main" id="{8BF9C63C-2FBF-4A04-9F81-7943542B62DF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9526" y="1057317"/>
            <a:ext cx="3017520" cy="1576263"/>
          </a:xfrm>
        </p:spPr>
      </p:pic>
      <p:pic>
        <p:nvPicPr>
          <p:cNvPr id="16" name="Picture Placeholder 15">
            <a:extLst>
              <a:ext uri="{FF2B5EF4-FFF2-40B4-BE49-F238E27FC236}">
                <a16:creationId xmlns:a16="http://schemas.microsoft.com/office/drawing/2014/main" id="{61266513-DCB6-4453-BC68-50C50E9824B7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18" name="Picture Placeholder 17">
            <a:extLst>
              <a:ext uri="{FF2B5EF4-FFF2-40B4-BE49-F238E27FC236}">
                <a16:creationId xmlns:a16="http://schemas.microsoft.com/office/drawing/2014/main" id="{233C6468-BFFA-404A-BD70-919F536524A0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12086" y="1057317"/>
            <a:ext cx="3017520" cy="1576263"/>
          </a:xfrm>
        </p:spPr>
      </p:pic>
      <p:pic>
        <p:nvPicPr>
          <p:cNvPr id="20" name="Picture Placeholder 19">
            <a:extLst>
              <a:ext uri="{FF2B5EF4-FFF2-40B4-BE49-F238E27FC236}">
                <a16:creationId xmlns:a16="http://schemas.microsoft.com/office/drawing/2014/main" id="{FA257D15-2AB2-4A55-86D5-524E482BD538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28" name="Picture Placeholder 27">
            <a:extLst>
              <a:ext uri="{FF2B5EF4-FFF2-40B4-BE49-F238E27FC236}">
                <a16:creationId xmlns:a16="http://schemas.microsoft.com/office/drawing/2014/main" id="{9D58D644-654B-4C04-937B-7D73B0895C36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12086" y="2671888"/>
            <a:ext cx="3017520" cy="1576263"/>
          </a:xfrm>
        </p:spPr>
      </p:pic>
      <p:pic>
        <p:nvPicPr>
          <p:cNvPr id="26" name="Picture Placeholder 23">
            <a:extLst>
              <a:ext uri="{FF2B5EF4-FFF2-40B4-BE49-F238E27FC236}">
                <a16:creationId xmlns:a16="http://schemas.microsoft.com/office/drawing/2014/main" id="{82819856-5A20-4F59-821D-F99D41A92255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72893" y="2671888"/>
            <a:ext cx="3017520" cy="1576263"/>
          </a:xfrm>
        </p:spPr>
      </p:pic>
      <p:pic>
        <p:nvPicPr>
          <p:cNvPr id="32" name="Picture Placeholder 31">
            <a:extLst>
              <a:ext uri="{FF2B5EF4-FFF2-40B4-BE49-F238E27FC236}">
                <a16:creationId xmlns:a16="http://schemas.microsoft.com/office/drawing/2014/main" id="{4DD58479-CA76-416E-9D64-D6E83C58B76F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30" name="Picture Placeholder 21">
            <a:extLst>
              <a:ext uri="{FF2B5EF4-FFF2-40B4-BE49-F238E27FC236}">
                <a16:creationId xmlns:a16="http://schemas.microsoft.com/office/drawing/2014/main" id="{A2985C24-E6BD-4379-9D36-B55B2D67B3FA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it-IT" dirty="0" err="1"/>
              <a:t>October</a:t>
            </a:r>
            <a:r>
              <a:rPr lang="it-IT" dirty="0"/>
              <a:t> 2023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184267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6">
            <a:extLst>
              <a:ext uri="{FF2B5EF4-FFF2-40B4-BE49-F238E27FC236}">
                <a16:creationId xmlns:a16="http://schemas.microsoft.com/office/drawing/2014/main" id="{BCDD960C-D05B-49DE-9634-23330DE86F8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3300" y="1183385"/>
            <a:ext cx="3272755" cy="1811707"/>
          </a:xfrm>
          <a:prstGeom prst="rect">
            <a:avLst/>
          </a:prstGeom>
        </p:spPr>
      </p:pic>
      <p:pic>
        <p:nvPicPr>
          <p:cNvPr id="31" name="Grafik 30">
            <a:extLst>
              <a:ext uri="{FF2B5EF4-FFF2-40B4-BE49-F238E27FC236}">
                <a16:creationId xmlns:a16="http://schemas.microsoft.com/office/drawing/2014/main" id="{87C385F6-992E-4D12-A429-2B1D16CA5DFF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52080" y="1183385"/>
            <a:ext cx="3312000" cy="1811707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46857" y="1188850"/>
            <a:ext cx="3312000" cy="1806242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/>
          <a:stretch/>
        </p:blipFill>
        <p:spPr>
          <a:xfrm>
            <a:off x="541634" y="1183385"/>
            <a:ext cx="3312000" cy="1802363"/>
          </a:xfrm>
          <a:prstGeom prst="rect">
            <a:avLst/>
          </a:prstGeom>
        </p:spPr>
      </p:pic>
      <p:sp>
        <p:nvSpPr>
          <p:cNvPr id="26" name="Content Placeholder 10">
            <a:extLst>
              <a:ext uri="{FF2B5EF4-FFF2-40B4-BE49-F238E27FC236}">
                <a16:creationId xmlns:a16="http://schemas.microsoft.com/office/drawing/2014/main" id="{39835B78-8302-4812-A142-7F32B00D92D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1634" y="3535827"/>
            <a:ext cx="3407429" cy="1974047"/>
          </a:xfrm>
        </p:spPr>
        <p:txBody>
          <a:bodyPr>
            <a:normAutofit/>
          </a:bodyPr>
          <a:lstStyle/>
          <a:p>
            <a:pPr marL="180975" lvl="1" indent="-180975"/>
            <a:r>
              <a:rPr lang="en-US" sz="1400" dirty="0"/>
              <a:t>Customer Support &amp; Development</a:t>
            </a:r>
          </a:p>
          <a:p>
            <a:pPr marL="180975" lvl="1" indent="-180975"/>
            <a:r>
              <a:rPr lang="en-US" sz="1400" dirty="0"/>
              <a:t>Specialty Development </a:t>
            </a:r>
          </a:p>
          <a:p>
            <a:pPr marL="358775" lvl="3" indent="-177800">
              <a:buFont typeface="System Font Regular"/>
              <a:buChar char="-"/>
            </a:pPr>
            <a:r>
              <a:rPr lang="en-US" sz="1400" dirty="0"/>
              <a:t>High transfer efficiency, scratch resistance, etc.</a:t>
            </a:r>
          </a:p>
          <a:p>
            <a:pPr marL="180975" lvl="1" indent="-180975"/>
            <a:r>
              <a:rPr lang="en-US" sz="1400" dirty="0"/>
              <a:t>Metallic Color Match</a:t>
            </a:r>
          </a:p>
          <a:p>
            <a:pPr marL="180975" lvl="1" indent="-180975"/>
            <a:r>
              <a:rPr lang="en-US" sz="1400" dirty="0"/>
              <a:t>Performance Testing</a:t>
            </a:r>
          </a:p>
          <a:p>
            <a:pPr marL="180975" lvl="1" indent="-180975"/>
            <a:r>
              <a:rPr lang="en-US" sz="1400" dirty="0"/>
              <a:t>Analytical Defect Analysis</a:t>
            </a:r>
          </a:p>
          <a:p>
            <a:pPr marL="0" indent="0">
              <a:buNone/>
            </a:pPr>
            <a:endParaRPr lang="en-US" sz="1400" b="1" dirty="0"/>
          </a:p>
          <a:p>
            <a:pPr marL="0" indent="0">
              <a:buNone/>
            </a:pPr>
            <a:endParaRPr lang="en-US" sz="1400" b="1" dirty="0"/>
          </a:p>
          <a:p>
            <a:pPr marL="0" indent="0">
              <a:buNone/>
            </a:pPr>
            <a:endParaRPr lang="en-US" sz="1400" dirty="0"/>
          </a:p>
        </p:txBody>
      </p:sp>
      <p:sp>
        <p:nvSpPr>
          <p:cNvPr id="27" name="Content Placeholder 10">
            <a:extLst>
              <a:ext uri="{FF2B5EF4-FFF2-40B4-BE49-F238E27FC236}">
                <a16:creationId xmlns:a16="http://schemas.microsoft.com/office/drawing/2014/main" id="{134866EB-D57D-4FC9-9BF7-AF21DA32A2B3}"/>
              </a:ext>
            </a:extLst>
          </p:cNvPr>
          <p:cNvSpPr txBox="1">
            <a:spLocks/>
          </p:cNvSpPr>
          <p:nvPr/>
        </p:nvSpPr>
        <p:spPr>
          <a:xfrm>
            <a:off x="4446857" y="3535827"/>
            <a:ext cx="3407429" cy="197404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233363" indent="-233363" algn="l" defTabSz="457200" rtl="0" eaLnBrk="1" latinLnBrk="0" hangingPunct="1">
              <a:spcBef>
                <a:spcPts val="528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Arial"/>
              </a:defRPr>
            </a:lvl1pPr>
            <a:lvl2pPr marL="339725" indent="-169863" algn="l" defTabSz="457200" rtl="0" eaLnBrk="1" latinLnBrk="0" hangingPunct="1">
              <a:spcBef>
                <a:spcPts val="528"/>
              </a:spcBef>
              <a:spcAft>
                <a:spcPts val="0"/>
              </a:spcAft>
              <a:buClr>
                <a:schemeClr val="accent1"/>
              </a:buClr>
              <a:buFont typeface="Arial"/>
              <a:buChar char="•"/>
              <a:defRPr sz="22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509588" indent="-169863" algn="l" defTabSz="457200" rtl="0" eaLnBrk="1" latinLnBrk="0" hangingPunct="1">
              <a:spcBef>
                <a:spcPts val="528"/>
              </a:spcBef>
              <a:spcAft>
                <a:spcPts val="0"/>
              </a:spcAft>
              <a:buClr>
                <a:schemeClr val="accent1"/>
              </a:buClr>
              <a:buFont typeface="Arial"/>
              <a:buChar char="•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Arial"/>
              </a:defRPr>
            </a:lvl3pPr>
            <a:lvl4pPr marL="690563" indent="-180975" algn="l" defTabSz="457200" rtl="0" eaLnBrk="1" latinLnBrk="0" hangingPunct="1">
              <a:spcBef>
                <a:spcPts val="528"/>
              </a:spcBef>
              <a:spcAft>
                <a:spcPts val="0"/>
              </a:spcAft>
              <a:buClr>
                <a:schemeClr val="accent1"/>
              </a:buClr>
              <a:buFont typeface="Arial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Arial"/>
              </a:defRPr>
            </a:lvl4pPr>
            <a:lvl5pPr marL="857250" indent="-166688" algn="l" defTabSz="457200" rtl="0" eaLnBrk="1" latinLnBrk="0" hangingPunct="1">
              <a:spcBef>
                <a:spcPts val="528"/>
              </a:spcBef>
              <a:spcAft>
                <a:spcPts val="0"/>
              </a:spcAft>
              <a:buClr>
                <a:schemeClr val="accent1"/>
              </a:buClr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/>
              </a:defRPr>
            </a:lvl5pPr>
            <a:lvl6pPr marL="800100" indent="-114300" algn="l" defTabSz="457200" rtl="0" eaLnBrk="1" latinLnBrk="0" hangingPunct="1">
              <a:spcBef>
                <a:spcPts val="528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5988" indent="-115888" algn="l" defTabSz="457200" rtl="0" eaLnBrk="1" latinLnBrk="0" hangingPunct="1">
              <a:spcBef>
                <a:spcPts val="528"/>
              </a:spcBef>
              <a:spcAft>
                <a:spcPts val="0"/>
              </a:spcAft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30288" indent="-114300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•"/>
              <a:defRPr sz="105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198563" indent="-106363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•"/>
              <a:defRPr sz="105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9388" marR="0" lvl="1" algn="l" defTabSz="457200" rtl="0" eaLnBrk="1" fontAlgn="auto" latinLnBrk="0" hangingPunct="1">
              <a:lnSpc>
                <a:spcPct val="100000"/>
              </a:lnSpc>
              <a:spcBef>
                <a:spcPts val="528"/>
              </a:spcBef>
              <a:spcAft>
                <a:spcPts val="0"/>
              </a:spcAft>
              <a:buClr>
                <a:srgbClr val="0078A9"/>
              </a:buClr>
              <a:buSzTx/>
              <a:buFont typeface="Arial"/>
              <a:buChar char="•"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lor Match Support </a:t>
            </a:r>
          </a:p>
          <a:p>
            <a:pPr marL="179388" marR="0" lvl="1" algn="l" defTabSz="457200" rtl="0" eaLnBrk="1" fontAlgn="auto" latinLnBrk="0" hangingPunct="1">
              <a:lnSpc>
                <a:spcPct val="100000"/>
              </a:lnSpc>
              <a:spcBef>
                <a:spcPts val="528"/>
              </a:spcBef>
              <a:spcAft>
                <a:spcPts val="0"/>
              </a:spcAft>
              <a:buClr>
                <a:srgbClr val="0078A9"/>
              </a:buClr>
              <a:buSzTx/>
              <a:buFont typeface="Arial"/>
              <a:buChar char="•"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ustomer Support </a:t>
            </a:r>
          </a:p>
          <a:p>
            <a:pPr marL="179388" marR="0" lvl="1" algn="l" defTabSz="457200" rtl="0" eaLnBrk="1" fontAlgn="auto" latinLnBrk="0" hangingPunct="1">
              <a:lnSpc>
                <a:spcPct val="100000"/>
              </a:lnSpc>
              <a:spcBef>
                <a:spcPts val="528"/>
              </a:spcBef>
              <a:spcAft>
                <a:spcPts val="0"/>
              </a:spcAft>
              <a:buClr>
                <a:srgbClr val="0078A9"/>
              </a:buClr>
              <a:buSzTx/>
              <a:buFont typeface="Arial"/>
              <a:buChar char="•"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roduction Support</a:t>
            </a:r>
          </a:p>
        </p:txBody>
      </p:sp>
      <p:sp>
        <p:nvSpPr>
          <p:cNvPr id="32" name="Content Placeholder 10">
            <a:extLst>
              <a:ext uri="{FF2B5EF4-FFF2-40B4-BE49-F238E27FC236}">
                <a16:creationId xmlns:a16="http://schemas.microsoft.com/office/drawing/2014/main" id="{8F83CB9D-96F2-45F6-A014-D61F6689C1B4}"/>
              </a:ext>
            </a:extLst>
          </p:cNvPr>
          <p:cNvSpPr txBox="1">
            <a:spLocks/>
          </p:cNvSpPr>
          <p:nvPr/>
        </p:nvSpPr>
        <p:spPr>
          <a:xfrm>
            <a:off x="8352080" y="3535826"/>
            <a:ext cx="3617033" cy="278870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233363" indent="-233363" algn="l" defTabSz="457200" rtl="0" eaLnBrk="1" latinLnBrk="0" hangingPunct="1">
              <a:spcBef>
                <a:spcPts val="528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Arial"/>
              </a:defRPr>
            </a:lvl1pPr>
            <a:lvl2pPr marL="339725" indent="-169863" algn="l" defTabSz="457200" rtl="0" eaLnBrk="1" latinLnBrk="0" hangingPunct="1">
              <a:spcBef>
                <a:spcPts val="528"/>
              </a:spcBef>
              <a:spcAft>
                <a:spcPts val="0"/>
              </a:spcAft>
              <a:buClr>
                <a:schemeClr val="accent1"/>
              </a:buClr>
              <a:buFont typeface="Arial"/>
              <a:buChar char="•"/>
              <a:defRPr sz="22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509588" indent="-169863" algn="l" defTabSz="457200" rtl="0" eaLnBrk="1" latinLnBrk="0" hangingPunct="1">
              <a:spcBef>
                <a:spcPts val="528"/>
              </a:spcBef>
              <a:spcAft>
                <a:spcPts val="0"/>
              </a:spcAft>
              <a:buClr>
                <a:schemeClr val="accent1"/>
              </a:buClr>
              <a:buFont typeface="Arial"/>
              <a:buChar char="•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Arial"/>
              </a:defRPr>
            </a:lvl3pPr>
            <a:lvl4pPr marL="690563" indent="-180975" algn="l" defTabSz="457200" rtl="0" eaLnBrk="1" latinLnBrk="0" hangingPunct="1">
              <a:spcBef>
                <a:spcPts val="528"/>
              </a:spcBef>
              <a:spcAft>
                <a:spcPts val="0"/>
              </a:spcAft>
              <a:buClr>
                <a:schemeClr val="accent1"/>
              </a:buClr>
              <a:buFont typeface="Arial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Arial"/>
              </a:defRPr>
            </a:lvl4pPr>
            <a:lvl5pPr marL="857250" indent="-166688" algn="l" defTabSz="457200" rtl="0" eaLnBrk="1" latinLnBrk="0" hangingPunct="1">
              <a:spcBef>
                <a:spcPts val="528"/>
              </a:spcBef>
              <a:spcAft>
                <a:spcPts val="0"/>
              </a:spcAft>
              <a:buClr>
                <a:schemeClr val="accent1"/>
              </a:buClr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/>
              </a:defRPr>
            </a:lvl5pPr>
            <a:lvl6pPr marL="800100" indent="-114300" algn="l" defTabSz="457200" rtl="0" eaLnBrk="1" latinLnBrk="0" hangingPunct="1">
              <a:spcBef>
                <a:spcPts val="528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5988" indent="-115888" algn="l" defTabSz="457200" rtl="0" eaLnBrk="1" latinLnBrk="0" hangingPunct="1">
              <a:spcBef>
                <a:spcPts val="528"/>
              </a:spcBef>
              <a:spcAft>
                <a:spcPts val="0"/>
              </a:spcAft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30288" indent="-114300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•"/>
              <a:defRPr sz="105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198563" indent="-106363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•"/>
              <a:defRPr sz="105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975" marR="0" lvl="1" indent="-180975" algn="l" defTabSz="457200" rtl="0" eaLnBrk="1" fontAlgn="auto" latinLnBrk="0" hangingPunct="1">
              <a:lnSpc>
                <a:spcPct val="100000"/>
              </a:lnSpc>
              <a:spcBef>
                <a:spcPts val="528"/>
              </a:spcBef>
              <a:spcAft>
                <a:spcPts val="0"/>
              </a:spcAft>
              <a:buClr>
                <a:srgbClr val="0078A9"/>
              </a:buClr>
              <a:buSzTx/>
              <a:buFont typeface="Arial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ustomer Support &amp; Development</a:t>
            </a:r>
          </a:p>
          <a:p>
            <a:pPr marL="180975" marR="0" lvl="1" indent="-180975" algn="l" defTabSz="457200" rtl="0" eaLnBrk="1" fontAlgn="auto" latinLnBrk="0" hangingPunct="1">
              <a:lnSpc>
                <a:spcPct val="100000"/>
              </a:lnSpc>
              <a:spcBef>
                <a:spcPts val="528"/>
              </a:spcBef>
              <a:spcAft>
                <a:spcPts val="0"/>
              </a:spcAft>
              <a:buClr>
                <a:srgbClr val="0078A9"/>
              </a:buClr>
              <a:buSzTx/>
              <a:buFont typeface="Arial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ew Product and Specialty Development</a:t>
            </a:r>
          </a:p>
          <a:p>
            <a:pPr marL="180975" marR="0" lvl="1" indent="-180975" algn="l" defTabSz="457200" rtl="0" eaLnBrk="1" fontAlgn="auto" latinLnBrk="0" hangingPunct="1">
              <a:lnSpc>
                <a:spcPct val="100000"/>
              </a:lnSpc>
              <a:spcBef>
                <a:spcPts val="528"/>
              </a:spcBef>
              <a:spcAft>
                <a:spcPts val="0"/>
              </a:spcAft>
              <a:buClr>
                <a:srgbClr val="0078A9"/>
              </a:buClr>
              <a:buSzTx/>
              <a:buFont typeface="Arial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lor &amp; Metallic Color Matching  </a:t>
            </a:r>
          </a:p>
          <a:p>
            <a:pPr marL="180975" marR="0" lvl="1" indent="-180975" algn="l" defTabSz="457200" rtl="0" eaLnBrk="1" fontAlgn="auto" latinLnBrk="0" hangingPunct="1">
              <a:lnSpc>
                <a:spcPct val="100000"/>
              </a:lnSpc>
              <a:spcBef>
                <a:spcPts val="528"/>
              </a:spcBef>
              <a:spcAft>
                <a:spcPts val="0"/>
              </a:spcAft>
              <a:buClr>
                <a:srgbClr val="0078A9"/>
              </a:buClr>
              <a:buSzTx/>
              <a:buFont typeface="Arial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erformance Testing</a:t>
            </a:r>
          </a:p>
          <a:p>
            <a:pPr marL="180975" marR="0" lvl="1" indent="-180975" algn="l" defTabSz="457200" rtl="0" eaLnBrk="1" fontAlgn="auto" latinLnBrk="0" hangingPunct="1">
              <a:lnSpc>
                <a:spcPct val="100000"/>
              </a:lnSpc>
              <a:spcBef>
                <a:spcPts val="528"/>
              </a:spcBef>
              <a:spcAft>
                <a:spcPts val="0"/>
              </a:spcAft>
              <a:buClr>
                <a:srgbClr val="0078A9"/>
              </a:buClr>
              <a:buSzTx/>
              <a:buFont typeface="Arial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nalytical Defect Analysis</a:t>
            </a:r>
          </a:p>
          <a:p>
            <a:pPr marL="180975" marR="0" lvl="1" indent="-180975" algn="l" defTabSz="457200" rtl="0" eaLnBrk="1" fontAlgn="auto" latinLnBrk="0" hangingPunct="1">
              <a:lnSpc>
                <a:spcPct val="100000"/>
              </a:lnSpc>
              <a:spcBef>
                <a:spcPts val="528"/>
              </a:spcBef>
              <a:spcAft>
                <a:spcPts val="0"/>
              </a:spcAft>
              <a:buClr>
                <a:srgbClr val="0078A9"/>
              </a:buClr>
              <a:buSzTx/>
              <a:buFont typeface="Arial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roduction Support</a:t>
            </a:r>
          </a:p>
        </p:txBody>
      </p:sp>
      <p:sp>
        <p:nvSpPr>
          <p:cNvPr id="19" name="Title 3">
            <a:extLst>
              <a:ext uri="{FF2B5EF4-FFF2-40B4-BE49-F238E27FC236}">
                <a16:creationId xmlns:a16="http://schemas.microsoft.com/office/drawing/2014/main" id="{A2177678-B55D-421D-9889-6D0FE3A795C3}"/>
              </a:ext>
            </a:extLst>
          </p:cNvPr>
          <p:cNvSpPr txBox="1">
            <a:spLocks/>
          </p:cNvSpPr>
          <p:nvPr/>
        </p:nvSpPr>
        <p:spPr>
          <a:xfrm>
            <a:off x="312883" y="323849"/>
            <a:ext cx="11670783" cy="859536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Arial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j-ea"/>
                <a:cs typeface="Arial"/>
              </a:rPr>
              <a:t>EMEA Powder Lab Footprint</a:t>
            </a:r>
            <a:endParaRPr kumimoji="0" lang="pl-PL" sz="2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j-ea"/>
              <a:cs typeface="Arial"/>
            </a:endParaRPr>
          </a:p>
        </p:txBody>
      </p:sp>
      <p:sp>
        <p:nvSpPr>
          <p:cNvPr id="29" name="Slide Number Placeholder 2">
            <a:extLst>
              <a:ext uri="{FF2B5EF4-FFF2-40B4-BE49-F238E27FC236}">
                <a16:creationId xmlns:a16="http://schemas.microsoft.com/office/drawing/2014/main" id="{32E58FA2-8097-0A44-83B0-8C956EE67243}"/>
              </a:ext>
            </a:extLst>
          </p:cNvPr>
          <p:cNvSpPr txBox="1">
            <a:spLocks/>
          </p:cNvSpPr>
          <p:nvPr/>
        </p:nvSpPr>
        <p:spPr>
          <a:xfrm>
            <a:off x="308056" y="6496407"/>
            <a:ext cx="455756" cy="17222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chemeClr val="tx2"/>
                </a:solidFill>
                <a:latin typeface="+mn-lt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666666"/>
                </a:solidFill>
                <a:latin typeface="Arial" panose="020B0604020202020204"/>
              </a:rPr>
              <a:t>8</a:t>
            </a:r>
          </a:p>
        </p:txBody>
      </p:sp>
      <p:sp>
        <p:nvSpPr>
          <p:cNvPr id="30" name="Footer Placeholder 1">
            <a:extLst>
              <a:ext uri="{FF2B5EF4-FFF2-40B4-BE49-F238E27FC236}">
                <a16:creationId xmlns:a16="http://schemas.microsoft.com/office/drawing/2014/main" id="{8BAEBC4F-2F44-F04D-BF44-89F4C534FF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63811" y="6496407"/>
            <a:ext cx="9460550" cy="172221"/>
          </a:xfrm>
        </p:spPr>
        <p:txBody>
          <a:bodyPr/>
          <a:lstStyle/>
          <a:p>
            <a:pPr marL="0" marR="0" lvl="0" indent="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Powder Coatings from PPG ©2023 PPG Industries, Inc. All rights reserved</a:t>
            </a:r>
          </a:p>
        </p:txBody>
      </p:sp>
      <p:sp>
        <p:nvSpPr>
          <p:cNvPr id="33" name="Freeform 32">
            <a:extLst>
              <a:ext uri="{FF2B5EF4-FFF2-40B4-BE49-F238E27FC236}">
                <a16:creationId xmlns:a16="http://schemas.microsoft.com/office/drawing/2014/main" id="{5344CEF5-3576-4F49-A243-FD054D4CA459}"/>
              </a:ext>
            </a:extLst>
          </p:cNvPr>
          <p:cNvSpPr/>
          <p:nvPr/>
        </p:nvSpPr>
        <p:spPr>
          <a:xfrm>
            <a:off x="580031" y="5485438"/>
            <a:ext cx="3259890" cy="614894"/>
          </a:xfrm>
          <a:custGeom>
            <a:avLst/>
            <a:gdLst>
              <a:gd name="connsiteX0" fmla="*/ 0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0 w 2676588"/>
              <a:gd name="connsiteY4" fmla="*/ 0 h 363338"/>
              <a:gd name="connsiteX0" fmla="*/ 888545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888545 w 2676588"/>
              <a:gd name="connsiteY4" fmla="*/ 0 h 363338"/>
              <a:gd name="connsiteX0" fmla="*/ 0 w 1788043"/>
              <a:gd name="connsiteY0" fmla="*/ 0 h 363338"/>
              <a:gd name="connsiteX1" fmla="*/ 1788043 w 1788043"/>
              <a:gd name="connsiteY1" fmla="*/ 0 h 363338"/>
              <a:gd name="connsiteX2" fmla="*/ 1600319 w 1788043"/>
              <a:gd name="connsiteY2" fmla="*/ 363338 h 363338"/>
              <a:gd name="connsiteX3" fmla="*/ 0 w 1788043"/>
              <a:gd name="connsiteY3" fmla="*/ 363338 h 363338"/>
              <a:gd name="connsiteX4" fmla="*/ 0 w 1788043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138221 w 1926264"/>
              <a:gd name="connsiteY3" fmla="*/ 363338 h 363338"/>
              <a:gd name="connsiteX4" fmla="*/ 0 w 1926264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6284 w 1926264"/>
              <a:gd name="connsiteY3" fmla="*/ 363338 h 363338"/>
              <a:gd name="connsiteX4" fmla="*/ 0 w 1926264"/>
              <a:gd name="connsiteY4" fmla="*/ 0 h 363338"/>
              <a:gd name="connsiteX0" fmla="*/ 43978 w 1970242"/>
              <a:gd name="connsiteY0" fmla="*/ 0 h 363338"/>
              <a:gd name="connsiteX1" fmla="*/ 1970242 w 1970242"/>
              <a:gd name="connsiteY1" fmla="*/ 0 h 363338"/>
              <a:gd name="connsiteX2" fmla="*/ 1782518 w 1970242"/>
              <a:gd name="connsiteY2" fmla="*/ 363338 h 363338"/>
              <a:gd name="connsiteX3" fmla="*/ 0 w 1970242"/>
              <a:gd name="connsiteY3" fmla="*/ 363338 h 363338"/>
              <a:gd name="connsiteX4" fmla="*/ 43978 w 1970242"/>
              <a:gd name="connsiteY4" fmla="*/ 0 h 363338"/>
              <a:gd name="connsiteX0" fmla="*/ 0 w 1926264"/>
              <a:gd name="connsiteY0" fmla="*/ 0 h 369620"/>
              <a:gd name="connsiteX1" fmla="*/ 1926264 w 1926264"/>
              <a:gd name="connsiteY1" fmla="*/ 0 h 369620"/>
              <a:gd name="connsiteX2" fmla="*/ 1738540 w 1926264"/>
              <a:gd name="connsiteY2" fmla="*/ 363338 h 369620"/>
              <a:gd name="connsiteX3" fmla="*/ 6284 w 1926264"/>
              <a:gd name="connsiteY3" fmla="*/ 369620 h 369620"/>
              <a:gd name="connsiteX4" fmla="*/ 0 w 1926264"/>
              <a:gd name="connsiteY4" fmla="*/ 0 h 369620"/>
              <a:gd name="connsiteX0" fmla="*/ 6281 w 1932545"/>
              <a:gd name="connsiteY0" fmla="*/ 0 h 369620"/>
              <a:gd name="connsiteX1" fmla="*/ 1932545 w 1932545"/>
              <a:gd name="connsiteY1" fmla="*/ 0 h 369620"/>
              <a:gd name="connsiteX2" fmla="*/ 1744821 w 1932545"/>
              <a:gd name="connsiteY2" fmla="*/ 363338 h 369620"/>
              <a:gd name="connsiteX3" fmla="*/ 0 w 1932545"/>
              <a:gd name="connsiteY3" fmla="*/ 369620 h 369620"/>
              <a:gd name="connsiteX4" fmla="*/ 6281 w 1932545"/>
              <a:gd name="connsiteY4" fmla="*/ 0 h 369620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25132 w 1926264"/>
              <a:gd name="connsiteY3" fmla="*/ 357055 h 363338"/>
              <a:gd name="connsiteX4" fmla="*/ 0 w 1926264"/>
              <a:gd name="connsiteY4" fmla="*/ 0 h 363338"/>
              <a:gd name="connsiteX0" fmla="*/ 12564 w 1938828"/>
              <a:gd name="connsiteY0" fmla="*/ 0 h 363338"/>
              <a:gd name="connsiteX1" fmla="*/ 1938828 w 1938828"/>
              <a:gd name="connsiteY1" fmla="*/ 0 h 363338"/>
              <a:gd name="connsiteX2" fmla="*/ 1751104 w 1938828"/>
              <a:gd name="connsiteY2" fmla="*/ 363338 h 363338"/>
              <a:gd name="connsiteX3" fmla="*/ 0 w 1938828"/>
              <a:gd name="connsiteY3" fmla="*/ 363338 h 363338"/>
              <a:gd name="connsiteX4" fmla="*/ 12564 w 1938828"/>
              <a:gd name="connsiteY4" fmla="*/ 0 h 363338"/>
              <a:gd name="connsiteX0" fmla="*/ 0 w 1926264"/>
              <a:gd name="connsiteY0" fmla="*/ 0 h 369621"/>
              <a:gd name="connsiteX1" fmla="*/ 1926264 w 1926264"/>
              <a:gd name="connsiteY1" fmla="*/ 0 h 369621"/>
              <a:gd name="connsiteX2" fmla="*/ 1738540 w 1926264"/>
              <a:gd name="connsiteY2" fmla="*/ 363338 h 369621"/>
              <a:gd name="connsiteX3" fmla="*/ 6284 w 1926264"/>
              <a:gd name="connsiteY3" fmla="*/ 369621 h 369621"/>
              <a:gd name="connsiteX4" fmla="*/ 0 w 1926264"/>
              <a:gd name="connsiteY4" fmla="*/ 0 h 369621"/>
              <a:gd name="connsiteX0" fmla="*/ 43978 w 1970242"/>
              <a:gd name="connsiteY0" fmla="*/ 0 h 363339"/>
              <a:gd name="connsiteX1" fmla="*/ 1970242 w 1970242"/>
              <a:gd name="connsiteY1" fmla="*/ 0 h 363339"/>
              <a:gd name="connsiteX2" fmla="*/ 1782518 w 1970242"/>
              <a:gd name="connsiteY2" fmla="*/ 363338 h 363339"/>
              <a:gd name="connsiteX3" fmla="*/ 0 w 1970242"/>
              <a:gd name="connsiteY3" fmla="*/ 363339 h 363339"/>
              <a:gd name="connsiteX4" fmla="*/ 43978 w 1970242"/>
              <a:gd name="connsiteY4" fmla="*/ 0 h 363339"/>
              <a:gd name="connsiteX0" fmla="*/ 0 w 1926264"/>
              <a:gd name="connsiteY0" fmla="*/ 0 h 363339"/>
              <a:gd name="connsiteX1" fmla="*/ 1926264 w 1926264"/>
              <a:gd name="connsiteY1" fmla="*/ 0 h 363339"/>
              <a:gd name="connsiteX2" fmla="*/ 1738540 w 1926264"/>
              <a:gd name="connsiteY2" fmla="*/ 363338 h 363339"/>
              <a:gd name="connsiteX3" fmla="*/ 1 w 1926264"/>
              <a:gd name="connsiteY3" fmla="*/ 363339 h 363339"/>
              <a:gd name="connsiteX4" fmla="*/ 0 w 1926264"/>
              <a:gd name="connsiteY4" fmla="*/ 0 h 3633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6264" h="363339">
                <a:moveTo>
                  <a:pt x="0" y="0"/>
                </a:moveTo>
                <a:lnTo>
                  <a:pt x="1926264" y="0"/>
                </a:lnTo>
                <a:lnTo>
                  <a:pt x="1738540" y="363338"/>
                </a:lnTo>
                <a:lnTo>
                  <a:pt x="1" y="363339"/>
                </a:lnTo>
                <a:cubicBezTo>
                  <a:pt x="1" y="242226"/>
                  <a:pt x="0" y="121113"/>
                  <a:pt x="0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8">
            <a:extLst>
              <a:ext uri="{FF2B5EF4-FFF2-40B4-BE49-F238E27FC236}">
                <a16:creationId xmlns:a16="http://schemas.microsoft.com/office/drawing/2014/main" id="{03E38BC3-4619-4AA6-A603-3E4D1D6F5B1E}"/>
              </a:ext>
            </a:extLst>
          </p:cNvPr>
          <p:cNvSpPr txBox="1"/>
          <p:nvPr/>
        </p:nvSpPr>
        <p:spPr>
          <a:xfrm>
            <a:off x="628156" y="5480219"/>
            <a:ext cx="2595202" cy="58477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vestment in Italy to upgrade lab in 2021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09F3AB27-0B12-4C6E-BCFC-37D960A57BD9}"/>
              </a:ext>
            </a:extLst>
          </p:cNvPr>
          <p:cNvSpPr/>
          <p:nvPr/>
        </p:nvSpPr>
        <p:spPr>
          <a:xfrm>
            <a:off x="541634" y="2973395"/>
            <a:ext cx="3312000" cy="383829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8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ilan, Italy</a:t>
            </a:r>
          </a:p>
        </p:txBody>
      </p:sp>
      <p:pic>
        <p:nvPicPr>
          <p:cNvPr id="35" name="Picture 34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0418" y="2897806"/>
            <a:ext cx="562432" cy="562432"/>
          </a:xfrm>
          <a:prstGeom prst="rect">
            <a:avLst/>
          </a:prstGeom>
        </p:spPr>
      </p:pic>
      <p:sp>
        <p:nvSpPr>
          <p:cNvPr id="21" name="Rechteck 20">
            <a:extLst>
              <a:ext uri="{FF2B5EF4-FFF2-40B4-BE49-F238E27FC236}">
                <a16:creationId xmlns:a16="http://schemas.microsoft.com/office/drawing/2014/main" id="{4610B16F-CF71-4D40-8225-39A704534983}"/>
              </a:ext>
            </a:extLst>
          </p:cNvPr>
          <p:cNvSpPr/>
          <p:nvPr/>
        </p:nvSpPr>
        <p:spPr>
          <a:xfrm>
            <a:off x="4446857" y="2973395"/>
            <a:ext cx="3312000" cy="383829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8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ieszyn, Poland              </a:t>
            </a:r>
          </a:p>
        </p:txBody>
      </p:sp>
      <p:pic>
        <p:nvPicPr>
          <p:cNvPr id="22" name="Picture 34">
            <a:extLst>
              <a:ext uri="{FF2B5EF4-FFF2-40B4-BE49-F238E27FC236}">
                <a16:creationId xmlns:a16="http://schemas.microsoft.com/office/drawing/2014/main" id="{D36750F7-3F7C-4834-BA15-92ACDBCA0D39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65641" y="2897806"/>
            <a:ext cx="562432" cy="562432"/>
          </a:xfrm>
          <a:prstGeom prst="rect">
            <a:avLst/>
          </a:prstGeom>
        </p:spPr>
      </p:pic>
      <p:sp>
        <p:nvSpPr>
          <p:cNvPr id="24" name="Rechteck 23">
            <a:extLst>
              <a:ext uri="{FF2B5EF4-FFF2-40B4-BE49-F238E27FC236}">
                <a16:creationId xmlns:a16="http://schemas.microsoft.com/office/drawing/2014/main" id="{E80A38B6-DDAF-44CD-8373-D60B94E2309F}"/>
              </a:ext>
            </a:extLst>
          </p:cNvPr>
          <p:cNvSpPr/>
          <p:nvPr/>
        </p:nvSpPr>
        <p:spPr>
          <a:xfrm>
            <a:off x="8352080" y="2973395"/>
            <a:ext cx="3312000" cy="383829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8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uffenhausen, Germany</a:t>
            </a:r>
          </a:p>
        </p:txBody>
      </p:sp>
      <p:pic>
        <p:nvPicPr>
          <p:cNvPr id="25" name="Picture 34">
            <a:extLst>
              <a:ext uri="{FF2B5EF4-FFF2-40B4-BE49-F238E27FC236}">
                <a16:creationId xmlns:a16="http://schemas.microsoft.com/office/drawing/2014/main" id="{3149F8A9-D478-4E0C-8FF9-20E32BCCCD48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70864" y="2897806"/>
            <a:ext cx="562432" cy="562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838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6950BFC3-D8DA-4A85-94F7-54DA5524770B}">
      <p188:commentRel xmlns:p188="http://schemas.microsoft.com/office/powerpoint/2018/8/main" r:id="rId2"/>
    </p:ext>
  </p:extLs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Picture 101">
            <a:extLst>
              <a:ext uri="{FF2B5EF4-FFF2-40B4-BE49-F238E27FC236}">
                <a16:creationId xmlns:a16="http://schemas.microsoft.com/office/drawing/2014/main" id="{54A16C69-820A-432B-A2A2-1D51A3E908C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79933" y="3691193"/>
            <a:ext cx="2034000" cy="1794564"/>
          </a:xfrm>
          <a:prstGeom prst="rect">
            <a:avLst/>
          </a:prstGeom>
        </p:spPr>
      </p:pic>
      <p:pic>
        <p:nvPicPr>
          <p:cNvPr id="15" name="Picture 107">
            <a:extLst>
              <a:ext uri="{FF2B5EF4-FFF2-40B4-BE49-F238E27FC236}">
                <a16:creationId xmlns:a16="http://schemas.microsoft.com/office/drawing/2014/main" id="{0383E47F-E8D1-4113-A111-0026C187508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97"/>
          <a:stretch/>
        </p:blipFill>
        <p:spPr>
          <a:xfrm>
            <a:off x="308056" y="1183385"/>
            <a:ext cx="2034189" cy="1800000"/>
          </a:xfrm>
          <a:prstGeom prst="rect">
            <a:avLst/>
          </a:prstGeom>
        </p:spPr>
      </p:pic>
      <p:pic>
        <p:nvPicPr>
          <p:cNvPr id="20" name="Picture 75">
            <a:extLst>
              <a:ext uri="{FF2B5EF4-FFF2-40B4-BE49-F238E27FC236}">
                <a16:creationId xmlns:a16="http://schemas.microsoft.com/office/drawing/2014/main" id="{01E9F5C0-803C-48DB-A391-7EDE651F4BA2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80122" y="1183387"/>
            <a:ext cx="2034000" cy="1805778"/>
          </a:xfrm>
          <a:prstGeom prst="rect">
            <a:avLst/>
          </a:prstGeom>
        </p:spPr>
      </p:pic>
      <p:pic>
        <p:nvPicPr>
          <p:cNvPr id="25" name="Picture 109">
            <a:extLst>
              <a:ext uri="{FF2B5EF4-FFF2-40B4-BE49-F238E27FC236}">
                <a16:creationId xmlns:a16="http://schemas.microsoft.com/office/drawing/2014/main" id="{1FAF9BC4-57FB-4106-AE59-0EEB894F371A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"/>
          <a:stretch/>
        </p:blipFill>
        <p:spPr>
          <a:xfrm>
            <a:off x="4857426" y="1183385"/>
            <a:ext cx="2034000" cy="1798216"/>
          </a:xfrm>
          <a:prstGeom prst="rect">
            <a:avLst/>
          </a:prstGeom>
        </p:spPr>
      </p:pic>
      <p:pic>
        <p:nvPicPr>
          <p:cNvPr id="30" name="Picture 28">
            <a:extLst>
              <a:ext uri="{FF2B5EF4-FFF2-40B4-BE49-F238E27FC236}">
                <a16:creationId xmlns:a16="http://schemas.microsoft.com/office/drawing/2014/main" id="{2234FD7F-190E-4028-8A51-764A6D61FC7A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28938" y="1183386"/>
            <a:ext cx="2034000" cy="1798216"/>
          </a:xfrm>
          <a:prstGeom prst="rect">
            <a:avLst/>
          </a:prstGeom>
        </p:spPr>
      </p:pic>
      <p:pic>
        <p:nvPicPr>
          <p:cNvPr id="35" name="Picture 10">
            <a:extLst>
              <a:ext uri="{FF2B5EF4-FFF2-40B4-BE49-F238E27FC236}">
                <a16:creationId xmlns:a16="http://schemas.microsoft.com/office/drawing/2014/main" id="{F6144BC5-CBD1-47C3-9B77-836BF67649D9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06183" y="1183385"/>
            <a:ext cx="2034000" cy="1798217"/>
          </a:xfrm>
          <a:prstGeom prst="rect">
            <a:avLst/>
          </a:prstGeom>
        </p:spPr>
      </p:pic>
      <p:pic>
        <p:nvPicPr>
          <p:cNvPr id="40" name="Picture 25">
            <a:extLst>
              <a:ext uri="{FF2B5EF4-FFF2-40B4-BE49-F238E27FC236}">
                <a16:creationId xmlns:a16="http://schemas.microsoft.com/office/drawing/2014/main" id="{60281082-B3C7-4673-8CB1-23833FEC951D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8056" y="3691193"/>
            <a:ext cx="2034189" cy="1800000"/>
          </a:xfrm>
          <a:prstGeom prst="rect">
            <a:avLst/>
          </a:prstGeom>
        </p:spPr>
      </p:pic>
      <p:pic>
        <p:nvPicPr>
          <p:cNvPr id="50" name="Picture 103">
            <a:extLst>
              <a:ext uri="{FF2B5EF4-FFF2-40B4-BE49-F238E27FC236}">
                <a16:creationId xmlns:a16="http://schemas.microsoft.com/office/drawing/2014/main" id="{BB35C89A-0736-479E-910D-8A98F051E1E4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61150" y="3691193"/>
            <a:ext cx="2030276" cy="1792851"/>
          </a:xfrm>
          <a:prstGeom prst="rect">
            <a:avLst/>
          </a:prstGeom>
        </p:spPr>
      </p:pic>
      <p:pic>
        <p:nvPicPr>
          <p:cNvPr id="55" name="Picture 111">
            <a:extLst>
              <a:ext uri="{FF2B5EF4-FFF2-40B4-BE49-F238E27FC236}">
                <a16:creationId xmlns:a16="http://schemas.microsoft.com/office/drawing/2014/main" id="{8EE85C43-B22F-43A2-89FB-C8E966C01C44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26549" y="3691192"/>
            <a:ext cx="2036389" cy="1792851"/>
          </a:xfrm>
          <a:prstGeom prst="rect">
            <a:avLst/>
          </a:prstGeom>
        </p:spPr>
      </p:pic>
      <p:sp>
        <p:nvSpPr>
          <p:cNvPr id="91" name="Title 3">
            <a:extLst>
              <a:ext uri="{FF2B5EF4-FFF2-40B4-BE49-F238E27FC236}">
                <a16:creationId xmlns:a16="http://schemas.microsoft.com/office/drawing/2014/main" id="{53841710-94A9-41FB-A7D5-33EA381B8177}"/>
              </a:ext>
            </a:extLst>
          </p:cNvPr>
          <p:cNvSpPr txBox="1">
            <a:spLocks/>
          </p:cNvSpPr>
          <p:nvPr/>
        </p:nvSpPr>
        <p:spPr>
          <a:xfrm>
            <a:off x="312883" y="323849"/>
            <a:ext cx="11670783" cy="859536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Arial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j-ea"/>
                <a:cs typeface="Arial"/>
              </a:rPr>
              <a:t>Segment Experience</a:t>
            </a:r>
            <a:endParaRPr kumimoji="0" lang="pl-PL" sz="2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j-ea"/>
              <a:cs typeface="Arial"/>
            </a:endParaRPr>
          </a:p>
        </p:txBody>
      </p:sp>
      <p:sp>
        <p:nvSpPr>
          <p:cNvPr id="71" name="Slide Number Placeholder 2">
            <a:extLst>
              <a:ext uri="{FF2B5EF4-FFF2-40B4-BE49-F238E27FC236}">
                <a16:creationId xmlns:a16="http://schemas.microsoft.com/office/drawing/2014/main" id="{8D6EE176-2F65-FE48-A97F-7DD1A26BEAF8}"/>
              </a:ext>
            </a:extLst>
          </p:cNvPr>
          <p:cNvSpPr txBox="1">
            <a:spLocks/>
          </p:cNvSpPr>
          <p:nvPr/>
        </p:nvSpPr>
        <p:spPr>
          <a:xfrm>
            <a:off x="308056" y="6496407"/>
            <a:ext cx="455756" cy="17222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chemeClr val="tx2"/>
                </a:solidFill>
                <a:latin typeface="+mn-lt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666666"/>
                </a:solidFill>
                <a:latin typeface="Arial" panose="020B0604020202020204"/>
              </a:rPr>
              <a:t>9</a:t>
            </a:r>
          </a:p>
        </p:txBody>
      </p:sp>
      <p:sp>
        <p:nvSpPr>
          <p:cNvPr id="72" name="Footer Placeholder 1">
            <a:extLst>
              <a:ext uri="{FF2B5EF4-FFF2-40B4-BE49-F238E27FC236}">
                <a16:creationId xmlns:a16="http://schemas.microsoft.com/office/drawing/2014/main" id="{21A29B3C-DE41-DF40-B45F-E32C3A67D19F}"/>
              </a:ext>
            </a:extLst>
          </p:cNvPr>
          <p:cNvSpPr txBox="1">
            <a:spLocks/>
          </p:cNvSpPr>
          <p:nvPr/>
        </p:nvSpPr>
        <p:spPr>
          <a:xfrm>
            <a:off x="763811" y="6496407"/>
            <a:ext cx="9460550" cy="17222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chemeClr val="tx2"/>
                </a:solidFill>
                <a:latin typeface="+mn-lt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666666"/>
                </a:solidFill>
                <a:latin typeface="Arial" panose="020B0604020202020204"/>
              </a:rPr>
              <a:t>Powder Coatings from PPG ©2023 PPG Industries, Inc. All rights reserved</a:t>
            </a:r>
          </a:p>
        </p:txBody>
      </p:sp>
      <p:grpSp>
        <p:nvGrpSpPr>
          <p:cNvPr id="16" name="Group 69">
            <a:extLst>
              <a:ext uri="{FF2B5EF4-FFF2-40B4-BE49-F238E27FC236}">
                <a16:creationId xmlns:a16="http://schemas.microsoft.com/office/drawing/2014/main" id="{827A1575-E264-4EA0-92A1-27F6B8F4F421}"/>
              </a:ext>
            </a:extLst>
          </p:cNvPr>
          <p:cNvGrpSpPr/>
          <p:nvPr/>
        </p:nvGrpSpPr>
        <p:grpSpPr>
          <a:xfrm>
            <a:off x="2579047" y="2983385"/>
            <a:ext cx="2035076" cy="397505"/>
            <a:chOff x="307503" y="2964624"/>
            <a:chExt cx="1736828" cy="356739"/>
          </a:xfrm>
        </p:grpSpPr>
        <p:sp>
          <p:nvSpPr>
            <p:cNvPr id="17" name="Rectangle 70">
              <a:extLst>
                <a:ext uri="{FF2B5EF4-FFF2-40B4-BE49-F238E27FC236}">
                  <a16:creationId xmlns:a16="http://schemas.microsoft.com/office/drawing/2014/main" id="{FA77AB5F-5184-446E-92C6-71B4C1F02E52}"/>
                </a:ext>
              </a:extLst>
            </p:cNvPr>
            <p:cNvSpPr/>
            <p:nvPr/>
          </p:nvSpPr>
          <p:spPr>
            <a:xfrm>
              <a:off x="312801" y="2966159"/>
              <a:ext cx="1731530" cy="355204"/>
            </a:xfrm>
            <a:prstGeom prst="rect">
              <a:avLst/>
            </a:prstGeom>
            <a:solidFill>
              <a:schemeClr val="accent4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" name="Freeform 71">
              <a:extLst>
                <a:ext uri="{FF2B5EF4-FFF2-40B4-BE49-F238E27FC236}">
                  <a16:creationId xmlns:a16="http://schemas.microsoft.com/office/drawing/2014/main" id="{7F30B277-4891-42DB-98F4-8612CA7A0578}"/>
                </a:ext>
              </a:extLst>
            </p:cNvPr>
            <p:cNvSpPr/>
            <p:nvPr/>
          </p:nvSpPr>
          <p:spPr>
            <a:xfrm>
              <a:off x="307503" y="2964624"/>
              <a:ext cx="1664782" cy="356739"/>
            </a:xfrm>
            <a:custGeom>
              <a:avLst/>
              <a:gdLst>
                <a:gd name="connsiteX0" fmla="*/ 1664782 w 1664782"/>
                <a:gd name="connsiteY0" fmla="*/ 0 h 356739"/>
                <a:gd name="connsiteX1" fmla="*/ 0 w 1664782"/>
                <a:gd name="connsiteY1" fmla="*/ 0 h 356739"/>
                <a:gd name="connsiteX2" fmla="*/ 0 w 1664782"/>
                <a:gd name="connsiteY2" fmla="*/ 356739 h 356739"/>
                <a:gd name="connsiteX3" fmla="*/ 53306 w 1664782"/>
                <a:gd name="connsiteY3" fmla="*/ 356739 h 356739"/>
                <a:gd name="connsiteX4" fmla="*/ 1496664 w 1664782"/>
                <a:gd name="connsiteY4" fmla="*/ 356739 h 356739"/>
                <a:gd name="connsiteX5" fmla="*/ 1664782 w 1664782"/>
                <a:gd name="connsiteY5" fmla="*/ 0 h 356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64782" h="356739">
                  <a:moveTo>
                    <a:pt x="1664782" y="0"/>
                  </a:moveTo>
                  <a:lnTo>
                    <a:pt x="0" y="0"/>
                  </a:lnTo>
                  <a:lnTo>
                    <a:pt x="0" y="356739"/>
                  </a:lnTo>
                  <a:lnTo>
                    <a:pt x="53306" y="356739"/>
                  </a:lnTo>
                  <a:lnTo>
                    <a:pt x="1496664" y="356739"/>
                  </a:lnTo>
                  <a:lnTo>
                    <a:pt x="1664782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" name="TextBox 72">
              <a:extLst>
                <a:ext uri="{FF2B5EF4-FFF2-40B4-BE49-F238E27FC236}">
                  <a16:creationId xmlns:a16="http://schemas.microsoft.com/office/drawing/2014/main" id="{C0EC1070-384C-4867-92F9-A1EF08CC7D5C}"/>
                </a:ext>
              </a:extLst>
            </p:cNvPr>
            <p:cNvSpPr txBox="1"/>
            <p:nvPr/>
          </p:nvSpPr>
          <p:spPr>
            <a:xfrm>
              <a:off x="307503" y="2971760"/>
              <a:ext cx="1496584" cy="343135"/>
            </a:xfrm>
            <a:prstGeom prst="rect">
              <a:avLst/>
            </a:prstGeom>
            <a:noFill/>
          </p:spPr>
          <p:txBody>
            <a:bodyPr wrap="square" lIns="7200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Extrusion Coatings</a:t>
              </a:r>
            </a:p>
          </p:txBody>
        </p:sp>
      </p:grpSp>
      <p:grpSp>
        <p:nvGrpSpPr>
          <p:cNvPr id="21" name="Group 92">
            <a:extLst>
              <a:ext uri="{FF2B5EF4-FFF2-40B4-BE49-F238E27FC236}">
                <a16:creationId xmlns:a16="http://schemas.microsoft.com/office/drawing/2014/main" id="{F6E727BC-6F9C-43A5-A782-B51CF874CB68}"/>
              </a:ext>
            </a:extLst>
          </p:cNvPr>
          <p:cNvGrpSpPr/>
          <p:nvPr/>
        </p:nvGrpSpPr>
        <p:grpSpPr>
          <a:xfrm>
            <a:off x="4854938" y="2983470"/>
            <a:ext cx="2036488" cy="397420"/>
            <a:chOff x="307503" y="2964624"/>
            <a:chExt cx="1736828" cy="356739"/>
          </a:xfrm>
        </p:grpSpPr>
        <p:sp>
          <p:nvSpPr>
            <p:cNvPr id="22" name="Rectangle 93">
              <a:extLst>
                <a:ext uri="{FF2B5EF4-FFF2-40B4-BE49-F238E27FC236}">
                  <a16:creationId xmlns:a16="http://schemas.microsoft.com/office/drawing/2014/main" id="{3776BF1D-8882-4BEA-B246-83A7BE7EBE58}"/>
                </a:ext>
              </a:extLst>
            </p:cNvPr>
            <p:cNvSpPr/>
            <p:nvPr/>
          </p:nvSpPr>
          <p:spPr>
            <a:xfrm>
              <a:off x="312801" y="2966159"/>
              <a:ext cx="1731530" cy="355204"/>
            </a:xfrm>
            <a:prstGeom prst="rect">
              <a:avLst/>
            </a:prstGeom>
            <a:solidFill>
              <a:schemeClr val="accent4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" name="Freeform 94">
              <a:extLst>
                <a:ext uri="{FF2B5EF4-FFF2-40B4-BE49-F238E27FC236}">
                  <a16:creationId xmlns:a16="http://schemas.microsoft.com/office/drawing/2014/main" id="{127327EE-8DD5-4861-82CA-7E2A9AFEFFBA}"/>
                </a:ext>
              </a:extLst>
            </p:cNvPr>
            <p:cNvSpPr/>
            <p:nvPr/>
          </p:nvSpPr>
          <p:spPr>
            <a:xfrm>
              <a:off x="307503" y="2964624"/>
              <a:ext cx="1664782" cy="356739"/>
            </a:xfrm>
            <a:custGeom>
              <a:avLst/>
              <a:gdLst>
                <a:gd name="connsiteX0" fmla="*/ 1664782 w 1664782"/>
                <a:gd name="connsiteY0" fmla="*/ 0 h 356739"/>
                <a:gd name="connsiteX1" fmla="*/ 0 w 1664782"/>
                <a:gd name="connsiteY1" fmla="*/ 0 h 356739"/>
                <a:gd name="connsiteX2" fmla="*/ 0 w 1664782"/>
                <a:gd name="connsiteY2" fmla="*/ 356739 h 356739"/>
                <a:gd name="connsiteX3" fmla="*/ 53306 w 1664782"/>
                <a:gd name="connsiteY3" fmla="*/ 356739 h 356739"/>
                <a:gd name="connsiteX4" fmla="*/ 1496664 w 1664782"/>
                <a:gd name="connsiteY4" fmla="*/ 356739 h 356739"/>
                <a:gd name="connsiteX5" fmla="*/ 1664782 w 1664782"/>
                <a:gd name="connsiteY5" fmla="*/ 0 h 356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64782" h="356739">
                  <a:moveTo>
                    <a:pt x="1664782" y="0"/>
                  </a:moveTo>
                  <a:lnTo>
                    <a:pt x="0" y="0"/>
                  </a:lnTo>
                  <a:lnTo>
                    <a:pt x="0" y="356739"/>
                  </a:lnTo>
                  <a:lnTo>
                    <a:pt x="53306" y="356739"/>
                  </a:lnTo>
                  <a:lnTo>
                    <a:pt x="1496664" y="356739"/>
                  </a:lnTo>
                  <a:lnTo>
                    <a:pt x="1664782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" name="TextBox 95">
              <a:extLst>
                <a:ext uri="{FF2B5EF4-FFF2-40B4-BE49-F238E27FC236}">
                  <a16:creationId xmlns:a16="http://schemas.microsoft.com/office/drawing/2014/main" id="{E415762F-B25D-4A4C-95F2-53EAE7BB0F03}"/>
                </a:ext>
              </a:extLst>
            </p:cNvPr>
            <p:cNvSpPr txBox="1"/>
            <p:nvPr/>
          </p:nvSpPr>
          <p:spPr>
            <a:xfrm>
              <a:off x="307503" y="2971760"/>
              <a:ext cx="1504822" cy="343135"/>
            </a:xfrm>
            <a:prstGeom prst="rect">
              <a:avLst/>
            </a:prstGeom>
            <a:noFill/>
          </p:spPr>
          <p:txBody>
            <a:bodyPr wrap="square" lIns="7200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General Industrial</a:t>
              </a:r>
            </a:p>
          </p:txBody>
        </p:sp>
      </p:grpSp>
      <p:grpSp>
        <p:nvGrpSpPr>
          <p:cNvPr id="26" name="Group 61">
            <a:extLst>
              <a:ext uri="{FF2B5EF4-FFF2-40B4-BE49-F238E27FC236}">
                <a16:creationId xmlns:a16="http://schemas.microsoft.com/office/drawing/2014/main" id="{043D75B4-032A-4B1D-94FA-C2269B730631}"/>
              </a:ext>
            </a:extLst>
          </p:cNvPr>
          <p:cNvGrpSpPr/>
          <p:nvPr/>
        </p:nvGrpSpPr>
        <p:grpSpPr>
          <a:xfrm>
            <a:off x="7126549" y="2981602"/>
            <a:ext cx="2036390" cy="385006"/>
            <a:chOff x="307502" y="2964624"/>
            <a:chExt cx="1736829" cy="356739"/>
          </a:xfrm>
        </p:grpSpPr>
        <p:sp>
          <p:nvSpPr>
            <p:cNvPr id="27" name="Rectangle 62">
              <a:extLst>
                <a:ext uri="{FF2B5EF4-FFF2-40B4-BE49-F238E27FC236}">
                  <a16:creationId xmlns:a16="http://schemas.microsoft.com/office/drawing/2014/main" id="{05329124-1F8F-4A0D-B8BD-3D7CE0569141}"/>
                </a:ext>
              </a:extLst>
            </p:cNvPr>
            <p:cNvSpPr/>
            <p:nvPr/>
          </p:nvSpPr>
          <p:spPr>
            <a:xfrm>
              <a:off x="312801" y="2966159"/>
              <a:ext cx="1731530" cy="355204"/>
            </a:xfrm>
            <a:prstGeom prst="rect">
              <a:avLst/>
            </a:prstGeom>
            <a:solidFill>
              <a:schemeClr val="accent4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" name="Freeform 63">
              <a:extLst>
                <a:ext uri="{FF2B5EF4-FFF2-40B4-BE49-F238E27FC236}">
                  <a16:creationId xmlns:a16="http://schemas.microsoft.com/office/drawing/2014/main" id="{CFC7B225-4DFD-45BB-84E2-403BBC07F4EB}"/>
                </a:ext>
              </a:extLst>
            </p:cNvPr>
            <p:cNvSpPr/>
            <p:nvPr/>
          </p:nvSpPr>
          <p:spPr>
            <a:xfrm>
              <a:off x="307503" y="2964624"/>
              <a:ext cx="1664782" cy="356739"/>
            </a:xfrm>
            <a:custGeom>
              <a:avLst/>
              <a:gdLst>
                <a:gd name="connsiteX0" fmla="*/ 1664782 w 1664782"/>
                <a:gd name="connsiteY0" fmla="*/ 0 h 356739"/>
                <a:gd name="connsiteX1" fmla="*/ 0 w 1664782"/>
                <a:gd name="connsiteY1" fmla="*/ 0 h 356739"/>
                <a:gd name="connsiteX2" fmla="*/ 0 w 1664782"/>
                <a:gd name="connsiteY2" fmla="*/ 356739 h 356739"/>
                <a:gd name="connsiteX3" fmla="*/ 53306 w 1664782"/>
                <a:gd name="connsiteY3" fmla="*/ 356739 h 356739"/>
                <a:gd name="connsiteX4" fmla="*/ 1496664 w 1664782"/>
                <a:gd name="connsiteY4" fmla="*/ 356739 h 356739"/>
                <a:gd name="connsiteX5" fmla="*/ 1664782 w 1664782"/>
                <a:gd name="connsiteY5" fmla="*/ 0 h 356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64782" h="356739">
                  <a:moveTo>
                    <a:pt x="1664782" y="0"/>
                  </a:moveTo>
                  <a:lnTo>
                    <a:pt x="0" y="0"/>
                  </a:lnTo>
                  <a:lnTo>
                    <a:pt x="0" y="356739"/>
                  </a:lnTo>
                  <a:lnTo>
                    <a:pt x="53306" y="356739"/>
                  </a:lnTo>
                  <a:lnTo>
                    <a:pt x="1496664" y="356739"/>
                  </a:lnTo>
                  <a:lnTo>
                    <a:pt x="1664782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" name="TextBox 64">
              <a:extLst>
                <a:ext uri="{FF2B5EF4-FFF2-40B4-BE49-F238E27FC236}">
                  <a16:creationId xmlns:a16="http://schemas.microsoft.com/office/drawing/2014/main" id="{78DB9F94-2BF2-401F-BC3B-6B2574C41BA4}"/>
                </a:ext>
              </a:extLst>
            </p:cNvPr>
            <p:cNvSpPr txBox="1"/>
            <p:nvPr/>
          </p:nvSpPr>
          <p:spPr>
            <a:xfrm>
              <a:off x="307502" y="2971760"/>
              <a:ext cx="1513059" cy="343135"/>
            </a:xfrm>
            <a:prstGeom prst="rect">
              <a:avLst/>
            </a:prstGeom>
            <a:solidFill>
              <a:schemeClr val="accent4"/>
            </a:solidFill>
          </p:spPr>
          <p:txBody>
            <a:bodyPr wrap="square" lIns="7200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Automotive Parts and</a:t>
              </a:r>
              <a:b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Accessories (APA)</a:t>
              </a:r>
            </a:p>
          </p:txBody>
        </p:sp>
      </p:grpSp>
      <p:grpSp>
        <p:nvGrpSpPr>
          <p:cNvPr id="31" name="Group 20">
            <a:extLst>
              <a:ext uri="{FF2B5EF4-FFF2-40B4-BE49-F238E27FC236}">
                <a16:creationId xmlns:a16="http://schemas.microsoft.com/office/drawing/2014/main" id="{18B02315-E601-4577-BAC6-3051C90A7218}"/>
              </a:ext>
            </a:extLst>
          </p:cNvPr>
          <p:cNvGrpSpPr/>
          <p:nvPr/>
        </p:nvGrpSpPr>
        <p:grpSpPr>
          <a:xfrm>
            <a:off x="9406183" y="2981603"/>
            <a:ext cx="2034000" cy="378025"/>
            <a:chOff x="307503" y="2964624"/>
            <a:chExt cx="1736828" cy="356739"/>
          </a:xfrm>
        </p:grpSpPr>
        <p:sp>
          <p:nvSpPr>
            <p:cNvPr id="32" name="Rectangle 5">
              <a:extLst>
                <a:ext uri="{FF2B5EF4-FFF2-40B4-BE49-F238E27FC236}">
                  <a16:creationId xmlns:a16="http://schemas.microsoft.com/office/drawing/2014/main" id="{7DFAA2AB-0C51-4919-803E-317ED35970C7}"/>
                </a:ext>
              </a:extLst>
            </p:cNvPr>
            <p:cNvSpPr/>
            <p:nvPr/>
          </p:nvSpPr>
          <p:spPr>
            <a:xfrm>
              <a:off x="312801" y="2966159"/>
              <a:ext cx="1731530" cy="355204"/>
            </a:xfrm>
            <a:prstGeom prst="rect">
              <a:avLst/>
            </a:prstGeom>
            <a:solidFill>
              <a:schemeClr val="accent4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" name="Freeform 4">
              <a:extLst>
                <a:ext uri="{FF2B5EF4-FFF2-40B4-BE49-F238E27FC236}">
                  <a16:creationId xmlns:a16="http://schemas.microsoft.com/office/drawing/2014/main" id="{2C78E918-FED8-48A7-84DD-EAF306D4C872}"/>
                </a:ext>
              </a:extLst>
            </p:cNvPr>
            <p:cNvSpPr/>
            <p:nvPr/>
          </p:nvSpPr>
          <p:spPr>
            <a:xfrm>
              <a:off x="307503" y="2964624"/>
              <a:ext cx="1664782" cy="356739"/>
            </a:xfrm>
            <a:custGeom>
              <a:avLst/>
              <a:gdLst>
                <a:gd name="connsiteX0" fmla="*/ 1664782 w 1664782"/>
                <a:gd name="connsiteY0" fmla="*/ 0 h 356739"/>
                <a:gd name="connsiteX1" fmla="*/ 0 w 1664782"/>
                <a:gd name="connsiteY1" fmla="*/ 0 h 356739"/>
                <a:gd name="connsiteX2" fmla="*/ 0 w 1664782"/>
                <a:gd name="connsiteY2" fmla="*/ 356739 h 356739"/>
                <a:gd name="connsiteX3" fmla="*/ 53306 w 1664782"/>
                <a:gd name="connsiteY3" fmla="*/ 356739 h 356739"/>
                <a:gd name="connsiteX4" fmla="*/ 1496664 w 1664782"/>
                <a:gd name="connsiteY4" fmla="*/ 356739 h 356739"/>
                <a:gd name="connsiteX5" fmla="*/ 1664782 w 1664782"/>
                <a:gd name="connsiteY5" fmla="*/ 0 h 356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64782" h="356739">
                  <a:moveTo>
                    <a:pt x="1664782" y="0"/>
                  </a:moveTo>
                  <a:lnTo>
                    <a:pt x="0" y="0"/>
                  </a:lnTo>
                  <a:lnTo>
                    <a:pt x="0" y="356739"/>
                  </a:lnTo>
                  <a:lnTo>
                    <a:pt x="53306" y="356739"/>
                  </a:lnTo>
                  <a:lnTo>
                    <a:pt x="1496664" y="356739"/>
                  </a:lnTo>
                  <a:lnTo>
                    <a:pt x="1664782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" name="TextBox 7">
              <a:extLst>
                <a:ext uri="{FF2B5EF4-FFF2-40B4-BE49-F238E27FC236}">
                  <a16:creationId xmlns:a16="http://schemas.microsoft.com/office/drawing/2014/main" id="{463FCD50-6E30-425B-A91E-6F498827AF44}"/>
                </a:ext>
              </a:extLst>
            </p:cNvPr>
            <p:cNvSpPr txBox="1"/>
            <p:nvPr/>
          </p:nvSpPr>
          <p:spPr>
            <a:xfrm>
              <a:off x="307503" y="2971760"/>
              <a:ext cx="1102844" cy="343135"/>
            </a:xfrm>
            <a:prstGeom prst="rect">
              <a:avLst/>
            </a:prstGeom>
            <a:noFill/>
          </p:spPr>
          <p:txBody>
            <a:bodyPr wrap="square" lIns="7200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Transportation</a:t>
              </a:r>
            </a:p>
          </p:txBody>
        </p:sp>
      </p:grpSp>
      <p:grpSp>
        <p:nvGrpSpPr>
          <p:cNvPr id="46" name="Group 80">
            <a:extLst>
              <a:ext uri="{FF2B5EF4-FFF2-40B4-BE49-F238E27FC236}">
                <a16:creationId xmlns:a16="http://schemas.microsoft.com/office/drawing/2014/main" id="{58340E3B-8211-4B77-B6BA-26A854A95B65}"/>
              </a:ext>
            </a:extLst>
          </p:cNvPr>
          <p:cNvGrpSpPr/>
          <p:nvPr/>
        </p:nvGrpSpPr>
        <p:grpSpPr>
          <a:xfrm>
            <a:off x="4855594" y="5484044"/>
            <a:ext cx="2035832" cy="398150"/>
            <a:chOff x="307502" y="2964624"/>
            <a:chExt cx="1736829" cy="356739"/>
          </a:xfrm>
        </p:grpSpPr>
        <p:sp>
          <p:nvSpPr>
            <p:cNvPr id="47" name="Rectangle 81">
              <a:extLst>
                <a:ext uri="{FF2B5EF4-FFF2-40B4-BE49-F238E27FC236}">
                  <a16:creationId xmlns:a16="http://schemas.microsoft.com/office/drawing/2014/main" id="{BAC37736-D1DB-4ADA-955F-0878E2800901}"/>
                </a:ext>
              </a:extLst>
            </p:cNvPr>
            <p:cNvSpPr/>
            <p:nvPr/>
          </p:nvSpPr>
          <p:spPr>
            <a:xfrm>
              <a:off x="312801" y="2966159"/>
              <a:ext cx="1731530" cy="355204"/>
            </a:xfrm>
            <a:prstGeom prst="rect">
              <a:avLst/>
            </a:prstGeom>
            <a:solidFill>
              <a:schemeClr val="accent4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8" name="Freeform 82">
              <a:extLst>
                <a:ext uri="{FF2B5EF4-FFF2-40B4-BE49-F238E27FC236}">
                  <a16:creationId xmlns:a16="http://schemas.microsoft.com/office/drawing/2014/main" id="{BB90460E-512A-4275-8901-67FA2B65B62C}"/>
                </a:ext>
              </a:extLst>
            </p:cNvPr>
            <p:cNvSpPr/>
            <p:nvPr/>
          </p:nvSpPr>
          <p:spPr>
            <a:xfrm>
              <a:off x="307503" y="2964624"/>
              <a:ext cx="1664782" cy="356739"/>
            </a:xfrm>
            <a:custGeom>
              <a:avLst/>
              <a:gdLst>
                <a:gd name="connsiteX0" fmla="*/ 1664782 w 1664782"/>
                <a:gd name="connsiteY0" fmla="*/ 0 h 356739"/>
                <a:gd name="connsiteX1" fmla="*/ 0 w 1664782"/>
                <a:gd name="connsiteY1" fmla="*/ 0 h 356739"/>
                <a:gd name="connsiteX2" fmla="*/ 0 w 1664782"/>
                <a:gd name="connsiteY2" fmla="*/ 356739 h 356739"/>
                <a:gd name="connsiteX3" fmla="*/ 53306 w 1664782"/>
                <a:gd name="connsiteY3" fmla="*/ 356739 h 356739"/>
                <a:gd name="connsiteX4" fmla="*/ 1496664 w 1664782"/>
                <a:gd name="connsiteY4" fmla="*/ 356739 h 356739"/>
                <a:gd name="connsiteX5" fmla="*/ 1664782 w 1664782"/>
                <a:gd name="connsiteY5" fmla="*/ 0 h 356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64782" h="356739">
                  <a:moveTo>
                    <a:pt x="1664782" y="0"/>
                  </a:moveTo>
                  <a:lnTo>
                    <a:pt x="0" y="0"/>
                  </a:lnTo>
                  <a:lnTo>
                    <a:pt x="0" y="356739"/>
                  </a:lnTo>
                  <a:lnTo>
                    <a:pt x="53306" y="356739"/>
                  </a:lnTo>
                  <a:lnTo>
                    <a:pt x="1496664" y="356739"/>
                  </a:lnTo>
                  <a:lnTo>
                    <a:pt x="1664782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9" name="TextBox 83">
              <a:extLst>
                <a:ext uri="{FF2B5EF4-FFF2-40B4-BE49-F238E27FC236}">
                  <a16:creationId xmlns:a16="http://schemas.microsoft.com/office/drawing/2014/main" id="{89E0C7E3-6466-43C5-A9DE-49F740361696}"/>
                </a:ext>
              </a:extLst>
            </p:cNvPr>
            <p:cNvSpPr txBox="1"/>
            <p:nvPr/>
          </p:nvSpPr>
          <p:spPr>
            <a:xfrm>
              <a:off x="307502" y="2971760"/>
              <a:ext cx="1415143" cy="343135"/>
            </a:xfrm>
            <a:prstGeom prst="rect">
              <a:avLst/>
            </a:prstGeom>
            <a:noFill/>
          </p:spPr>
          <p:txBody>
            <a:bodyPr wrap="square" lIns="7200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Consumer Electronics</a:t>
              </a:r>
            </a:p>
          </p:txBody>
        </p:sp>
      </p:grpSp>
      <p:grpSp>
        <p:nvGrpSpPr>
          <p:cNvPr id="51" name="Group 96">
            <a:extLst>
              <a:ext uri="{FF2B5EF4-FFF2-40B4-BE49-F238E27FC236}">
                <a16:creationId xmlns:a16="http://schemas.microsoft.com/office/drawing/2014/main" id="{F8CD6C18-851F-4750-B730-72682D208059}"/>
              </a:ext>
            </a:extLst>
          </p:cNvPr>
          <p:cNvGrpSpPr/>
          <p:nvPr/>
        </p:nvGrpSpPr>
        <p:grpSpPr>
          <a:xfrm>
            <a:off x="7126549" y="5470492"/>
            <a:ext cx="2036389" cy="404483"/>
            <a:chOff x="307503" y="2964624"/>
            <a:chExt cx="1736828" cy="356739"/>
          </a:xfrm>
        </p:grpSpPr>
        <p:sp>
          <p:nvSpPr>
            <p:cNvPr id="52" name="Rectangle 97">
              <a:extLst>
                <a:ext uri="{FF2B5EF4-FFF2-40B4-BE49-F238E27FC236}">
                  <a16:creationId xmlns:a16="http://schemas.microsoft.com/office/drawing/2014/main" id="{E0B555F3-CB59-43A4-8379-B7C64744508B}"/>
                </a:ext>
              </a:extLst>
            </p:cNvPr>
            <p:cNvSpPr/>
            <p:nvPr/>
          </p:nvSpPr>
          <p:spPr>
            <a:xfrm>
              <a:off x="312801" y="2966159"/>
              <a:ext cx="1731530" cy="355204"/>
            </a:xfrm>
            <a:prstGeom prst="rect">
              <a:avLst/>
            </a:prstGeom>
            <a:solidFill>
              <a:schemeClr val="accent4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3" name="Freeform 98">
              <a:extLst>
                <a:ext uri="{FF2B5EF4-FFF2-40B4-BE49-F238E27FC236}">
                  <a16:creationId xmlns:a16="http://schemas.microsoft.com/office/drawing/2014/main" id="{AFD952B3-A727-4A9F-93DB-200D57372BC9}"/>
                </a:ext>
              </a:extLst>
            </p:cNvPr>
            <p:cNvSpPr/>
            <p:nvPr/>
          </p:nvSpPr>
          <p:spPr>
            <a:xfrm>
              <a:off x="307503" y="2964624"/>
              <a:ext cx="1664782" cy="356739"/>
            </a:xfrm>
            <a:custGeom>
              <a:avLst/>
              <a:gdLst>
                <a:gd name="connsiteX0" fmla="*/ 1664782 w 1664782"/>
                <a:gd name="connsiteY0" fmla="*/ 0 h 356739"/>
                <a:gd name="connsiteX1" fmla="*/ 0 w 1664782"/>
                <a:gd name="connsiteY1" fmla="*/ 0 h 356739"/>
                <a:gd name="connsiteX2" fmla="*/ 0 w 1664782"/>
                <a:gd name="connsiteY2" fmla="*/ 356739 h 356739"/>
                <a:gd name="connsiteX3" fmla="*/ 53306 w 1664782"/>
                <a:gd name="connsiteY3" fmla="*/ 356739 h 356739"/>
                <a:gd name="connsiteX4" fmla="*/ 1496664 w 1664782"/>
                <a:gd name="connsiteY4" fmla="*/ 356739 h 356739"/>
                <a:gd name="connsiteX5" fmla="*/ 1664782 w 1664782"/>
                <a:gd name="connsiteY5" fmla="*/ 0 h 356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64782" h="356739">
                  <a:moveTo>
                    <a:pt x="1664782" y="0"/>
                  </a:moveTo>
                  <a:lnTo>
                    <a:pt x="0" y="0"/>
                  </a:lnTo>
                  <a:lnTo>
                    <a:pt x="0" y="356739"/>
                  </a:lnTo>
                  <a:lnTo>
                    <a:pt x="53306" y="356739"/>
                  </a:lnTo>
                  <a:lnTo>
                    <a:pt x="1496664" y="356739"/>
                  </a:lnTo>
                  <a:lnTo>
                    <a:pt x="1664782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4" name="TextBox 99">
              <a:extLst>
                <a:ext uri="{FF2B5EF4-FFF2-40B4-BE49-F238E27FC236}">
                  <a16:creationId xmlns:a16="http://schemas.microsoft.com/office/drawing/2014/main" id="{90536EDB-A70E-4CE7-A916-48AC1A5CD13B}"/>
                </a:ext>
              </a:extLst>
            </p:cNvPr>
            <p:cNvSpPr txBox="1"/>
            <p:nvPr/>
          </p:nvSpPr>
          <p:spPr>
            <a:xfrm>
              <a:off x="307503" y="2971760"/>
              <a:ext cx="1496584" cy="343135"/>
            </a:xfrm>
            <a:prstGeom prst="rect">
              <a:avLst/>
            </a:prstGeom>
            <a:noFill/>
          </p:spPr>
          <p:txBody>
            <a:bodyPr wrap="square" lIns="7200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Office Furniture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and Equipment</a:t>
              </a:r>
            </a:p>
          </p:txBody>
        </p:sp>
      </p:grpSp>
      <p:grpSp>
        <p:nvGrpSpPr>
          <p:cNvPr id="60" name="Group 57">
            <a:extLst>
              <a:ext uri="{FF2B5EF4-FFF2-40B4-BE49-F238E27FC236}">
                <a16:creationId xmlns:a16="http://schemas.microsoft.com/office/drawing/2014/main" id="{C6157166-BBA1-41B2-A7F5-42DFA361F039}"/>
              </a:ext>
            </a:extLst>
          </p:cNvPr>
          <p:cNvGrpSpPr/>
          <p:nvPr/>
        </p:nvGrpSpPr>
        <p:grpSpPr>
          <a:xfrm>
            <a:off x="308056" y="5491193"/>
            <a:ext cx="2034189" cy="404483"/>
            <a:chOff x="307502" y="2964624"/>
            <a:chExt cx="1736829" cy="356739"/>
          </a:xfrm>
        </p:grpSpPr>
        <p:sp>
          <p:nvSpPr>
            <p:cNvPr id="61" name="Rectangle 58">
              <a:extLst>
                <a:ext uri="{FF2B5EF4-FFF2-40B4-BE49-F238E27FC236}">
                  <a16:creationId xmlns:a16="http://schemas.microsoft.com/office/drawing/2014/main" id="{BE791F63-F24F-41C4-8671-E647D5EFA92C}"/>
                </a:ext>
              </a:extLst>
            </p:cNvPr>
            <p:cNvSpPr/>
            <p:nvPr/>
          </p:nvSpPr>
          <p:spPr>
            <a:xfrm>
              <a:off x="312801" y="2966159"/>
              <a:ext cx="1731530" cy="355204"/>
            </a:xfrm>
            <a:prstGeom prst="rect">
              <a:avLst/>
            </a:prstGeom>
            <a:solidFill>
              <a:schemeClr val="accent4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2" name="Freeform 59">
              <a:extLst>
                <a:ext uri="{FF2B5EF4-FFF2-40B4-BE49-F238E27FC236}">
                  <a16:creationId xmlns:a16="http://schemas.microsoft.com/office/drawing/2014/main" id="{19815A8C-C2B9-4D7F-9FD3-FF5AE2C5E240}"/>
                </a:ext>
              </a:extLst>
            </p:cNvPr>
            <p:cNvSpPr/>
            <p:nvPr/>
          </p:nvSpPr>
          <p:spPr>
            <a:xfrm>
              <a:off x="307503" y="2964624"/>
              <a:ext cx="1664782" cy="356739"/>
            </a:xfrm>
            <a:custGeom>
              <a:avLst/>
              <a:gdLst>
                <a:gd name="connsiteX0" fmla="*/ 1664782 w 1664782"/>
                <a:gd name="connsiteY0" fmla="*/ 0 h 356739"/>
                <a:gd name="connsiteX1" fmla="*/ 0 w 1664782"/>
                <a:gd name="connsiteY1" fmla="*/ 0 h 356739"/>
                <a:gd name="connsiteX2" fmla="*/ 0 w 1664782"/>
                <a:gd name="connsiteY2" fmla="*/ 356739 h 356739"/>
                <a:gd name="connsiteX3" fmla="*/ 53306 w 1664782"/>
                <a:gd name="connsiteY3" fmla="*/ 356739 h 356739"/>
                <a:gd name="connsiteX4" fmla="*/ 1496664 w 1664782"/>
                <a:gd name="connsiteY4" fmla="*/ 356739 h 356739"/>
                <a:gd name="connsiteX5" fmla="*/ 1664782 w 1664782"/>
                <a:gd name="connsiteY5" fmla="*/ 0 h 356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64782" h="356739">
                  <a:moveTo>
                    <a:pt x="1664782" y="0"/>
                  </a:moveTo>
                  <a:lnTo>
                    <a:pt x="0" y="0"/>
                  </a:lnTo>
                  <a:lnTo>
                    <a:pt x="0" y="356739"/>
                  </a:lnTo>
                  <a:lnTo>
                    <a:pt x="53306" y="356739"/>
                  </a:lnTo>
                  <a:lnTo>
                    <a:pt x="1496664" y="356739"/>
                  </a:lnTo>
                  <a:lnTo>
                    <a:pt x="1664782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3" name="TextBox 60">
              <a:extLst>
                <a:ext uri="{FF2B5EF4-FFF2-40B4-BE49-F238E27FC236}">
                  <a16:creationId xmlns:a16="http://schemas.microsoft.com/office/drawing/2014/main" id="{CAC981B3-9B68-437D-B508-28A01C578C7E}"/>
                </a:ext>
              </a:extLst>
            </p:cNvPr>
            <p:cNvSpPr txBox="1"/>
            <p:nvPr/>
          </p:nvSpPr>
          <p:spPr>
            <a:xfrm>
              <a:off x="307502" y="2971760"/>
              <a:ext cx="1521297" cy="343135"/>
            </a:xfrm>
            <a:prstGeom prst="rect">
              <a:avLst/>
            </a:prstGeom>
            <a:noFill/>
          </p:spPr>
          <p:txBody>
            <a:bodyPr wrap="square" lIns="7200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Heavy Duty Equipment</a:t>
              </a:r>
            </a:p>
          </p:txBody>
        </p:sp>
      </p:grpSp>
      <p:pic>
        <p:nvPicPr>
          <p:cNvPr id="75" name="Picture 6" descr="A screenshot of a cell phone&#10;&#10;Description automatically generated">
            <a:extLst>
              <a:ext uri="{FF2B5EF4-FFF2-40B4-BE49-F238E27FC236}">
                <a16:creationId xmlns:a16="http://schemas.microsoft.com/office/drawing/2014/main" id="{028B0136-DF9E-4549-A716-EE113E5D2860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14043" y="3007820"/>
            <a:ext cx="329240" cy="331780"/>
          </a:xfrm>
          <a:prstGeom prst="ellipse">
            <a:avLst/>
          </a:prstGeom>
        </p:spPr>
      </p:pic>
      <p:pic>
        <p:nvPicPr>
          <p:cNvPr id="76" name="Picture 6" descr="A screenshot of a cell phone&#10;&#10;Description automatically generated">
            <a:extLst>
              <a:ext uri="{FF2B5EF4-FFF2-40B4-BE49-F238E27FC236}">
                <a16:creationId xmlns:a16="http://schemas.microsoft.com/office/drawing/2014/main" id="{65F9D69F-71C1-47B9-B3FB-1DCE7FEF7E9F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86513" y="3007820"/>
            <a:ext cx="329240" cy="331780"/>
          </a:xfrm>
          <a:prstGeom prst="ellipse">
            <a:avLst/>
          </a:prstGeom>
        </p:spPr>
      </p:pic>
      <p:pic>
        <p:nvPicPr>
          <p:cNvPr id="77" name="Picture 6" descr="A screenshot of a cell phone&#10;&#10;Description automatically generated">
            <a:extLst>
              <a:ext uri="{FF2B5EF4-FFF2-40B4-BE49-F238E27FC236}">
                <a16:creationId xmlns:a16="http://schemas.microsoft.com/office/drawing/2014/main" id="{9FF3556C-BEB5-4889-8FED-71E96908EF54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753808" y="3004725"/>
            <a:ext cx="329240" cy="331780"/>
          </a:xfrm>
          <a:prstGeom prst="ellipse">
            <a:avLst/>
          </a:prstGeom>
        </p:spPr>
      </p:pic>
      <p:pic>
        <p:nvPicPr>
          <p:cNvPr id="78" name="Picture 6" descr="A screenshot of a cell phone&#10;&#10;Description automatically generated">
            <a:extLst>
              <a:ext uri="{FF2B5EF4-FFF2-40B4-BE49-F238E27FC236}">
                <a16:creationId xmlns:a16="http://schemas.microsoft.com/office/drawing/2014/main" id="{8748E4AD-70F4-4E4A-AF34-2B1E275104AC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026570" y="3004725"/>
            <a:ext cx="329240" cy="331780"/>
          </a:xfrm>
          <a:prstGeom prst="ellipse">
            <a:avLst/>
          </a:prstGeom>
        </p:spPr>
      </p:pic>
      <p:pic>
        <p:nvPicPr>
          <p:cNvPr id="79" name="Picture 6" descr="A screenshot of a cell phone&#10;&#10;Description automatically generated">
            <a:extLst>
              <a:ext uri="{FF2B5EF4-FFF2-40B4-BE49-F238E27FC236}">
                <a16:creationId xmlns:a16="http://schemas.microsoft.com/office/drawing/2014/main" id="{97A205CA-7451-414D-BE76-2DCE8D4DC39B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48533" y="5521809"/>
            <a:ext cx="329240" cy="331780"/>
          </a:xfrm>
          <a:prstGeom prst="ellipse">
            <a:avLst/>
          </a:prstGeom>
        </p:spPr>
      </p:pic>
      <p:pic>
        <p:nvPicPr>
          <p:cNvPr id="81" name="Picture 6" descr="A screenshot of a cell phone&#10;&#10;Description automatically generated">
            <a:extLst>
              <a:ext uri="{FF2B5EF4-FFF2-40B4-BE49-F238E27FC236}">
                <a16:creationId xmlns:a16="http://schemas.microsoft.com/office/drawing/2014/main" id="{E45AD74B-7DCF-47B2-85FA-D438909C407B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86513" y="5508635"/>
            <a:ext cx="329240" cy="331780"/>
          </a:xfrm>
          <a:prstGeom prst="ellipse">
            <a:avLst/>
          </a:prstGeom>
        </p:spPr>
      </p:pic>
      <p:pic>
        <p:nvPicPr>
          <p:cNvPr id="82" name="Picture 6" descr="A screenshot of a cell phone&#10;&#10;Description automatically generated">
            <a:extLst>
              <a:ext uri="{FF2B5EF4-FFF2-40B4-BE49-F238E27FC236}">
                <a16:creationId xmlns:a16="http://schemas.microsoft.com/office/drawing/2014/main" id="{81C3841D-574F-4708-B30E-4BEA348A58FF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753808" y="5505540"/>
            <a:ext cx="329240" cy="331780"/>
          </a:xfrm>
          <a:prstGeom prst="ellipse">
            <a:avLst/>
          </a:prstGeom>
        </p:spPr>
      </p:pic>
      <p:pic>
        <p:nvPicPr>
          <p:cNvPr id="83" name="Picture 6" descr="A screenshot of a cell phone&#10;&#10;Description automatically generated">
            <a:extLst>
              <a:ext uri="{FF2B5EF4-FFF2-40B4-BE49-F238E27FC236}">
                <a16:creationId xmlns:a16="http://schemas.microsoft.com/office/drawing/2014/main" id="{6F490D5D-91D3-4DD5-97BB-1FC0B574F115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18440" y="5516841"/>
            <a:ext cx="329240" cy="331780"/>
          </a:xfrm>
          <a:prstGeom prst="ellipse">
            <a:avLst/>
          </a:prstGeom>
        </p:spPr>
      </p:pic>
      <p:sp>
        <p:nvSpPr>
          <p:cNvPr id="2" name="Rechteck 1">
            <a:extLst>
              <a:ext uri="{FF2B5EF4-FFF2-40B4-BE49-F238E27FC236}">
                <a16:creationId xmlns:a16="http://schemas.microsoft.com/office/drawing/2014/main" id="{1A15E6F1-34C2-434B-B16B-1F38DE3C1535}"/>
              </a:ext>
            </a:extLst>
          </p:cNvPr>
          <p:cNvSpPr/>
          <p:nvPr/>
        </p:nvSpPr>
        <p:spPr>
          <a:xfrm>
            <a:off x="9762797" y="5451898"/>
            <a:ext cx="161683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B14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rket segments 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B14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B14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ith powder sales</a:t>
            </a:r>
          </a:p>
        </p:txBody>
      </p:sp>
      <p:grpSp>
        <p:nvGrpSpPr>
          <p:cNvPr id="66" name="Group 69">
            <a:extLst>
              <a:ext uri="{FF2B5EF4-FFF2-40B4-BE49-F238E27FC236}">
                <a16:creationId xmlns:a16="http://schemas.microsoft.com/office/drawing/2014/main" id="{0F4C8CB9-0A5C-C947-B2D0-69E450DDE287}"/>
              </a:ext>
            </a:extLst>
          </p:cNvPr>
          <p:cNvGrpSpPr/>
          <p:nvPr/>
        </p:nvGrpSpPr>
        <p:grpSpPr>
          <a:xfrm>
            <a:off x="303475" y="2984472"/>
            <a:ext cx="2035076" cy="397505"/>
            <a:chOff x="307503" y="2964624"/>
            <a:chExt cx="1736828" cy="356739"/>
          </a:xfrm>
        </p:grpSpPr>
        <p:sp>
          <p:nvSpPr>
            <p:cNvPr id="67" name="Rectangle 70">
              <a:extLst>
                <a:ext uri="{FF2B5EF4-FFF2-40B4-BE49-F238E27FC236}">
                  <a16:creationId xmlns:a16="http://schemas.microsoft.com/office/drawing/2014/main" id="{093F70EB-59A3-4149-81AE-DCA68E15F2E6}"/>
                </a:ext>
              </a:extLst>
            </p:cNvPr>
            <p:cNvSpPr/>
            <p:nvPr/>
          </p:nvSpPr>
          <p:spPr>
            <a:xfrm>
              <a:off x="312801" y="2966159"/>
              <a:ext cx="1731530" cy="355204"/>
            </a:xfrm>
            <a:prstGeom prst="rect">
              <a:avLst/>
            </a:prstGeom>
            <a:solidFill>
              <a:schemeClr val="accent4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8" name="Freeform 71">
              <a:extLst>
                <a:ext uri="{FF2B5EF4-FFF2-40B4-BE49-F238E27FC236}">
                  <a16:creationId xmlns:a16="http://schemas.microsoft.com/office/drawing/2014/main" id="{B561EF64-3F5B-E640-9620-6F2D95D77599}"/>
                </a:ext>
              </a:extLst>
            </p:cNvPr>
            <p:cNvSpPr/>
            <p:nvPr/>
          </p:nvSpPr>
          <p:spPr>
            <a:xfrm>
              <a:off x="307503" y="2964624"/>
              <a:ext cx="1664782" cy="356739"/>
            </a:xfrm>
            <a:custGeom>
              <a:avLst/>
              <a:gdLst>
                <a:gd name="connsiteX0" fmla="*/ 1664782 w 1664782"/>
                <a:gd name="connsiteY0" fmla="*/ 0 h 356739"/>
                <a:gd name="connsiteX1" fmla="*/ 0 w 1664782"/>
                <a:gd name="connsiteY1" fmla="*/ 0 h 356739"/>
                <a:gd name="connsiteX2" fmla="*/ 0 w 1664782"/>
                <a:gd name="connsiteY2" fmla="*/ 356739 h 356739"/>
                <a:gd name="connsiteX3" fmla="*/ 53306 w 1664782"/>
                <a:gd name="connsiteY3" fmla="*/ 356739 h 356739"/>
                <a:gd name="connsiteX4" fmla="*/ 1496664 w 1664782"/>
                <a:gd name="connsiteY4" fmla="*/ 356739 h 356739"/>
                <a:gd name="connsiteX5" fmla="*/ 1664782 w 1664782"/>
                <a:gd name="connsiteY5" fmla="*/ 0 h 356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64782" h="356739">
                  <a:moveTo>
                    <a:pt x="1664782" y="0"/>
                  </a:moveTo>
                  <a:lnTo>
                    <a:pt x="0" y="0"/>
                  </a:lnTo>
                  <a:lnTo>
                    <a:pt x="0" y="356739"/>
                  </a:lnTo>
                  <a:lnTo>
                    <a:pt x="53306" y="356739"/>
                  </a:lnTo>
                  <a:lnTo>
                    <a:pt x="1496664" y="356739"/>
                  </a:lnTo>
                  <a:lnTo>
                    <a:pt x="1664782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9" name="TextBox 72">
              <a:extLst>
                <a:ext uri="{FF2B5EF4-FFF2-40B4-BE49-F238E27FC236}">
                  <a16:creationId xmlns:a16="http://schemas.microsoft.com/office/drawing/2014/main" id="{58806C0B-6030-4843-8D67-A64046A7B09B}"/>
                </a:ext>
              </a:extLst>
            </p:cNvPr>
            <p:cNvSpPr txBox="1"/>
            <p:nvPr/>
          </p:nvSpPr>
          <p:spPr>
            <a:xfrm>
              <a:off x="307503" y="2971760"/>
              <a:ext cx="1496584" cy="343135"/>
            </a:xfrm>
            <a:prstGeom prst="rect">
              <a:avLst/>
            </a:prstGeom>
            <a:noFill/>
          </p:spPr>
          <p:txBody>
            <a:bodyPr wrap="square" lIns="72000" tIns="0" rIns="0" bIns="0" rtlCol="0" anchor="ctr">
              <a:noAutofit/>
            </a:bodyPr>
            <a:lstStyle/>
            <a:p>
              <a:pPr lvl="0" defTabSz="914400">
                <a:defRPr/>
              </a:pPr>
              <a:r>
                <a:rPr lang="en-US" sz="1100" dirty="0">
                  <a:solidFill>
                    <a:prstClr val="white"/>
                  </a:solidFill>
                </a:rPr>
                <a:t>Appliance</a:t>
              </a:r>
            </a:p>
          </p:txBody>
        </p:sp>
      </p:grpSp>
      <p:pic>
        <p:nvPicPr>
          <p:cNvPr id="70" name="Picture 6" descr="A screenshot of a cell phone&#10;&#10;Description automatically generated">
            <a:extLst>
              <a:ext uri="{FF2B5EF4-FFF2-40B4-BE49-F238E27FC236}">
                <a16:creationId xmlns:a16="http://schemas.microsoft.com/office/drawing/2014/main" id="{C9A47DD5-CDEC-A54A-8F5D-2FA9219DC61E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39435" y="3008575"/>
            <a:ext cx="329240" cy="331780"/>
          </a:xfrm>
          <a:prstGeom prst="ellipse">
            <a:avLst/>
          </a:prstGeom>
        </p:spPr>
      </p:pic>
      <p:sp>
        <p:nvSpPr>
          <p:cNvPr id="42" name="Rectangle 77">
            <a:extLst>
              <a:ext uri="{FF2B5EF4-FFF2-40B4-BE49-F238E27FC236}">
                <a16:creationId xmlns:a16="http://schemas.microsoft.com/office/drawing/2014/main" id="{4EEF9DBB-15D9-4448-B9CC-915135C6C55F}"/>
              </a:ext>
            </a:extLst>
          </p:cNvPr>
          <p:cNvSpPr/>
          <p:nvPr/>
        </p:nvSpPr>
        <p:spPr>
          <a:xfrm>
            <a:off x="2590101" y="5478583"/>
            <a:ext cx="2024021" cy="411116"/>
          </a:xfrm>
          <a:prstGeom prst="rect">
            <a:avLst/>
          </a:prstGeom>
          <a:solidFill>
            <a:schemeClr val="accent4"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3" name="Freeform 78">
            <a:extLst>
              <a:ext uri="{FF2B5EF4-FFF2-40B4-BE49-F238E27FC236}">
                <a16:creationId xmlns:a16="http://schemas.microsoft.com/office/drawing/2014/main" id="{8D39BF65-CBF6-4745-81E3-9A62474548DE}"/>
              </a:ext>
            </a:extLst>
          </p:cNvPr>
          <p:cNvSpPr/>
          <p:nvPr/>
        </p:nvSpPr>
        <p:spPr>
          <a:xfrm>
            <a:off x="2583908" y="5485757"/>
            <a:ext cx="1945998" cy="403942"/>
          </a:xfrm>
          <a:custGeom>
            <a:avLst/>
            <a:gdLst>
              <a:gd name="connsiteX0" fmla="*/ 1664782 w 1664782"/>
              <a:gd name="connsiteY0" fmla="*/ 0 h 356739"/>
              <a:gd name="connsiteX1" fmla="*/ 0 w 1664782"/>
              <a:gd name="connsiteY1" fmla="*/ 0 h 356739"/>
              <a:gd name="connsiteX2" fmla="*/ 0 w 1664782"/>
              <a:gd name="connsiteY2" fmla="*/ 356739 h 356739"/>
              <a:gd name="connsiteX3" fmla="*/ 53306 w 1664782"/>
              <a:gd name="connsiteY3" fmla="*/ 356739 h 356739"/>
              <a:gd name="connsiteX4" fmla="*/ 1496664 w 1664782"/>
              <a:gd name="connsiteY4" fmla="*/ 356739 h 356739"/>
              <a:gd name="connsiteX5" fmla="*/ 1664782 w 1664782"/>
              <a:gd name="connsiteY5" fmla="*/ 0 h 3567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664782" h="356739">
                <a:moveTo>
                  <a:pt x="1664782" y="0"/>
                </a:moveTo>
                <a:lnTo>
                  <a:pt x="0" y="0"/>
                </a:lnTo>
                <a:lnTo>
                  <a:pt x="0" y="356739"/>
                </a:lnTo>
                <a:lnTo>
                  <a:pt x="53306" y="356739"/>
                </a:lnTo>
                <a:lnTo>
                  <a:pt x="1496664" y="356739"/>
                </a:lnTo>
                <a:lnTo>
                  <a:pt x="1664782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4" name="TextBox 79">
            <a:extLst>
              <a:ext uri="{FF2B5EF4-FFF2-40B4-BE49-F238E27FC236}">
                <a16:creationId xmlns:a16="http://schemas.microsoft.com/office/drawing/2014/main" id="{CCF737ED-E793-438D-931E-16581DF599C2}"/>
              </a:ext>
            </a:extLst>
          </p:cNvPr>
          <p:cNvSpPr txBox="1"/>
          <p:nvPr/>
        </p:nvSpPr>
        <p:spPr>
          <a:xfrm>
            <a:off x="2583907" y="5484043"/>
            <a:ext cx="1767587" cy="398151"/>
          </a:xfrm>
          <a:prstGeom prst="rect">
            <a:avLst/>
          </a:prstGeom>
          <a:noFill/>
        </p:spPr>
        <p:txBody>
          <a:bodyPr wrap="square" lIns="7200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terior Building </a:t>
            </a:r>
            <a:b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ducts</a:t>
            </a:r>
          </a:p>
        </p:txBody>
      </p:sp>
      <p:pic>
        <p:nvPicPr>
          <p:cNvPr id="80" name="Picture 6" descr="A screenshot of a cell phone&#10;&#10;Description automatically generated">
            <a:extLst>
              <a:ext uri="{FF2B5EF4-FFF2-40B4-BE49-F238E27FC236}">
                <a16:creationId xmlns:a16="http://schemas.microsoft.com/office/drawing/2014/main" id="{582D169B-2296-419C-922A-A1E00F6E19AE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14043" y="5508635"/>
            <a:ext cx="329240" cy="33178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85683054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5849471" y="1463040"/>
            <a:ext cx="6348645" cy="4155440"/>
          </a:xfrm>
          <a:prstGeom prst="rect">
            <a:avLst/>
          </a:prstGeom>
        </p:spPr>
      </p:pic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Powder </a:t>
            </a:r>
            <a:r>
              <a:rPr lang="de-DE" dirty="0"/>
              <a:t>C</a:t>
            </a:r>
            <a:r>
              <a:rPr lang="pl-PL" dirty="0"/>
              <a:t>oatings from PPG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312882" y="5857789"/>
            <a:ext cx="337421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* Non intentionally added</a:t>
            </a:r>
            <a:endParaRPr lang="pl-PL" sz="1000" dirty="0"/>
          </a:p>
        </p:txBody>
      </p:sp>
      <p:sp>
        <p:nvSpPr>
          <p:cNvPr id="19" name="Slide Number Placeholder 2">
            <a:extLst>
              <a:ext uri="{FF2B5EF4-FFF2-40B4-BE49-F238E27FC236}">
                <a16:creationId xmlns:a16="http://schemas.microsoft.com/office/drawing/2014/main" id="{CE03F8AA-E6E9-9048-8642-C1D07C62D31A}"/>
              </a:ext>
            </a:extLst>
          </p:cNvPr>
          <p:cNvSpPr txBox="1">
            <a:spLocks/>
          </p:cNvSpPr>
          <p:nvPr/>
        </p:nvSpPr>
        <p:spPr>
          <a:xfrm>
            <a:off x="308056" y="6496407"/>
            <a:ext cx="455756" cy="17222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chemeClr val="tx2"/>
                </a:solidFill>
                <a:latin typeface="+mn-lt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666666"/>
                </a:solidFill>
                <a:latin typeface="Arial" panose="020B0604020202020204"/>
              </a:rPr>
              <a:t>10</a:t>
            </a:r>
          </a:p>
        </p:txBody>
      </p:sp>
      <p:sp>
        <p:nvSpPr>
          <p:cNvPr id="20" name="Footer Placeholder 1">
            <a:extLst>
              <a:ext uri="{FF2B5EF4-FFF2-40B4-BE49-F238E27FC236}">
                <a16:creationId xmlns:a16="http://schemas.microsoft.com/office/drawing/2014/main" id="{3FE60FDD-BDD4-8B4E-8CED-0881FD9A2416}"/>
              </a:ext>
            </a:extLst>
          </p:cNvPr>
          <p:cNvSpPr txBox="1">
            <a:spLocks/>
          </p:cNvSpPr>
          <p:nvPr/>
        </p:nvSpPr>
        <p:spPr>
          <a:xfrm>
            <a:off x="763811" y="6496407"/>
            <a:ext cx="9460550" cy="17222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chemeClr val="tx2"/>
                </a:solidFill>
                <a:latin typeface="+mn-lt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666666"/>
                </a:solidFill>
                <a:latin typeface="Arial" panose="020B0604020202020204"/>
              </a:rPr>
              <a:t>Powder Coatings from PPG ©2023 PPG Industries, Inc. All rights reserved</a:t>
            </a:r>
          </a:p>
        </p:txBody>
      </p:sp>
      <p:sp>
        <p:nvSpPr>
          <p:cNvPr id="26" name="Freeform 25">
            <a:extLst>
              <a:ext uri="{FF2B5EF4-FFF2-40B4-BE49-F238E27FC236}">
                <a16:creationId xmlns:a16="http://schemas.microsoft.com/office/drawing/2014/main" id="{D34AB371-788C-AF43-90C3-4F2705CCC85D}"/>
              </a:ext>
            </a:extLst>
          </p:cNvPr>
          <p:cNvSpPr/>
          <p:nvPr/>
        </p:nvSpPr>
        <p:spPr>
          <a:xfrm>
            <a:off x="-20320" y="1463040"/>
            <a:ext cx="8046720" cy="4155440"/>
          </a:xfrm>
          <a:custGeom>
            <a:avLst/>
            <a:gdLst>
              <a:gd name="connsiteX0" fmla="*/ 8046720 w 8046720"/>
              <a:gd name="connsiteY0" fmla="*/ 0 h 4155440"/>
              <a:gd name="connsiteX1" fmla="*/ 0 w 8046720"/>
              <a:gd name="connsiteY1" fmla="*/ 0 h 4155440"/>
              <a:gd name="connsiteX2" fmla="*/ 0 w 8046720"/>
              <a:gd name="connsiteY2" fmla="*/ 243840 h 4155440"/>
              <a:gd name="connsiteX3" fmla="*/ 0 w 8046720"/>
              <a:gd name="connsiteY3" fmla="*/ 4155440 h 4155440"/>
              <a:gd name="connsiteX4" fmla="*/ 193040 w 8046720"/>
              <a:gd name="connsiteY4" fmla="*/ 4155440 h 4155440"/>
              <a:gd name="connsiteX5" fmla="*/ 5933440 w 8046720"/>
              <a:gd name="connsiteY5" fmla="*/ 4155440 h 4155440"/>
              <a:gd name="connsiteX6" fmla="*/ 8046720 w 8046720"/>
              <a:gd name="connsiteY6" fmla="*/ 0 h 41554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046720" h="4155440">
                <a:moveTo>
                  <a:pt x="8046720" y="0"/>
                </a:moveTo>
                <a:lnTo>
                  <a:pt x="0" y="0"/>
                </a:lnTo>
                <a:lnTo>
                  <a:pt x="0" y="243840"/>
                </a:lnTo>
                <a:lnTo>
                  <a:pt x="0" y="4155440"/>
                </a:lnTo>
                <a:lnTo>
                  <a:pt x="193040" y="4155440"/>
                </a:lnTo>
                <a:lnTo>
                  <a:pt x="5933440" y="4155440"/>
                </a:lnTo>
                <a:lnTo>
                  <a:pt x="8046720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10C610A-9A6C-9C4D-B1AE-F8C8E22CA6C6}"/>
              </a:ext>
            </a:extLst>
          </p:cNvPr>
          <p:cNvSpPr txBox="1"/>
          <p:nvPr/>
        </p:nvSpPr>
        <p:spPr>
          <a:xfrm>
            <a:off x="296769" y="1685109"/>
            <a:ext cx="5799231" cy="3709851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lIns="0" tIns="0" rIns="0" bIns="0" rtlCol="0" anchor="t">
            <a:noAutofit/>
          </a:bodyPr>
          <a:lstStyle/>
          <a:p>
            <a:pPr>
              <a:spcBef>
                <a:spcPts val="0"/>
              </a:spcBef>
              <a:spcAft>
                <a:spcPts val="900"/>
              </a:spcAft>
            </a:pPr>
            <a:r>
              <a:rPr lang="en-US" sz="1600" b="1" dirty="0">
                <a:solidFill>
                  <a:schemeClr val="bg2"/>
                </a:solidFill>
              </a:rPr>
              <a:t>The PPG Benefit:</a:t>
            </a:r>
            <a:endParaRPr lang="en-US" sz="1600" dirty="0">
              <a:solidFill>
                <a:schemeClr val="bg2"/>
              </a:solidFill>
            </a:endParaRPr>
          </a:p>
          <a:p>
            <a:pPr marL="185738" indent="-185738"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2"/>
                </a:solidFill>
              </a:rPr>
              <a:t>Global capability</a:t>
            </a:r>
          </a:p>
          <a:p>
            <a:pPr marL="185738" indent="-185738"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2"/>
                </a:solidFill>
              </a:rPr>
              <a:t>Increased speed and convenience with color matching</a:t>
            </a:r>
          </a:p>
          <a:p>
            <a:pPr marL="185738" indent="-185738"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2"/>
                </a:solidFill>
              </a:rPr>
              <a:t>Advanced styling and color trend consultation</a:t>
            </a:r>
          </a:p>
          <a:p>
            <a:pPr marL="185738" indent="-185738"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2"/>
                </a:solidFill>
              </a:rPr>
              <a:t>Available in a wide variety of colors, glosses and finishes</a:t>
            </a:r>
          </a:p>
          <a:p>
            <a:pPr marL="185738" indent="-185738"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2"/>
                </a:solidFill>
              </a:rPr>
              <a:t>Reduced energy costs, TGIC NIA*, BPA NIA*</a:t>
            </a:r>
          </a:p>
          <a:p>
            <a:pPr marL="185738" indent="-185738"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2"/>
                </a:solidFill>
              </a:rPr>
              <a:t>Reclaimable</a:t>
            </a:r>
          </a:p>
          <a:p>
            <a:pPr marL="185738" indent="-185738"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2"/>
                </a:solidFill>
              </a:rPr>
              <a:t>Extreme performance protection against weathering, chip and scratch, and high temperatures</a:t>
            </a:r>
          </a:p>
          <a:p>
            <a:pPr marL="185738" indent="-185738"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2"/>
                </a:solidFill>
              </a:rPr>
              <a:t>Wide variety of specialty coatings: low-cure, high-transfer efficiency, high-edge, dielectric powder and ultradurable</a:t>
            </a:r>
          </a:p>
          <a:p>
            <a:pPr marL="185738" indent="-185738"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bg2"/>
              </a:solidFill>
            </a:endParaRPr>
          </a:p>
          <a:p>
            <a:pPr>
              <a:spcBef>
                <a:spcPts val="0"/>
              </a:spcBef>
              <a:spcAft>
                <a:spcPts val="900"/>
              </a:spcAft>
            </a:pPr>
            <a:endParaRPr lang="en-US" sz="1600" dirty="0">
              <a:solidFill>
                <a:schemeClr val="bg2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73511" y="3227294"/>
            <a:ext cx="1510155" cy="2167666"/>
          </a:xfrm>
          <a:prstGeom prst="rect">
            <a:avLst/>
          </a:prstGeom>
          <a:ln w="12700">
            <a:solidFill>
              <a:schemeClr val="bg2"/>
            </a:solidFill>
          </a:ln>
        </p:spPr>
      </p:pic>
    </p:spTree>
    <p:extLst>
      <p:ext uri="{BB962C8B-B14F-4D97-AF65-F5344CB8AC3E}">
        <p14:creationId xmlns:p14="http://schemas.microsoft.com/office/powerpoint/2010/main" val="122861340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Title 3">
            <a:extLst>
              <a:ext uri="{FF2B5EF4-FFF2-40B4-BE49-F238E27FC236}">
                <a16:creationId xmlns:a16="http://schemas.microsoft.com/office/drawing/2014/main" id="{217506A0-5E79-4AC6-8CB2-EB45282E2201}"/>
              </a:ext>
            </a:extLst>
          </p:cNvPr>
          <p:cNvSpPr txBox="1">
            <a:spLocks/>
          </p:cNvSpPr>
          <p:nvPr/>
        </p:nvSpPr>
        <p:spPr>
          <a:xfrm>
            <a:off x="312883" y="323849"/>
            <a:ext cx="11670783" cy="859536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Arial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j-ea"/>
                <a:cs typeface="Arial"/>
              </a:rPr>
              <a:t>Product portfolio covering key market requirements</a:t>
            </a:r>
            <a:endParaRPr kumimoji="0" lang="pl-PL" sz="2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j-ea"/>
              <a:cs typeface="Arial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05EE0E9-FA92-425A-8FFF-6C4770C7328A}"/>
              </a:ext>
            </a:extLst>
          </p:cNvPr>
          <p:cNvSpPr/>
          <p:nvPr/>
        </p:nvSpPr>
        <p:spPr>
          <a:xfrm>
            <a:off x="308056" y="1183385"/>
            <a:ext cx="1260000" cy="344475"/>
          </a:xfrm>
          <a:prstGeom prst="rect">
            <a:avLst/>
          </a:prstGeom>
          <a:solidFill>
            <a:schemeClr val="accent1"/>
          </a:solidFill>
          <a:ln>
            <a:solidFill>
              <a:srgbClr val="0078A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hemistry</a:t>
            </a: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4B3F7AD8-7A19-42BF-B826-F5F8820E551E}"/>
              </a:ext>
            </a:extLst>
          </p:cNvPr>
          <p:cNvSpPr/>
          <p:nvPr/>
        </p:nvSpPr>
        <p:spPr>
          <a:xfrm>
            <a:off x="1612415" y="1183383"/>
            <a:ext cx="1260000" cy="344475"/>
          </a:xfrm>
          <a:prstGeom prst="rect">
            <a:avLst/>
          </a:prstGeom>
          <a:solidFill>
            <a:schemeClr val="accent1"/>
          </a:solidFill>
          <a:ln>
            <a:solidFill>
              <a:srgbClr val="0078A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PG Series</a:t>
            </a: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AEBF6C57-92D3-4F2B-8D2F-658AABBA0FA5}"/>
              </a:ext>
            </a:extLst>
          </p:cNvPr>
          <p:cNvSpPr/>
          <p:nvPr/>
        </p:nvSpPr>
        <p:spPr>
          <a:xfrm>
            <a:off x="2923521" y="1183383"/>
            <a:ext cx="1437665" cy="344475"/>
          </a:xfrm>
          <a:prstGeom prst="rect">
            <a:avLst/>
          </a:prstGeom>
          <a:solidFill>
            <a:schemeClr val="accent1"/>
          </a:solidFill>
          <a:ln>
            <a:solidFill>
              <a:srgbClr val="0078A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oerwag Series</a:t>
            </a: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AA576236-2494-4A9C-97ED-803525B69CBB}"/>
              </a:ext>
            </a:extLst>
          </p:cNvPr>
          <p:cNvSpPr/>
          <p:nvPr/>
        </p:nvSpPr>
        <p:spPr>
          <a:xfrm>
            <a:off x="4412290" y="1183383"/>
            <a:ext cx="3418526" cy="344475"/>
          </a:xfrm>
          <a:prstGeom prst="rect">
            <a:avLst/>
          </a:prstGeom>
          <a:solidFill>
            <a:schemeClr val="accent1"/>
          </a:solidFill>
          <a:ln>
            <a:solidFill>
              <a:srgbClr val="0078A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pplication Areas</a:t>
            </a: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FB4B4213-90E2-452D-B95D-07AC785C8AFD}"/>
              </a:ext>
            </a:extLst>
          </p:cNvPr>
          <p:cNvSpPr/>
          <p:nvPr/>
        </p:nvSpPr>
        <p:spPr>
          <a:xfrm>
            <a:off x="7879176" y="1183383"/>
            <a:ext cx="1980000" cy="344475"/>
          </a:xfrm>
          <a:prstGeom prst="rect">
            <a:avLst/>
          </a:prstGeom>
          <a:solidFill>
            <a:schemeClr val="accent1"/>
          </a:solidFill>
          <a:ln>
            <a:solidFill>
              <a:srgbClr val="0078A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enefits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5D9A0393-87C6-4F55-9108-69C3E7C0185B}"/>
              </a:ext>
            </a:extLst>
          </p:cNvPr>
          <p:cNvSpPr/>
          <p:nvPr/>
        </p:nvSpPr>
        <p:spPr>
          <a:xfrm>
            <a:off x="9907537" y="1183383"/>
            <a:ext cx="2022708" cy="344475"/>
          </a:xfrm>
          <a:prstGeom prst="rect">
            <a:avLst/>
          </a:prstGeom>
          <a:solidFill>
            <a:schemeClr val="accent1"/>
          </a:solidFill>
          <a:ln>
            <a:solidFill>
              <a:srgbClr val="0078A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pecial Features</a:t>
            </a: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E127AB2B-E1C0-456D-966D-39AB16A1D1AE}"/>
              </a:ext>
            </a:extLst>
          </p:cNvPr>
          <p:cNvSpPr/>
          <p:nvPr/>
        </p:nvSpPr>
        <p:spPr>
          <a:xfrm>
            <a:off x="308056" y="1565593"/>
            <a:ext cx="1260000" cy="72000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poxy</a:t>
            </a: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B9EAC9AA-2773-4721-9144-0CC0F7E7FB46}"/>
              </a:ext>
            </a:extLst>
          </p:cNvPr>
          <p:cNvSpPr/>
          <p:nvPr/>
        </p:nvSpPr>
        <p:spPr>
          <a:xfrm>
            <a:off x="1612415" y="1565591"/>
            <a:ext cx="1260000" cy="720000"/>
          </a:xfrm>
          <a:prstGeom prst="rect">
            <a:avLst/>
          </a:prstGeom>
          <a:solidFill>
            <a:schemeClr val="accent2">
              <a:alpha val="10038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NVIROCRON</a:t>
            </a:r>
            <a:r>
              <a:rPr kumimoji="0" lang="en-GB" sz="10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®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CM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5 Series</a:t>
            </a: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73E828F3-A639-445E-BDAB-40FD1B300883}"/>
              </a:ext>
            </a:extLst>
          </p:cNvPr>
          <p:cNvSpPr/>
          <p:nvPr/>
        </p:nvSpPr>
        <p:spPr>
          <a:xfrm>
            <a:off x="2923521" y="1565591"/>
            <a:ext cx="1437665" cy="720000"/>
          </a:xfrm>
          <a:prstGeom prst="rect">
            <a:avLst/>
          </a:prstGeom>
          <a:solidFill>
            <a:schemeClr val="accent2">
              <a:alpha val="10038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motiq / Industriq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800, W803,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804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F9A61D3C-D291-49AE-A012-CFCA9A4AE772}"/>
              </a:ext>
            </a:extLst>
          </p:cNvPr>
          <p:cNvSpPr/>
          <p:nvPr/>
        </p:nvSpPr>
        <p:spPr>
          <a:xfrm>
            <a:off x="4412292" y="1565591"/>
            <a:ext cx="3418524" cy="720000"/>
          </a:xfrm>
          <a:prstGeom prst="rect">
            <a:avLst/>
          </a:prstGeom>
          <a:solidFill>
            <a:schemeClr val="accent2">
              <a:alpha val="10038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tection of interior parts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anks, pipelines, structural  steelwork, trucks, trailers &amp; car parts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imer usage against corrosion</a:t>
            </a: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C52590DE-3E04-406E-8667-DE260EBFAF77}"/>
              </a:ext>
            </a:extLst>
          </p:cNvPr>
          <p:cNvSpPr/>
          <p:nvPr/>
        </p:nvSpPr>
        <p:spPr>
          <a:xfrm>
            <a:off x="7879176" y="1565591"/>
            <a:ext cx="1980000" cy="720000"/>
          </a:xfrm>
          <a:prstGeom prst="rect">
            <a:avLst/>
          </a:prstGeom>
          <a:solidFill>
            <a:schemeClr val="accent2">
              <a:alpha val="10038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hemical resistanc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rrosion resistance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C97841D8-59E9-4E62-82DD-250E6255B4FF}"/>
              </a:ext>
            </a:extLst>
          </p:cNvPr>
          <p:cNvSpPr/>
          <p:nvPr/>
        </p:nvSpPr>
        <p:spPr>
          <a:xfrm>
            <a:off x="9907537" y="1565591"/>
            <a:ext cx="2022708" cy="720000"/>
          </a:xfrm>
          <a:prstGeom prst="rect">
            <a:avLst/>
          </a:prstGeom>
          <a:solidFill>
            <a:schemeClr val="accent2">
              <a:alpha val="10038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ow bake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B077A337-F2BD-4EB5-8D05-84130572BDE7}"/>
              </a:ext>
            </a:extLst>
          </p:cNvPr>
          <p:cNvSpPr/>
          <p:nvPr/>
        </p:nvSpPr>
        <p:spPr>
          <a:xfrm>
            <a:off x="308056" y="2330512"/>
            <a:ext cx="1260000" cy="72000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poxy-Polyester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4A5299BC-587A-442C-A152-EF7A3D7103D7}"/>
              </a:ext>
            </a:extLst>
          </p:cNvPr>
          <p:cNvSpPr/>
          <p:nvPr/>
        </p:nvSpPr>
        <p:spPr>
          <a:xfrm>
            <a:off x="1612415" y="2330510"/>
            <a:ext cx="1260000" cy="720000"/>
          </a:xfrm>
          <a:prstGeom prst="rect">
            <a:avLst/>
          </a:prstGeom>
          <a:solidFill>
            <a:schemeClr val="accent6">
              <a:alpha val="9824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NVIROCRON 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CF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8 Series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75D333DF-54E1-43C7-AF5A-56B885317098}"/>
              </a:ext>
            </a:extLst>
          </p:cNvPr>
          <p:cNvSpPr/>
          <p:nvPr/>
        </p:nvSpPr>
        <p:spPr>
          <a:xfrm>
            <a:off x="2923521" y="2330510"/>
            <a:ext cx="1437665" cy="720000"/>
          </a:xfrm>
          <a:prstGeom prst="rect">
            <a:avLst/>
          </a:prstGeom>
          <a:solidFill>
            <a:schemeClr val="accent6">
              <a:alpha val="9824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motiq / Industriq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806-08, W815, W817-18,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822, W825-28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87C5ABCC-F687-49B9-8590-A1E253D4A8AC}"/>
              </a:ext>
            </a:extLst>
          </p:cNvPr>
          <p:cNvSpPr/>
          <p:nvPr/>
        </p:nvSpPr>
        <p:spPr>
          <a:xfrm>
            <a:off x="4412292" y="2330510"/>
            <a:ext cx="3418524" cy="720000"/>
          </a:xfrm>
          <a:prstGeom prst="rect">
            <a:avLst/>
          </a:prstGeom>
          <a:solidFill>
            <a:schemeClr val="accent6">
              <a:alpha val="9824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mestic &amp; industrial appliance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door application e.g. shelving, office furniture,  partitioning, white good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tection &amp; decoration of interior parts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792522B3-C674-4523-814B-14F13B347F96}"/>
              </a:ext>
            </a:extLst>
          </p:cNvPr>
          <p:cNvSpPr/>
          <p:nvPr/>
        </p:nvSpPr>
        <p:spPr>
          <a:xfrm>
            <a:off x="7879176" y="2330510"/>
            <a:ext cx="1980000" cy="720000"/>
          </a:xfrm>
          <a:prstGeom prst="rect">
            <a:avLst/>
          </a:prstGeom>
          <a:solidFill>
            <a:schemeClr val="accent6">
              <a:alpha val="9824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ood compromise for decorative parts with  optimized price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D62FD168-935A-455C-BDC9-2DB60CDAE950}"/>
              </a:ext>
            </a:extLst>
          </p:cNvPr>
          <p:cNvSpPr/>
          <p:nvPr/>
        </p:nvSpPr>
        <p:spPr>
          <a:xfrm>
            <a:off x="9907537" y="2330510"/>
            <a:ext cx="2022708" cy="720000"/>
          </a:xfrm>
          <a:prstGeom prst="rect">
            <a:avLst/>
          </a:prstGeom>
          <a:solidFill>
            <a:schemeClr val="accent6">
              <a:alpha val="9824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2563" marR="0" lvl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ow Bake</a:t>
            </a:r>
          </a:p>
          <a:p>
            <a:pPr marL="182563" marR="0" lvl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in Film</a:t>
            </a:r>
          </a:p>
          <a:p>
            <a:pPr marL="182563" marR="0" lvl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ti-Graffiti</a:t>
            </a:r>
          </a:p>
          <a:p>
            <a:pPr marL="182563" marR="0" lvl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brasion </a:t>
            </a: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E19E24BD-3237-4C34-BFB8-217B192A7863}"/>
              </a:ext>
            </a:extLst>
          </p:cNvPr>
          <p:cNvSpPr/>
          <p:nvPr/>
        </p:nvSpPr>
        <p:spPr>
          <a:xfrm>
            <a:off x="308056" y="3095430"/>
            <a:ext cx="1260000" cy="720000"/>
          </a:xfrm>
          <a:prstGeom prst="rect">
            <a:avLst/>
          </a:prstGeom>
          <a:solidFill>
            <a:schemeClr val="accent5"/>
          </a:solidFill>
          <a:ln>
            <a:solidFill>
              <a:schemeClr val="accent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lyester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1D4FAE4C-15DA-4575-A3CD-865AFE1CE9D9}"/>
              </a:ext>
            </a:extLst>
          </p:cNvPr>
          <p:cNvSpPr/>
          <p:nvPr/>
        </p:nvSpPr>
        <p:spPr>
          <a:xfrm>
            <a:off x="1612415" y="3095428"/>
            <a:ext cx="1260000" cy="720000"/>
          </a:xfrm>
          <a:prstGeom prst="rect">
            <a:avLst/>
          </a:prstGeom>
          <a:solidFill>
            <a:schemeClr val="accent5">
              <a:alpha val="9633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NVIROCRON 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C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4 &amp; P7 Series</a:t>
            </a: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B0E3DAF6-746C-4C72-8EEF-E605F8DAD60B}"/>
              </a:ext>
            </a:extLst>
          </p:cNvPr>
          <p:cNvSpPr/>
          <p:nvPr/>
        </p:nvSpPr>
        <p:spPr>
          <a:xfrm>
            <a:off x="2923521" y="3095428"/>
            <a:ext cx="1437665" cy="720000"/>
          </a:xfrm>
          <a:prstGeom prst="rect">
            <a:avLst/>
          </a:prstGeom>
          <a:solidFill>
            <a:schemeClr val="accent5">
              <a:alpha val="9633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motiq / Industriq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889, W890,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892, W895,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898(H)</a:t>
            </a: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A6943B27-123D-4073-A735-D67C90C83CC4}"/>
              </a:ext>
            </a:extLst>
          </p:cNvPr>
          <p:cNvSpPr/>
          <p:nvPr/>
        </p:nvSpPr>
        <p:spPr>
          <a:xfrm>
            <a:off x="4412292" y="3095428"/>
            <a:ext cx="3418524" cy="720000"/>
          </a:xfrm>
          <a:prstGeom prst="rect">
            <a:avLst/>
          </a:prstGeom>
          <a:solidFill>
            <a:schemeClr val="accent5">
              <a:alpha val="9633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rban furniture, s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eel or galvanized steel for cladding, 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luminum profiles and sheet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erandas, doors, window frames, facade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000" dirty="0">
                <a:solidFill>
                  <a:prstClr val="black"/>
                </a:solidFill>
                <a:latin typeface="Arial" panose="020B0604020202020204"/>
              </a:rPr>
              <a:t>Industrial outdoor application, e.g. HDE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2B4CD419-7721-4A50-B984-3FAAB8B90C1E}"/>
              </a:ext>
            </a:extLst>
          </p:cNvPr>
          <p:cNvSpPr/>
          <p:nvPr/>
        </p:nvSpPr>
        <p:spPr>
          <a:xfrm>
            <a:off x="7879176" y="3095428"/>
            <a:ext cx="1980000" cy="720000"/>
          </a:xfrm>
          <a:prstGeom prst="rect">
            <a:avLst/>
          </a:prstGeom>
          <a:solidFill>
            <a:schemeClr val="accent5">
              <a:alpha val="9633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utdoor use with enhanced UV resistanc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Qualicoat and GSB approved (P4 Series)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BF764244-9EBF-40BD-A284-E87F7159FBA0}"/>
              </a:ext>
            </a:extLst>
          </p:cNvPr>
          <p:cNvSpPr/>
          <p:nvPr/>
        </p:nvSpPr>
        <p:spPr>
          <a:xfrm>
            <a:off x="9907537" y="3095428"/>
            <a:ext cx="2022708" cy="720000"/>
          </a:xfrm>
          <a:prstGeom prst="rect">
            <a:avLst/>
          </a:prstGeom>
          <a:solidFill>
            <a:schemeClr val="accent5">
              <a:alpha val="9633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ast cure / low bak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igh edg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in layer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0ED76D26-727A-4B8B-B8F4-B503FA1990B6}"/>
              </a:ext>
            </a:extLst>
          </p:cNvPr>
          <p:cNvSpPr/>
          <p:nvPr/>
        </p:nvSpPr>
        <p:spPr>
          <a:xfrm>
            <a:off x="308056" y="3860347"/>
            <a:ext cx="1260000" cy="900000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lyester Superdurable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6F8392F7-2CFC-4FC1-B8A2-4BBAC853F29C}"/>
              </a:ext>
            </a:extLst>
          </p:cNvPr>
          <p:cNvSpPr/>
          <p:nvPr/>
        </p:nvSpPr>
        <p:spPr>
          <a:xfrm>
            <a:off x="1612415" y="3860345"/>
            <a:ext cx="1260000" cy="900000"/>
          </a:xfrm>
          <a:prstGeom prst="rect">
            <a:avLst/>
          </a:prstGeom>
          <a:solidFill>
            <a:schemeClr val="accent4">
              <a:alpha val="10183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NVIROCRON 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C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1 &amp; P2 Series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6D8D81C5-3300-4B86-B100-FAD15FBB3DC4}"/>
              </a:ext>
            </a:extLst>
          </p:cNvPr>
          <p:cNvSpPr/>
          <p:nvPr/>
        </p:nvSpPr>
        <p:spPr>
          <a:xfrm>
            <a:off x="2923521" y="3860345"/>
            <a:ext cx="1437665" cy="900000"/>
          </a:xfrm>
          <a:prstGeom prst="rect">
            <a:avLst/>
          </a:prstGeom>
          <a:solidFill>
            <a:schemeClr val="accent4">
              <a:alpha val="10183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motiq / Industriq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880, W883,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885, W888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C5C75AD4-8DB9-4927-B635-B168D06DF2F4}"/>
              </a:ext>
            </a:extLst>
          </p:cNvPr>
          <p:cNvSpPr/>
          <p:nvPr/>
        </p:nvSpPr>
        <p:spPr>
          <a:xfrm>
            <a:off x="4412292" y="3860345"/>
            <a:ext cx="3418524" cy="900000"/>
          </a:xfrm>
          <a:prstGeom prst="rect">
            <a:avLst/>
          </a:prstGeom>
          <a:solidFill>
            <a:schemeClr val="accent4">
              <a:alpha val="10183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anks, pipelines, structural steelwork, trucks, trailers &amp; car part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ighting equipment and constructio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dustrial outdoor application e.g. agricultural  machinery, garden furniture, fencing, electrical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ACE0635E-0667-460C-8F05-C2B14174B000}"/>
              </a:ext>
            </a:extLst>
          </p:cNvPr>
          <p:cNvSpPr/>
          <p:nvPr/>
        </p:nvSpPr>
        <p:spPr>
          <a:xfrm>
            <a:off x="7879176" y="3860345"/>
            <a:ext cx="1980000" cy="900000"/>
          </a:xfrm>
          <a:prstGeom prst="rect">
            <a:avLst/>
          </a:prstGeom>
          <a:solidFill>
            <a:schemeClr val="accent4">
              <a:alpha val="10183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utdoor use with excellent ultradurable performance</a:t>
            </a: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002B3DB0-5322-4E40-BE4E-51B0D012833E}"/>
              </a:ext>
            </a:extLst>
          </p:cNvPr>
          <p:cNvSpPr/>
          <p:nvPr/>
        </p:nvSpPr>
        <p:spPr>
          <a:xfrm>
            <a:off x="9907537" y="3860345"/>
            <a:ext cx="2022708" cy="900000"/>
          </a:xfrm>
          <a:prstGeom prst="rect">
            <a:avLst/>
          </a:prstGeom>
          <a:solidFill>
            <a:schemeClr val="accent4">
              <a:alpha val="10183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ast cure / low bal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igh edg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in lay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EE969B97-9439-4B97-A64B-7A0801D6504D}"/>
              </a:ext>
            </a:extLst>
          </p:cNvPr>
          <p:cNvSpPr/>
          <p:nvPr/>
        </p:nvSpPr>
        <p:spPr>
          <a:xfrm>
            <a:off x="308056" y="4805264"/>
            <a:ext cx="1260000" cy="558331"/>
          </a:xfrm>
          <a:prstGeom prst="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crylic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D3F2DDD0-82B8-463E-84C0-0147C4CFC46B}"/>
              </a:ext>
            </a:extLst>
          </p:cNvPr>
          <p:cNvSpPr/>
          <p:nvPr/>
        </p:nvSpPr>
        <p:spPr>
          <a:xfrm>
            <a:off x="1612415" y="4805262"/>
            <a:ext cx="1260000" cy="558331"/>
          </a:xfrm>
          <a:prstGeom prst="rect">
            <a:avLst/>
          </a:prstGeom>
          <a:solidFill>
            <a:schemeClr val="accent3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NVIROCRON 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C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0 Series</a:t>
            </a: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9B953EE5-7691-4CF2-97E7-3BB503A6B1C9}"/>
              </a:ext>
            </a:extLst>
          </p:cNvPr>
          <p:cNvSpPr/>
          <p:nvPr/>
        </p:nvSpPr>
        <p:spPr>
          <a:xfrm>
            <a:off x="2923521" y="4805262"/>
            <a:ext cx="1437665" cy="558331"/>
          </a:xfrm>
          <a:prstGeom prst="rect">
            <a:avLst/>
          </a:prstGeom>
          <a:solidFill>
            <a:schemeClr val="accent3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motiq / Industriq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841, W845, W847</a:t>
            </a: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68EA9A85-9AF0-4216-B7ED-D7B467C777F1}"/>
              </a:ext>
            </a:extLst>
          </p:cNvPr>
          <p:cNvSpPr/>
          <p:nvPr/>
        </p:nvSpPr>
        <p:spPr>
          <a:xfrm>
            <a:off x="4412292" y="4805262"/>
            <a:ext cx="3418524" cy="558331"/>
          </a:xfrm>
          <a:prstGeom prst="rect">
            <a:avLst/>
          </a:prstGeom>
          <a:solidFill>
            <a:schemeClr val="accent3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ar part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icycle frames</a:t>
            </a: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57AB9A01-0051-407E-A8ED-661C48A65F88}"/>
              </a:ext>
            </a:extLst>
          </p:cNvPr>
          <p:cNvSpPr/>
          <p:nvPr/>
        </p:nvSpPr>
        <p:spPr>
          <a:xfrm>
            <a:off x="7879176" y="4805262"/>
            <a:ext cx="1980000" cy="558331"/>
          </a:xfrm>
          <a:prstGeom prst="rect">
            <a:avLst/>
          </a:prstGeom>
          <a:solidFill>
            <a:schemeClr val="accent3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utdoor use with excellent ultradurable performance &amp; outstanding appearance</a:t>
            </a: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5067EF7B-5719-43DF-8AE8-BFB9CF717A68}"/>
              </a:ext>
            </a:extLst>
          </p:cNvPr>
          <p:cNvSpPr/>
          <p:nvPr/>
        </p:nvSpPr>
        <p:spPr>
          <a:xfrm>
            <a:off x="9907537" y="4805262"/>
            <a:ext cx="2022708" cy="558331"/>
          </a:xfrm>
          <a:prstGeom prst="rect">
            <a:avLst/>
          </a:prstGeom>
          <a:solidFill>
            <a:schemeClr val="accent3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ow bake</a:t>
            </a: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3D321141-2C3A-42C8-A995-68322F5FE412}"/>
              </a:ext>
            </a:extLst>
          </p:cNvPr>
          <p:cNvSpPr/>
          <p:nvPr/>
        </p:nvSpPr>
        <p:spPr>
          <a:xfrm>
            <a:off x="308056" y="5408512"/>
            <a:ext cx="1260000" cy="558331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lyurethane</a:t>
            </a: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D5806FAB-38B9-4CA9-9013-CFE02C498781}"/>
              </a:ext>
            </a:extLst>
          </p:cNvPr>
          <p:cNvSpPr/>
          <p:nvPr/>
        </p:nvSpPr>
        <p:spPr>
          <a:xfrm>
            <a:off x="1612415" y="5408510"/>
            <a:ext cx="1260000" cy="558331"/>
          </a:xfrm>
          <a:prstGeom prst="rect">
            <a:avLst/>
          </a:prstGeom>
          <a:solidFill>
            <a:schemeClr val="accent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NVIROCRON 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CU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3 Series</a:t>
            </a: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1E9DCED0-F258-41FB-9344-68F5FD5E445C}"/>
              </a:ext>
            </a:extLst>
          </p:cNvPr>
          <p:cNvSpPr/>
          <p:nvPr/>
        </p:nvSpPr>
        <p:spPr>
          <a:xfrm>
            <a:off x="2923521" y="5408510"/>
            <a:ext cx="1437665" cy="558331"/>
          </a:xfrm>
          <a:prstGeom prst="rect">
            <a:avLst/>
          </a:prstGeom>
          <a:solidFill>
            <a:schemeClr val="accent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motiq / Industriq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851, W852</a:t>
            </a: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48D160F7-5E94-4BD7-831E-789E0A60C02E}"/>
              </a:ext>
            </a:extLst>
          </p:cNvPr>
          <p:cNvSpPr/>
          <p:nvPr/>
        </p:nvSpPr>
        <p:spPr>
          <a:xfrm>
            <a:off x="4412292" y="5408510"/>
            <a:ext cx="3418524" cy="558331"/>
          </a:xfrm>
          <a:prstGeom prst="rect">
            <a:avLst/>
          </a:prstGeom>
          <a:solidFill>
            <a:schemeClr val="accent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ar part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chinery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ffice furniture, shelving, etc.</a:t>
            </a: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DB0F0018-6137-450A-BDCA-434E3271DF11}"/>
              </a:ext>
            </a:extLst>
          </p:cNvPr>
          <p:cNvSpPr/>
          <p:nvPr/>
        </p:nvSpPr>
        <p:spPr>
          <a:xfrm>
            <a:off x="7879176" y="5408510"/>
            <a:ext cx="1980000" cy="558331"/>
          </a:xfrm>
          <a:prstGeom prst="rect">
            <a:avLst/>
          </a:prstGeom>
          <a:solidFill>
            <a:schemeClr val="accent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utdoor use with excellent  chemical resistance</a:t>
            </a: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269CF807-E55A-4EB4-A342-ACB460678B67}"/>
              </a:ext>
            </a:extLst>
          </p:cNvPr>
          <p:cNvSpPr/>
          <p:nvPr/>
        </p:nvSpPr>
        <p:spPr>
          <a:xfrm>
            <a:off x="9907537" y="5408510"/>
            <a:ext cx="2022708" cy="558331"/>
          </a:xfrm>
          <a:prstGeom prst="rect">
            <a:avLst/>
          </a:prstGeom>
          <a:solidFill>
            <a:schemeClr val="accent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ti-graffiti / chemical resistance</a:t>
            </a: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33689F43-4A36-4D84-A72F-AF720B09FC5D}"/>
              </a:ext>
            </a:extLst>
          </p:cNvPr>
          <p:cNvSpPr/>
          <p:nvPr/>
        </p:nvSpPr>
        <p:spPr>
          <a:xfrm>
            <a:off x="10883098" y="2330508"/>
            <a:ext cx="108899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marR="0" lvl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ti-Slip</a:t>
            </a:r>
          </a:p>
          <a:p>
            <a:pPr marL="182563" marR="0" lvl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duction 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urable</a:t>
            </a:r>
          </a:p>
        </p:txBody>
      </p:sp>
      <p:sp>
        <p:nvSpPr>
          <p:cNvPr id="50" name="Slide Number Placeholder 2">
            <a:extLst>
              <a:ext uri="{FF2B5EF4-FFF2-40B4-BE49-F238E27FC236}">
                <a16:creationId xmlns:a16="http://schemas.microsoft.com/office/drawing/2014/main" id="{AA4AB606-309C-B74C-8AE0-F72F9AEE6A23}"/>
              </a:ext>
            </a:extLst>
          </p:cNvPr>
          <p:cNvSpPr txBox="1">
            <a:spLocks/>
          </p:cNvSpPr>
          <p:nvPr/>
        </p:nvSpPr>
        <p:spPr>
          <a:xfrm>
            <a:off x="308056" y="6496407"/>
            <a:ext cx="455756" cy="17222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chemeClr val="tx2"/>
                </a:solidFill>
                <a:latin typeface="+mn-lt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666666"/>
                </a:solidFill>
                <a:latin typeface="Arial" panose="020B0604020202020204"/>
              </a:rPr>
              <a:t>11</a:t>
            </a:r>
          </a:p>
        </p:txBody>
      </p:sp>
      <p:sp>
        <p:nvSpPr>
          <p:cNvPr id="51" name="Footer Placeholder 1">
            <a:extLst>
              <a:ext uri="{FF2B5EF4-FFF2-40B4-BE49-F238E27FC236}">
                <a16:creationId xmlns:a16="http://schemas.microsoft.com/office/drawing/2014/main" id="{6CB66F11-05B8-ED41-AA4E-8BC0D3D0E761}"/>
              </a:ext>
            </a:extLst>
          </p:cNvPr>
          <p:cNvSpPr txBox="1">
            <a:spLocks/>
          </p:cNvSpPr>
          <p:nvPr/>
        </p:nvSpPr>
        <p:spPr>
          <a:xfrm>
            <a:off x="763811" y="6496407"/>
            <a:ext cx="9460550" cy="17222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chemeClr val="tx2"/>
                </a:solidFill>
                <a:latin typeface="+mn-lt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666666"/>
                </a:solidFill>
                <a:latin typeface="Arial" panose="020B0604020202020204"/>
              </a:rPr>
              <a:t>Powder Coatings from PPG ©2023 PPG Industries, Inc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1950379669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wder innovative technologies responding to industry challenges</a:t>
            </a:r>
            <a:endParaRPr lang="pl-PL" dirty="0"/>
          </a:p>
        </p:txBody>
      </p:sp>
      <p:pic>
        <p:nvPicPr>
          <p:cNvPr id="62" name="Picture Placeholder 2">
            <a:extLst>
              <a:ext uri="{FF2B5EF4-FFF2-40B4-BE49-F238E27FC236}">
                <a16:creationId xmlns:a16="http://schemas.microsoft.com/office/drawing/2014/main" id="{BAF3AAD5-39C3-4065-84D6-04BCC9944CF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9014" y="1028083"/>
            <a:ext cx="1640334" cy="631583"/>
          </a:xfrm>
          <a:prstGeom prst="rect">
            <a:avLst/>
          </a:prstGeom>
        </p:spPr>
      </p:pic>
      <p:pic>
        <p:nvPicPr>
          <p:cNvPr id="63" name="Picture 5">
            <a:extLst>
              <a:ext uri="{FF2B5EF4-FFF2-40B4-BE49-F238E27FC236}">
                <a16:creationId xmlns:a16="http://schemas.microsoft.com/office/drawing/2014/main" id="{B8D53CA6-C8D0-496B-8B97-AA9AB5A4147B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9014" y="2513104"/>
            <a:ext cx="1640334" cy="638906"/>
          </a:xfrm>
          <a:prstGeom prst="rect">
            <a:avLst/>
          </a:prstGeom>
        </p:spPr>
      </p:pic>
      <p:pic>
        <p:nvPicPr>
          <p:cNvPr id="64" name="Picture Placeholder 8">
            <a:extLst>
              <a:ext uri="{FF2B5EF4-FFF2-40B4-BE49-F238E27FC236}">
                <a16:creationId xmlns:a16="http://schemas.microsoft.com/office/drawing/2014/main" id="{399BCE01-0E44-447D-AECE-AB4E47C58E13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9014" y="3267759"/>
            <a:ext cx="1640334" cy="643472"/>
          </a:xfrm>
          <a:prstGeom prst="rect">
            <a:avLst/>
          </a:prstGeom>
        </p:spPr>
      </p:pic>
      <p:pic>
        <p:nvPicPr>
          <p:cNvPr id="65" name="Picture 8">
            <a:extLst>
              <a:ext uri="{FF2B5EF4-FFF2-40B4-BE49-F238E27FC236}">
                <a16:creationId xmlns:a16="http://schemas.microsoft.com/office/drawing/2014/main" id="{DD48C956-339F-4986-BBA2-86F50BE07449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9014" y="4020898"/>
            <a:ext cx="1640334" cy="635685"/>
          </a:xfrm>
          <a:prstGeom prst="rect">
            <a:avLst/>
          </a:prstGeom>
        </p:spPr>
      </p:pic>
      <p:pic>
        <p:nvPicPr>
          <p:cNvPr id="66" name="Picture 10">
            <a:extLst>
              <a:ext uri="{FF2B5EF4-FFF2-40B4-BE49-F238E27FC236}">
                <a16:creationId xmlns:a16="http://schemas.microsoft.com/office/drawing/2014/main" id="{89CD5DEF-9B93-4FBF-8DAD-E27229E6E10A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9015" y="4768379"/>
            <a:ext cx="1640334" cy="640482"/>
          </a:xfrm>
          <a:prstGeom prst="rect">
            <a:avLst/>
          </a:prstGeom>
        </p:spPr>
      </p:pic>
      <p:pic>
        <p:nvPicPr>
          <p:cNvPr id="67" name="Grafik 66">
            <a:extLst>
              <a:ext uri="{FF2B5EF4-FFF2-40B4-BE49-F238E27FC236}">
                <a16:creationId xmlns:a16="http://schemas.microsoft.com/office/drawing/2014/main" id="{D6DA7127-5079-49E5-A194-4A372F5A0F9A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9014" y="1773874"/>
            <a:ext cx="1640334" cy="638208"/>
          </a:xfrm>
          <a:prstGeom prst="rect">
            <a:avLst/>
          </a:prstGeom>
        </p:spPr>
      </p:pic>
      <p:pic>
        <p:nvPicPr>
          <p:cNvPr id="68" name="Picture 2" descr="https://files.constantcontact.com/6f7071db201/a223a3fc-88d4-401e-b6d3-bc1777c371c7.png">
            <a:extLst>
              <a:ext uri="{FF2B5EF4-FFF2-40B4-BE49-F238E27FC236}">
                <a16:creationId xmlns:a16="http://schemas.microsoft.com/office/drawing/2014/main" id="{78B9BD72-2950-4E67-84D7-547438D4B85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link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500" b="19499"/>
          <a:stretch>
            <a:fillRect/>
          </a:stretch>
        </p:blipFill>
        <p:spPr bwMode="auto">
          <a:xfrm>
            <a:off x="350095" y="5523069"/>
            <a:ext cx="1639253" cy="6404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5" name="Freeform 34">
            <a:extLst>
              <a:ext uri="{FF2B5EF4-FFF2-40B4-BE49-F238E27FC236}">
                <a16:creationId xmlns:a16="http://schemas.microsoft.com/office/drawing/2014/main" id="{7A50FDF4-79D6-2A4F-98E6-4049E30118DB}"/>
              </a:ext>
            </a:extLst>
          </p:cNvPr>
          <p:cNvSpPr/>
          <p:nvPr/>
        </p:nvSpPr>
        <p:spPr>
          <a:xfrm rot="10800000">
            <a:off x="7313176" y="1028082"/>
            <a:ext cx="3711684" cy="636399"/>
          </a:xfrm>
          <a:custGeom>
            <a:avLst/>
            <a:gdLst>
              <a:gd name="connsiteX0" fmla="*/ 0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0 w 2676588"/>
              <a:gd name="connsiteY4" fmla="*/ 0 h 363338"/>
              <a:gd name="connsiteX0" fmla="*/ 888545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888545 w 2676588"/>
              <a:gd name="connsiteY4" fmla="*/ 0 h 363338"/>
              <a:gd name="connsiteX0" fmla="*/ 0 w 1788043"/>
              <a:gd name="connsiteY0" fmla="*/ 0 h 363338"/>
              <a:gd name="connsiteX1" fmla="*/ 1788043 w 1788043"/>
              <a:gd name="connsiteY1" fmla="*/ 0 h 363338"/>
              <a:gd name="connsiteX2" fmla="*/ 1600319 w 1788043"/>
              <a:gd name="connsiteY2" fmla="*/ 363338 h 363338"/>
              <a:gd name="connsiteX3" fmla="*/ 0 w 1788043"/>
              <a:gd name="connsiteY3" fmla="*/ 363338 h 363338"/>
              <a:gd name="connsiteX4" fmla="*/ 0 w 1788043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138221 w 1926264"/>
              <a:gd name="connsiteY3" fmla="*/ 363338 h 363338"/>
              <a:gd name="connsiteX4" fmla="*/ 0 w 1926264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6284 w 1926264"/>
              <a:gd name="connsiteY3" fmla="*/ 363338 h 363338"/>
              <a:gd name="connsiteX4" fmla="*/ 0 w 1926264"/>
              <a:gd name="connsiteY4" fmla="*/ 0 h 363338"/>
              <a:gd name="connsiteX0" fmla="*/ 43978 w 1970242"/>
              <a:gd name="connsiteY0" fmla="*/ 0 h 363338"/>
              <a:gd name="connsiteX1" fmla="*/ 1970242 w 1970242"/>
              <a:gd name="connsiteY1" fmla="*/ 0 h 363338"/>
              <a:gd name="connsiteX2" fmla="*/ 1782518 w 1970242"/>
              <a:gd name="connsiteY2" fmla="*/ 363338 h 363338"/>
              <a:gd name="connsiteX3" fmla="*/ 0 w 1970242"/>
              <a:gd name="connsiteY3" fmla="*/ 363338 h 363338"/>
              <a:gd name="connsiteX4" fmla="*/ 43978 w 1970242"/>
              <a:gd name="connsiteY4" fmla="*/ 0 h 363338"/>
              <a:gd name="connsiteX0" fmla="*/ 0 w 1926264"/>
              <a:gd name="connsiteY0" fmla="*/ 0 h 369620"/>
              <a:gd name="connsiteX1" fmla="*/ 1926264 w 1926264"/>
              <a:gd name="connsiteY1" fmla="*/ 0 h 369620"/>
              <a:gd name="connsiteX2" fmla="*/ 1738540 w 1926264"/>
              <a:gd name="connsiteY2" fmla="*/ 363338 h 369620"/>
              <a:gd name="connsiteX3" fmla="*/ 6284 w 1926264"/>
              <a:gd name="connsiteY3" fmla="*/ 369620 h 369620"/>
              <a:gd name="connsiteX4" fmla="*/ 0 w 1926264"/>
              <a:gd name="connsiteY4" fmla="*/ 0 h 369620"/>
              <a:gd name="connsiteX0" fmla="*/ 6281 w 1932545"/>
              <a:gd name="connsiteY0" fmla="*/ 0 h 369620"/>
              <a:gd name="connsiteX1" fmla="*/ 1932545 w 1932545"/>
              <a:gd name="connsiteY1" fmla="*/ 0 h 369620"/>
              <a:gd name="connsiteX2" fmla="*/ 1744821 w 1932545"/>
              <a:gd name="connsiteY2" fmla="*/ 363338 h 369620"/>
              <a:gd name="connsiteX3" fmla="*/ 0 w 1932545"/>
              <a:gd name="connsiteY3" fmla="*/ 369620 h 369620"/>
              <a:gd name="connsiteX4" fmla="*/ 6281 w 1932545"/>
              <a:gd name="connsiteY4" fmla="*/ 0 h 369620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25132 w 1926264"/>
              <a:gd name="connsiteY3" fmla="*/ 357055 h 363338"/>
              <a:gd name="connsiteX4" fmla="*/ 0 w 1926264"/>
              <a:gd name="connsiteY4" fmla="*/ 0 h 363338"/>
              <a:gd name="connsiteX0" fmla="*/ 12564 w 1938828"/>
              <a:gd name="connsiteY0" fmla="*/ 0 h 363338"/>
              <a:gd name="connsiteX1" fmla="*/ 1938828 w 1938828"/>
              <a:gd name="connsiteY1" fmla="*/ 0 h 363338"/>
              <a:gd name="connsiteX2" fmla="*/ 1751104 w 1938828"/>
              <a:gd name="connsiteY2" fmla="*/ 363338 h 363338"/>
              <a:gd name="connsiteX3" fmla="*/ 0 w 1938828"/>
              <a:gd name="connsiteY3" fmla="*/ 363338 h 363338"/>
              <a:gd name="connsiteX4" fmla="*/ 12564 w 1938828"/>
              <a:gd name="connsiteY4" fmla="*/ 0 h 363338"/>
              <a:gd name="connsiteX0" fmla="*/ 0 w 1926264"/>
              <a:gd name="connsiteY0" fmla="*/ 0 h 369621"/>
              <a:gd name="connsiteX1" fmla="*/ 1926264 w 1926264"/>
              <a:gd name="connsiteY1" fmla="*/ 0 h 369621"/>
              <a:gd name="connsiteX2" fmla="*/ 1738540 w 1926264"/>
              <a:gd name="connsiteY2" fmla="*/ 363338 h 369621"/>
              <a:gd name="connsiteX3" fmla="*/ 6284 w 1926264"/>
              <a:gd name="connsiteY3" fmla="*/ 369621 h 369621"/>
              <a:gd name="connsiteX4" fmla="*/ 0 w 1926264"/>
              <a:gd name="connsiteY4" fmla="*/ 0 h 369621"/>
              <a:gd name="connsiteX0" fmla="*/ 43978 w 1970242"/>
              <a:gd name="connsiteY0" fmla="*/ 0 h 363339"/>
              <a:gd name="connsiteX1" fmla="*/ 1970242 w 1970242"/>
              <a:gd name="connsiteY1" fmla="*/ 0 h 363339"/>
              <a:gd name="connsiteX2" fmla="*/ 1782518 w 1970242"/>
              <a:gd name="connsiteY2" fmla="*/ 363338 h 363339"/>
              <a:gd name="connsiteX3" fmla="*/ 0 w 1970242"/>
              <a:gd name="connsiteY3" fmla="*/ 363339 h 363339"/>
              <a:gd name="connsiteX4" fmla="*/ 43978 w 1970242"/>
              <a:gd name="connsiteY4" fmla="*/ 0 h 363339"/>
              <a:gd name="connsiteX0" fmla="*/ 0 w 1926264"/>
              <a:gd name="connsiteY0" fmla="*/ 0 h 363339"/>
              <a:gd name="connsiteX1" fmla="*/ 1926264 w 1926264"/>
              <a:gd name="connsiteY1" fmla="*/ 0 h 363339"/>
              <a:gd name="connsiteX2" fmla="*/ 1738540 w 1926264"/>
              <a:gd name="connsiteY2" fmla="*/ 363338 h 363339"/>
              <a:gd name="connsiteX3" fmla="*/ 1 w 1926264"/>
              <a:gd name="connsiteY3" fmla="*/ 363339 h 363339"/>
              <a:gd name="connsiteX4" fmla="*/ 0 w 1926264"/>
              <a:gd name="connsiteY4" fmla="*/ 0 h 3633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6264" h="363339">
                <a:moveTo>
                  <a:pt x="0" y="0"/>
                </a:moveTo>
                <a:lnTo>
                  <a:pt x="1926264" y="0"/>
                </a:lnTo>
                <a:lnTo>
                  <a:pt x="1738540" y="363338"/>
                </a:lnTo>
                <a:lnTo>
                  <a:pt x="1" y="363339"/>
                </a:lnTo>
                <a:cubicBezTo>
                  <a:pt x="1" y="242226"/>
                  <a:pt x="0" y="121113"/>
                  <a:pt x="0" y="0"/>
                </a:cubicBezTo>
                <a:close/>
              </a:path>
            </a:pathLst>
          </a:custGeom>
          <a:solidFill>
            <a:schemeClr val="accent3"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Rectangle 34">
            <a:extLst>
              <a:ext uri="{FF2B5EF4-FFF2-40B4-BE49-F238E27FC236}">
                <a16:creationId xmlns:a16="http://schemas.microsoft.com/office/drawing/2014/main" id="{E9960FEC-AA7F-4D5A-B35B-8919753A3E7E}"/>
              </a:ext>
            </a:extLst>
          </p:cNvPr>
          <p:cNvSpPr/>
          <p:nvPr/>
        </p:nvSpPr>
        <p:spPr>
          <a:xfrm>
            <a:off x="8623889" y="1167228"/>
            <a:ext cx="2050477" cy="369332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ductivity</a:t>
            </a:r>
          </a:p>
        </p:txBody>
      </p:sp>
      <p:sp>
        <p:nvSpPr>
          <p:cNvPr id="34" name="Freeform 33">
            <a:extLst>
              <a:ext uri="{FF2B5EF4-FFF2-40B4-BE49-F238E27FC236}">
                <a16:creationId xmlns:a16="http://schemas.microsoft.com/office/drawing/2014/main" id="{DD67436E-3A31-ED46-9213-6C517AB146EB}"/>
              </a:ext>
            </a:extLst>
          </p:cNvPr>
          <p:cNvSpPr/>
          <p:nvPr/>
        </p:nvSpPr>
        <p:spPr>
          <a:xfrm>
            <a:off x="1994809" y="1029790"/>
            <a:ext cx="6574361" cy="640743"/>
          </a:xfrm>
          <a:custGeom>
            <a:avLst/>
            <a:gdLst>
              <a:gd name="connsiteX0" fmla="*/ 0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0 w 2676588"/>
              <a:gd name="connsiteY4" fmla="*/ 0 h 363338"/>
              <a:gd name="connsiteX0" fmla="*/ 888545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888545 w 2676588"/>
              <a:gd name="connsiteY4" fmla="*/ 0 h 363338"/>
              <a:gd name="connsiteX0" fmla="*/ 0 w 1788043"/>
              <a:gd name="connsiteY0" fmla="*/ 0 h 363338"/>
              <a:gd name="connsiteX1" fmla="*/ 1788043 w 1788043"/>
              <a:gd name="connsiteY1" fmla="*/ 0 h 363338"/>
              <a:gd name="connsiteX2" fmla="*/ 1600319 w 1788043"/>
              <a:gd name="connsiteY2" fmla="*/ 363338 h 363338"/>
              <a:gd name="connsiteX3" fmla="*/ 0 w 1788043"/>
              <a:gd name="connsiteY3" fmla="*/ 363338 h 363338"/>
              <a:gd name="connsiteX4" fmla="*/ 0 w 1788043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138221 w 1926264"/>
              <a:gd name="connsiteY3" fmla="*/ 363338 h 363338"/>
              <a:gd name="connsiteX4" fmla="*/ 0 w 1926264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6284 w 1926264"/>
              <a:gd name="connsiteY3" fmla="*/ 363338 h 363338"/>
              <a:gd name="connsiteX4" fmla="*/ 0 w 1926264"/>
              <a:gd name="connsiteY4" fmla="*/ 0 h 363338"/>
              <a:gd name="connsiteX0" fmla="*/ 43978 w 1970242"/>
              <a:gd name="connsiteY0" fmla="*/ 0 h 363338"/>
              <a:gd name="connsiteX1" fmla="*/ 1970242 w 1970242"/>
              <a:gd name="connsiteY1" fmla="*/ 0 h 363338"/>
              <a:gd name="connsiteX2" fmla="*/ 1782518 w 1970242"/>
              <a:gd name="connsiteY2" fmla="*/ 363338 h 363338"/>
              <a:gd name="connsiteX3" fmla="*/ 0 w 1970242"/>
              <a:gd name="connsiteY3" fmla="*/ 363338 h 363338"/>
              <a:gd name="connsiteX4" fmla="*/ 43978 w 1970242"/>
              <a:gd name="connsiteY4" fmla="*/ 0 h 363338"/>
              <a:gd name="connsiteX0" fmla="*/ 0 w 1926264"/>
              <a:gd name="connsiteY0" fmla="*/ 0 h 369620"/>
              <a:gd name="connsiteX1" fmla="*/ 1926264 w 1926264"/>
              <a:gd name="connsiteY1" fmla="*/ 0 h 369620"/>
              <a:gd name="connsiteX2" fmla="*/ 1738540 w 1926264"/>
              <a:gd name="connsiteY2" fmla="*/ 363338 h 369620"/>
              <a:gd name="connsiteX3" fmla="*/ 6284 w 1926264"/>
              <a:gd name="connsiteY3" fmla="*/ 369620 h 369620"/>
              <a:gd name="connsiteX4" fmla="*/ 0 w 1926264"/>
              <a:gd name="connsiteY4" fmla="*/ 0 h 369620"/>
              <a:gd name="connsiteX0" fmla="*/ 6281 w 1932545"/>
              <a:gd name="connsiteY0" fmla="*/ 0 h 369620"/>
              <a:gd name="connsiteX1" fmla="*/ 1932545 w 1932545"/>
              <a:gd name="connsiteY1" fmla="*/ 0 h 369620"/>
              <a:gd name="connsiteX2" fmla="*/ 1744821 w 1932545"/>
              <a:gd name="connsiteY2" fmla="*/ 363338 h 369620"/>
              <a:gd name="connsiteX3" fmla="*/ 0 w 1932545"/>
              <a:gd name="connsiteY3" fmla="*/ 369620 h 369620"/>
              <a:gd name="connsiteX4" fmla="*/ 6281 w 1932545"/>
              <a:gd name="connsiteY4" fmla="*/ 0 h 369620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25132 w 1926264"/>
              <a:gd name="connsiteY3" fmla="*/ 357055 h 363338"/>
              <a:gd name="connsiteX4" fmla="*/ 0 w 1926264"/>
              <a:gd name="connsiteY4" fmla="*/ 0 h 363338"/>
              <a:gd name="connsiteX0" fmla="*/ 12564 w 1938828"/>
              <a:gd name="connsiteY0" fmla="*/ 0 h 363338"/>
              <a:gd name="connsiteX1" fmla="*/ 1938828 w 1938828"/>
              <a:gd name="connsiteY1" fmla="*/ 0 h 363338"/>
              <a:gd name="connsiteX2" fmla="*/ 1751104 w 1938828"/>
              <a:gd name="connsiteY2" fmla="*/ 363338 h 363338"/>
              <a:gd name="connsiteX3" fmla="*/ 0 w 1938828"/>
              <a:gd name="connsiteY3" fmla="*/ 363338 h 363338"/>
              <a:gd name="connsiteX4" fmla="*/ 12564 w 1938828"/>
              <a:gd name="connsiteY4" fmla="*/ 0 h 363338"/>
              <a:gd name="connsiteX0" fmla="*/ 0 w 1926264"/>
              <a:gd name="connsiteY0" fmla="*/ 0 h 369621"/>
              <a:gd name="connsiteX1" fmla="*/ 1926264 w 1926264"/>
              <a:gd name="connsiteY1" fmla="*/ 0 h 369621"/>
              <a:gd name="connsiteX2" fmla="*/ 1738540 w 1926264"/>
              <a:gd name="connsiteY2" fmla="*/ 363338 h 369621"/>
              <a:gd name="connsiteX3" fmla="*/ 6284 w 1926264"/>
              <a:gd name="connsiteY3" fmla="*/ 369621 h 369621"/>
              <a:gd name="connsiteX4" fmla="*/ 0 w 1926264"/>
              <a:gd name="connsiteY4" fmla="*/ 0 h 369621"/>
              <a:gd name="connsiteX0" fmla="*/ 43978 w 1970242"/>
              <a:gd name="connsiteY0" fmla="*/ 0 h 363339"/>
              <a:gd name="connsiteX1" fmla="*/ 1970242 w 1970242"/>
              <a:gd name="connsiteY1" fmla="*/ 0 h 363339"/>
              <a:gd name="connsiteX2" fmla="*/ 1782518 w 1970242"/>
              <a:gd name="connsiteY2" fmla="*/ 363338 h 363339"/>
              <a:gd name="connsiteX3" fmla="*/ 0 w 1970242"/>
              <a:gd name="connsiteY3" fmla="*/ 363339 h 363339"/>
              <a:gd name="connsiteX4" fmla="*/ 43978 w 1970242"/>
              <a:gd name="connsiteY4" fmla="*/ 0 h 363339"/>
              <a:gd name="connsiteX0" fmla="*/ 0 w 1926264"/>
              <a:gd name="connsiteY0" fmla="*/ 0 h 363339"/>
              <a:gd name="connsiteX1" fmla="*/ 1926264 w 1926264"/>
              <a:gd name="connsiteY1" fmla="*/ 0 h 363339"/>
              <a:gd name="connsiteX2" fmla="*/ 1738540 w 1926264"/>
              <a:gd name="connsiteY2" fmla="*/ 363338 h 363339"/>
              <a:gd name="connsiteX3" fmla="*/ 1 w 1926264"/>
              <a:gd name="connsiteY3" fmla="*/ 363339 h 363339"/>
              <a:gd name="connsiteX4" fmla="*/ 0 w 1926264"/>
              <a:gd name="connsiteY4" fmla="*/ 0 h 363339"/>
              <a:gd name="connsiteX0" fmla="*/ 0 w 3440015"/>
              <a:gd name="connsiteY0" fmla="*/ 0 h 363339"/>
              <a:gd name="connsiteX1" fmla="*/ 3440015 w 3440015"/>
              <a:gd name="connsiteY1" fmla="*/ 0 h 363339"/>
              <a:gd name="connsiteX2" fmla="*/ 3252291 w 3440015"/>
              <a:gd name="connsiteY2" fmla="*/ 363338 h 363339"/>
              <a:gd name="connsiteX3" fmla="*/ 1513752 w 3440015"/>
              <a:gd name="connsiteY3" fmla="*/ 363339 h 363339"/>
              <a:gd name="connsiteX4" fmla="*/ 0 w 3440015"/>
              <a:gd name="connsiteY4" fmla="*/ 0 h 363339"/>
              <a:gd name="connsiteX0" fmla="*/ 0 w 3440015"/>
              <a:gd name="connsiteY0" fmla="*/ 0 h 363339"/>
              <a:gd name="connsiteX1" fmla="*/ 3440015 w 3440015"/>
              <a:gd name="connsiteY1" fmla="*/ 0 h 363339"/>
              <a:gd name="connsiteX2" fmla="*/ 3252291 w 3440015"/>
              <a:gd name="connsiteY2" fmla="*/ 363338 h 363339"/>
              <a:gd name="connsiteX3" fmla="*/ 1 w 3440015"/>
              <a:gd name="connsiteY3" fmla="*/ 363339 h 363339"/>
              <a:gd name="connsiteX4" fmla="*/ 0 w 3440015"/>
              <a:gd name="connsiteY4" fmla="*/ 0 h 363339"/>
              <a:gd name="connsiteX0" fmla="*/ 0 w 3440015"/>
              <a:gd name="connsiteY0" fmla="*/ 0 h 363339"/>
              <a:gd name="connsiteX1" fmla="*/ 3440015 w 3440015"/>
              <a:gd name="connsiteY1" fmla="*/ 0 h 363339"/>
              <a:gd name="connsiteX2" fmla="*/ 3252291 w 3440015"/>
              <a:gd name="connsiteY2" fmla="*/ 363338 h 363339"/>
              <a:gd name="connsiteX3" fmla="*/ 192223 w 3440015"/>
              <a:gd name="connsiteY3" fmla="*/ 363339 h 363339"/>
              <a:gd name="connsiteX4" fmla="*/ 0 w 3440015"/>
              <a:gd name="connsiteY4" fmla="*/ 0 h 363339"/>
              <a:gd name="connsiteX0" fmla="*/ 0 w 3247793"/>
              <a:gd name="connsiteY0" fmla="*/ 0 h 363339"/>
              <a:gd name="connsiteX1" fmla="*/ 3247793 w 3247793"/>
              <a:gd name="connsiteY1" fmla="*/ 0 h 363339"/>
              <a:gd name="connsiteX2" fmla="*/ 3060069 w 3247793"/>
              <a:gd name="connsiteY2" fmla="*/ 363338 h 363339"/>
              <a:gd name="connsiteX3" fmla="*/ 1 w 3247793"/>
              <a:gd name="connsiteY3" fmla="*/ 363339 h 363339"/>
              <a:gd name="connsiteX4" fmla="*/ 0 w 3247793"/>
              <a:gd name="connsiteY4" fmla="*/ 0 h 3633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47793" h="363339">
                <a:moveTo>
                  <a:pt x="0" y="0"/>
                </a:moveTo>
                <a:lnTo>
                  <a:pt x="3247793" y="0"/>
                </a:lnTo>
                <a:lnTo>
                  <a:pt x="3060069" y="363338"/>
                </a:lnTo>
                <a:lnTo>
                  <a:pt x="1" y="363339"/>
                </a:lnTo>
                <a:cubicBezTo>
                  <a:pt x="1" y="242226"/>
                  <a:pt x="0" y="121113"/>
                  <a:pt x="0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6" name="Rectangle 29">
            <a:extLst>
              <a:ext uri="{FF2B5EF4-FFF2-40B4-BE49-F238E27FC236}">
                <a16:creationId xmlns:a16="http://schemas.microsoft.com/office/drawing/2014/main" id="{B6D1A611-F8B3-4443-B6B3-478F8AA274F9}"/>
              </a:ext>
            </a:extLst>
          </p:cNvPr>
          <p:cNvSpPr/>
          <p:nvPr/>
        </p:nvSpPr>
        <p:spPr>
          <a:xfrm>
            <a:off x="1995238" y="1171622"/>
            <a:ext cx="575656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NVIROCRON</a:t>
            </a:r>
            <a:r>
              <a:rPr kumimoji="0" lang="en-US" b="1" i="0" u="none" strike="noStrike" kern="120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®</a:t>
            </a: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HTE  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igh Transfer Efficiency</a:t>
            </a:r>
            <a:endParaRPr kumimoji="0" lang="pl-PL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6" name="Freeform 35">
            <a:extLst>
              <a:ext uri="{FF2B5EF4-FFF2-40B4-BE49-F238E27FC236}">
                <a16:creationId xmlns:a16="http://schemas.microsoft.com/office/drawing/2014/main" id="{DDBB42DA-92CD-AC41-96EC-33B8BF336AD2}"/>
              </a:ext>
            </a:extLst>
          </p:cNvPr>
          <p:cNvSpPr/>
          <p:nvPr/>
        </p:nvSpPr>
        <p:spPr>
          <a:xfrm rot="10800000">
            <a:off x="7313176" y="1772165"/>
            <a:ext cx="3711684" cy="640742"/>
          </a:xfrm>
          <a:custGeom>
            <a:avLst/>
            <a:gdLst>
              <a:gd name="connsiteX0" fmla="*/ 0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0 w 2676588"/>
              <a:gd name="connsiteY4" fmla="*/ 0 h 363338"/>
              <a:gd name="connsiteX0" fmla="*/ 888545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888545 w 2676588"/>
              <a:gd name="connsiteY4" fmla="*/ 0 h 363338"/>
              <a:gd name="connsiteX0" fmla="*/ 0 w 1788043"/>
              <a:gd name="connsiteY0" fmla="*/ 0 h 363338"/>
              <a:gd name="connsiteX1" fmla="*/ 1788043 w 1788043"/>
              <a:gd name="connsiteY1" fmla="*/ 0 h 363338"/>
              <a:gd name="connsiteX2" fmla="*/ 1600319 w 1788043"/>
              <a:gd name="connsiteY2" fmla="*/ 363338 h 363338"/>
              <a:gd name="connsiteX3" fmla="*/ 0 w 1788043"/>
              <a:gd name="connsiteY3" fmla="*/ 363338 h 363338"/>
              <a:gd name="connsiteX4" fmla="*/ 0 w 1788043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138221 w 1926264"/>
              <a:gd name="connsiteY3" fmla="*/ 363338 h 363338"/>
              <a:gd name="connsiteX4" fmla="*/ 0 w 1926264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6284 w 1926264"/>
              <a:gd name="connsiteY3" fmla="*/ 363338 h 363338"/>
              <a:gd name="connsiteX4" fmla="*/ 0 w 1926264"/>
              <a:gd name="connsiteY4" fmla="*/ 0 h 363338"/>
              <a:gd name="connsiteX0" fmla="*/ 43978 w 1970242"/>
              <a:gd name="connsiteY0" fmla="*/ 0 h 363338"/>
              <a:gd name="connsiteX1" fmla="*/ 1970242 w 1970242"/>
              <a:gd name="connsiteY1" fmla="*/ 0 h 363338"/>
              <a:gd name="connsiteX2" fmla="*/ 1782518 w 1970242"/>
              <a:gd name="connsiteY2" fmla="*/ 363338 h 363338"/>
              <a:gd name="connsiteX3" fmla="*/ 0 w 1970242"/>
              <a:gd name="connsiteY3" fmla="*/ 363338 h 363338"/>
              <a:gd name="connsiteX4" fmla="*/ 43978 w 1970242"/>
              <a:gd name="connsiteY4" fmla="*/ 0 h 363338"/>
              <a:gd name="connsiteX0" fmla="*/ 0 w 1926264"/>
              <a:gd name="connsiteY0" fmla="*/ 0 h 369620"/>
              <a:gd name="connsiteX1" fmla="*/ 1926264 w 1926264"/>
              <a:gd name="connsiteY1" fmla="*/ 0 h 369620"/>
              <a:gd name="connsiteX2" fmla="*/ 1738540 w 1926264"/>
              <a:gd name="connsiteY2" fmla="*/ 363338 h 369620"/>
              <a:gd name="connsiteX3" fmla="*/ 6284 w 1926264"/>
              <a:gd name="connsiteY3" fmla="*/ 369620 h 369620"/>
              <a:gd name="connsiteX4" fmla="*/ 0 w 1926264"/>
              <a:gd name="connsiteY4" fmla="*/ 0 h 369620"/>
              <a:gd name="connsiteX0" fmla="*/ 6281 w 1932545"/>
              <a:gd name="connsiteY0" fmla="*/ 0 h 369620"/>
              <a:gd name="connsiteX1" fmla="*/ 1932545 w 1932545"/>
              <a:gd name="connsiteY1" fmla="*/ 0 h 369620"/>
              <a:gd name="connsiteX2" fmla="*/ 1744821 w 1932545"/>
              <a:gd name="connsiteY2" fmla="*/ 363338 h 369620"/>
              <a:gd name="connsiteX3" fmla="*/ 0 w 1932545"/>
              <a:gd name="connsiteY3" fmla="*/ 369620 h 369620"/>
              <a:gd name="connsiteX4" fmla="*/ 6281 w 1932545"/>
              <a:gd name="connsiteY4" fmla="*/ 0 h 369620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25132 w 1926264"/>
              <a:gd name="connsiteY3" fmla="*/ 357055 h 363338"/>
              <a:gd name="connsiteX4" fmla="*/ 0 w 1926264"/>
              <a:gd name="connsiteY4" fmla="*/ 0 h 363338"/>
              <a:gd name="connsiteX0" fmla="*/ 12564 w 1938828"/>
              <a:gd name="connsiteY0" fmla="*/ 0 h 363338"/>
              <a:gd name="connsiteX1" fmla="*/ 1938828 w 1938828"/>
              <a:gd name="connsiteY1" fmla="*/ 0 h 363338"/>
              <a:gd name="connsiteX2" fmla="*/ 1751104 w 1938828"/>
              <a:gd name="connsiteY2" fmla="*/ 363338 h 363338"/>
              <a:gd name="connsiteX3" fmla="*/ 0 w 1938828"/>
              <a:gd name="connsiteY3" fmla="*/ 363338 h 363338"/>
              <a:gd name="connsiteX4" fmla="*/ 12564 w 1938828"/>
              <a:gd name="connsiteY4" fmla="*/ 0 h 363338"/>
              <a:gd name="connsiteX0" fmla="*/ 0 w 1926264"/>
              <a:gd name="connsiteY0" fmla="*/ 0 h 369621"/>
              <a:gd name="connsiteX1" fmla="*/ 1926264 w 1926264"/>
              <a:gd name="connsiteY1" fmla="*/ 0 h 369621"/>
              <a:gd name="connsiteX2" fmla="*/ 1738540 w 1926264"/>
              <a:gd name="connsiteY2" fmla="*/ 363338 h 369621"/>
              <a:gd name="connsiteX3" fmla="*/ 6284 w 1926264"/>
              <a:gd name="connsiteY3" fmla="*/ 369621 h 369621"/>
              <a:gd name="connsiteX4" fmla="*/ 0 w 1926264"/>
              <a:gd name="connsiteY4" fmla="*/ 0 h 369621"/>
              <a:gd name="connsiteX0" fmla="*/ 43978 w 1970242"/>
              <a:gd name="connsiteY0" fmla="*/ 0 h 363339"/>
              <a:gd name="connsiteX1" fmla="*/ 1970242 w 1970242"/>
              <a:gd name="connsiteY1" fmla="*/ 0 h 363339"/>
              <a:gd name="connsiteX2" fmla="*/ 1782518 w 1970242"/>
              <a:gd name="connsiteY2" fmla="*/ 363338 h 363339"/>
              <a:gd name="connsiteX3" fmla="*/ 0 w 1970242"/>
              <a:gd name="connsiteY3" fmla="*/ 363339 h 363339"/>
              <a:gd name="connsiteX4" fmla="*/ 43978 w 1970242"/>
              <a:gd name="connsiteY4" fmla="*/ 0 h 363339"/>
              <a:gd name="connsiteX0" fmla="*/ 0 w 1926264"/>
              <a:gd name="connsiteY0" fmla="*/ 0 h 363339"/>
              <a:gd name="connsiteX1" fmla="*/ 1926264 w 1926264"/>
              <a:gd name="connsiteY1" fmla="*/ 0 h 363339"/>
              <a:gd name="connsiteX2" fmla="*/ 1738540 w 1926264"/>
              <a:gd name="connsiteY2" fmla="*/ 363338 h 363339"/>
              <a:gd name="connsiteX3" fmla="*/ 1 w 1926264"/>
              <a:gd name="connsiteY3" fmla="*/ 363339 h 363339"/>
              <a:gd name="connsiteX4" fmla="*/ 0 w 1926264"/>
              <a:gd name="connsiteY4" fmla="*/ 0 h 3633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6264" h="363339">
                <a:moveTo>
                  <a:pt x="0" y="0"/>
                </a:moveTo>
                <a:lnTo>
                  <a:pt x="1926264" y="0"/>
                </a:lnTo>
                <a:lnTo>
                  <a:pt x="1738540" y="363338"/>
                </a:lnTo>
                <a:lnTo>
                  <a:pt x="1" y="363339"/>
                </a:lnTo>
                <a:cubicBezTo>
                  <a:pt x="1" y="242226"/>
                  <a:pt x="0" y="121113"/>
                  <a:pt x="0" y="0"/>
                </a:cubicBezTo>
                <a:close/>
              </a:path>
            </a:pathLst>
          </a:custGeom>
          <a:solidFill>
            <a:schemeClr val="accent1"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4">
            <a:extLst>
              <a:ext uri="{FF2B5EF4-FFF2-40B4-BE49-F238E27FC236}">
                <a16:creationId xmlns:a16="http://schemas.microsoft.com/office/drawing/2014/main" id="{14E7C558-47EA-6745-8113-F2C152948A37}"/>
              </a:ext>
            </a:extLst>
          </p:cNvPr>
          <p:cNvSpPr/>
          <p:nvPr/>
        </p:nvSpPr>
        <p:spPr>
          <a:xfrm>
            <a:off x="8623889" y="1903071"/>
            <a:ext cx="3200944" cy="369332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>
              <a:defRPr/>
            </a:pPr>
            <a:r>
              <a:rPr lang="en-US" dirty="0">
                <a:solidFill>
                  <a:schemeClr val="accent1"/>
                </a:solidFill>
              </a:rPr>
              <a:t>Sustainable efficiency</a:t>
            </a:r>
          </a:p>
        </p:txBody>
      </p:sp>
      <p:sp>
        <p:nvSpPr>
          <p:cNvPr id="38" name="Freeform 37">
            <a:extLst>
              <a:ext uri="{FF2B5EF4-FFF2-40B4-BE49-F238E27FC236}">
                <a16:creationId xmlns:a16="http://schemas.microsoft.com/office/drawing/2014/main" id="{E9B84428-9972-7E42-AAE8-AD22F8A85642}"/>
              </a:ext>
            </a:extLst>
          </p:cNvPr>
          <p:cNvSpPr/>
          <p:nvPr/>
        </p:nvSpPr>
        <p:spPr>
          <a:xfrm>
            <a:off x="1994809" y="1773874"/>
            <a:ext cx="6574361" cy="639289"/>
          </a:xfrm>
          <a:custGeom>
            <a:avLst/>
            <a:gdLst>
              <a:gd name="connsiteX0" fmla="*/ 0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0 w 2676588"/>
              <a:gd name="connsiteY4" fmla="*/ 0 h 363338"/>
              <a:gd name="connsiteX0" fmla="*/ 888545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888545 w 2676588"/>
              <a:gd name="connsiteY4" fmla="*/ 0 h 363338"/>
              <a:gd name="connsiteX0" fmla="*/ 0 w 1788043"/>
              <a:gd name="connsiteY0" fmla="*/ 0 h 363338"/>
              <a:gd name="connsiteX1" fmla="*/ 1788043 w 1788043"/>
              <a:gd name="connsiteY1" fmla="*/ 0 h 363338"/>
              <a:gd name="connsiteX2" fmla="*/ 1600319 w 1788043"/>
              <a:gd name="connsiteY2" fmla="*/ 363338 h 363338"/>
              <a:gd name="connsiteX3" fmla="*/ 0 w 1788043"/>
              <a:gd name="connsiteY3" fmla="*/ 363338 h 363338"/>
              <a:gd name="connsiteX4" fmla="*/ 0 w 1788043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138221 w 1926264"/>
              <a:gd name="connsiteY3" fmla="*/ 363338 h 363338"/>
              <a:gd name="connsiteX4" fmla="*/ 0 w 1926264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6284 w 1926264"/>
              <a:gd name="connsiteY3" fmla="*/ 363338 h 363338"/>
              <a:gd name="connsiteX4" fmla="*/ 0 w 1926264"/>
              <a:gd name="connsiteY4" fmla="*/ 0 h 363338"/>
              <a:gd name="connsiteX0" fmla="*/ 43978 w 1970242"/>
              <a:gd name="connsiteY0" fmla="*/ 0 h 363338"/>
              <a:gd name="connsiteX1" fmla="*/ 1970242 w 1970242"/>
              <a:gd name="connsiteY1" fmla="*/ 0 h 363338"/>
              <a:gd name="connsiteX2" fmla="*/ 1782518 w 1970242"/>
              <a:gd name="connsiteY2" fmla="*/ 363338 h 363338"/>
              <a:gd name="connsiteX3" fmla="*/ 0 w 1970242"/>
              <a:gd name="connsiteY3" fmla="*/ 363338 h 363338"/>
              <a:gd name="connsiteX4" fmla="*/ 43978 w 1970242"/>
              <a:gd name="connsiteY4" fmla="*/ 0 h 363338"/>
              <a:gd name="connsiteX0" fmla="*/ 0 w 1926264"/>
              <a:gd name="connsiteY0" fmla="*/ 0 h 369620"/>
              <a:gd name="connsiteX1" fmla="*/ 1926264 w 1926264"/>
              <a:gd name="connsiteY1" fmla="*/ 0 h 369620"/>
              <a:gd name="connsiteX2" fmla="*/ 1738540 w 1926264"/>
              <a:gd name="connsiteY2" fmla="*/ 363338 h 369620"/>
              <a:gd name="connsiteX3" fmla="*/ 6284 w 1926264"/>
              <a:gd name="connsiteY3" fmla="*/ 369620 h 369620"/>
              <a:gd name="connsiteX4" fmla="*/ 0 w 1926264"/>
              <a:gd name="connsiteY4" fmla="*/ 0 h 369620"/>
              <a:gd name="connsiteX0" fmla="*/ 6281 w 1932545"/>
              <a:gd name="connsiteY0" fmla="*/ 0 h 369620"/>
              <a:gd name="connsiteX1" fmla="*/ 1932545 w 1932545"/>
              <a:gd name="connsiteY1" fmla="*/ 0 h 369620"/>
              <a:gd name="connsiteX2" fmla="*/ 1744821 w 1932545"/>
              <a:gd name="connsiteY2" fmla="*/ 363338 h 369620"/>
              <a:gd name="connsiteX3" fmla="*/ 0 w 1932545"/>
              <a:gd name="connsiteY3" fmla="*/ 369620 h 369620"/>
              <a:gd name="connsiteX4" fmla="*/ 6281 w 1932545"/>
              <a:gd name="connsiteY4" fmla="*/ 0 h 369620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25132 w 1926264"/>
              <a:gd name="connsiteY3" fmla="*/ 357055 h 363338"/>
              <a:gd name="connsiteX4" fmla="*/ 0 w 1926264"/>
              <a:gd name="connsiteY4" fmla="*/ 0 h 363338"/>
              <a:gd name="connsiteX0" fmla="*/ 12564 w 1938828"/>
              <a:gd name="connsiteY0" fmla="*/ 0 h 363338"/>
              <a:gd name="connsiteX1" fmla="*/ 1938828 w 1938828"/>
              <a:gd name="connsiteY1" fmla="*/ 0 h 363338"/>
              <a:gd name="connsiteX2" fmla="*/ 1751104 w 1938828"/>
              <a:gd name="connsiteY2" fmla="*/ 363338 h 363338"/>
              <a:gd name="connsiteX3" fmla="*/ 0 w 1938828"/>
              <a:gd name="connsiteY3" fmla="*/ 363338 h 363338"/>
              <a:gd name="connsiteX4" fmla="*/ 12564 w 1938828"/>
              <a:gd name="connsiteY4" fmla="*/ 0 h 363338"/>
              <a:gd name="connsiteX0" fmla="*/ 0 w 1926264"/>
              <a:gd name="connsiteY0" fmla="*/ 0 h 369621"/>
              <a:gd name="connsiteX1" fmla="*/ 1926264 w 1926264"/>
              <a:gd name="connsiteY1" fmla="*/ 0 h 369621"/>
              <a:gd name="connsiteX2" fmla="*/ 1738540 w 1926264"/>
              <a:gd name="connsiteY2" fmla="*/ 363338 h 369621"/>
              <a:gd name="connsiteX3" fmla="*/ 6284 w 1926264"/>
              <a:gd name="connsiteY3" fmla="*/ 369621 h 369621"/>
              <a:gd name="connsiteX4" fmla="*/ 0 w 1926264"/>
              <a:gd name="connsiteY4" fmla="*/ 0 h 369621"/>
              <a:gd name="connsiteX0" fmla="*/ 43978 w 1970242"/>
              <a:gd name="connsiteY0" fmla="*/ 0 h 363339"/>
              <a:gd name="connsiteX1" fmla="*/ 1970242 w 1970242"/>
              <a:gd name="connsiteY1" fmla="*/ 0 h 363339"/>
              <a:gd name="connsiteX2" fmla="*/ 1782518 w 1970242"/>
              <a:gd name="connsiteY2" fmla="*/ 363338 h 363339"/>
              <a:gd name="connsiteX3" fmla="*/ 0 w 1970242"/>
              <a:gd name="connsiteY3" fmla="*/ 363339 h 363339"/>
              <a:gd name="connsiteX4" fmla="*/ 43978 w 1970242"/>
              <a:gd name="connsiteY4" fmla="*/ 0 h 363339"/>
              <a:gd name="connsiteX0" fmla="*/ 0 w 1926264"/>
              <a:gd name="connsiteY0" fmla="*/ 0 h 363339"/>
              <a:gd name="connsiteX1" fmla="*/ 1926264 w 1926264"/>
              <a:gd name="connsiteY1" fmla="*/ 0 h 363339"/>
              <a:gd name="connsiteX2" fmla="*/ 1738540 w 1926264"/>
              <a:gd name="connsiteY2" fmla="*/ 363338 h 363339"/>
              <a:gd name="connsiteX3" fmla="*/ 1 w 1926264"/>
              <a:gd name="connsiteY3" fmla="*/ 363339 h 363339"/>
              <a:gd name="connsiteX4" fmla="*/ 0 w 1926264"/>
              <a:gd name="connsiteY4" fmla="*/ 0 h 363339"/>
              <a:gd name="connsiteX0" fmla="*/ 0 w 3440015"/>
              <a:gd name="connsiteY0" fmla="*/ 0 h 363339"/>
              <a:gd name="connsiteX1" fmla="*/ 3440015 w 3440015"/>
              <a:gd name="connsiteY1" fmla="*/ 0 h 363339"/>
              <a:gd name="connsiteX2" fmla="*/ 3252291 w 3440015"/>
              <a:gd name="connsiteY2" fmla="*/ 363338 h 363339"/>
              <a:gd name="connsiteX3" fmla="*/ 1513752 w 3440015"/>
              <a:gd name="connsiteY3" fmla="*/ 363339 h 363339"/>
              <a:gd name="connsiteX4" fmla="*/ 0 w 3440015"/>
              <a:gd name="connsiteY4" fmla="*/ 0 h 363339"/>
              <a:gd name="connsiteX0" fmla="*/ 0 w 3440015"/>
              <a:gd name="connsiteY0" fmla="*/ 0 h 363339"/>
              <a:gd name="connsiteX1" fmla="*/ 3440015 w 3440015"/>
              <a:gd name="connsiteY1" fmla="*/ 0 h 363339"/>
              <a:gd name="connsiteX2" fmla="*/ 3252291 w 3440015"/>
              <a:gd name="connsiteY2" fmla="*/ 363338 h 363339"/>
              <a:gd name="connsiteX3" fmla="*/ 1 w 3440015"/>
              <a:gd name="connsiteY3" fmla="*/ 363339 h 363339"/>
              <a:gd name="connsiteX4" fmla="*/ 0 w 3440015"/>
              <a:gd name="connsiteY4" fmla="*/ 0 h 363339"/>
              <a:gd name="connsiteX0" fmla="*/ 0 w 3440015"/>
              <a:gd name="connsiteY0" fmla="*/ 0 h 363339"/>
              <a:gd name="connsiteX1" fmla="*/ 3440015 w 3440015"/>
              <a:gd name="connsiteY1" fmla="*/ 0 h 363339"/>
              <a:gd name="connsiteX2" fmla="*/ 3252291 w 3440015"/>
              <a:gd name="connsiteY2" fmla="*/ 363338 h 363339"/>
              <a:gd name="connsiteX3" fmla="*/ 192223 w 3440015"/>
              <a:gd name="connsiteY3" fmla="*/ 363339 h 363339"/>
              <a:gd name="connsiteX4" fmla="*/ 0 w 3440015"/>
              <a:gd name="connsiteY4" fmla="*/ 0 h 363339"/>
              <a:gd name="connsiteX0" fmla="*/ 0 w 3247793"/>
              <a:gd name="connsiteY0" fmla="*/ 0 h 363339"/>
              <a:gd name="connsiteX1" fmla="*/ 3247793 w 3247793"/>
              <a:gd name="connsiteY1" fmla="*/ 0 h 363339"/>
              <a:gd name="connsiteX2" fmla="*/ 3060069 w 3247793"/>
              <a:gd name="connsiteY2" fmla="*/ 363338 h 363339"/>
              <a:gd name="connsiteX3" fmla="*/ 1 w 3247793"/>
              <a:gd name="connsiteY3" fmla="*/ 363339 h 363339"/>
              <a:gd name="connsiteX4" fmla="*/ 0 w 3247793"/>
              <a:gd name="connsiteY4" fmla="*/ 0 h 3633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47793" h="363339">
                <a:moveTo>
                  <a:pt x="0" y="0"/>
                </a:moveTo>
                <a:lnTo>
                  <a:pt x="3247793" y="0"/>
                </a:lnTo>
                <a:lnTo>
                  <a:pt x="3060069" y="363338"/>
                </a:lnTo>
                <a:lnTo>
                  <a:pt x="1" y="363339"/>
                </a:lnTo>
                <a:cubicBezTo>
                  <a:pt x="1" y="242226"/>
                  <a:pt x="0" y="121113"/>
                  <a:pt x="0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 29">
            <a:extLst>
              <a:ext uri="{FF2B5EF4-FFF2-40B4-BE49-F238E27FC236}">
                <a16:creationId xmlns:a16="http://schemas.microsoft.com/office/drawing/2014/main" id="{32275BAE-FBD2-734D-88BB-272872820975}"/>
              </a:ext>
            </a:extLst>
          </p:cNvPr>
          <p:cNvSpPr/>
          <p:nvPr/>
        </p:nvSpPr>
        <p:spPr>
          <a:xfrm>
            <a:off x="1995237" y="1907466"/>
            <a:ext cx="633986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NVIROCRON</a:t>
            </a:r>
            <a:r>
              <a:rPr kumimoji="0" lang="en-GB" sz="1800" b="0" i="0" u="none" strike="noStrike" kern="1200" cap="none" spc="0" normalizeH="0" baseline="3000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®</a:t>
            </a: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lang="en-US" b="1" dirty="0">
                <a:solidFill>
                  <a:prstClr val="white"/>
                </a:solidFill>
              </a:rPr>
              <a:t>ENERGX</a:t>
            </a:r>
            <a:r>
              <a:rPr lang="en-US" b="1" baseline="30000" dirty="0">
                <a:solidFill>
                  <a:prstClr val="white"/>
                </a:solidFill>
              </a:rPr>
              <a:t>TM</a:t>
            </a:r>
            <a:r>
              <a:rPr lang="en-US" dirty="0">
                <a:solidFill>
                  <a:prstClr val="white"/>
                </a:solidFill>
              </a:rPr>
              <a:t> </a:t>
            </a:r>
            <a:r>
              <a:rPr lang="en-US" b="1" dirty="0">
                <a:solidFill>
                  <a:prstClr val="white"/>
                </a:solidFill>
              </a:rPr>
              <a:t>ULTRA</a:t>
            </a:r>
            <a:r>
              <a:rPr lang="en-US" dirty="0">
                <a:solidFill>
                  <a:prstClr val="white"/>
                </a:solidFill>
              </a:rPr>
              <a:t> Ultradurable Low Bake</a:t>
            </a:r>
          </a:p>
        </p:txBody>
      </p:sp>
      <p:sp>
        <p:nvSpPr>
          <p:cNvPr id="40" name="Freeform 39">
            <a:extLst>
              <a:ext uri="{FF2B5EF4-FFF2-40B4-BE49-F238E27FC236}">
                <a16:creationId xmlns:a16="http://schemas.microsoft.com/office/drawing/2014/main" id="{7255339F-4FD4-E242-83DC-1F70805B19DD}"/>
              </a:ext>
            </a:extLst>
          </p:cNvPr>
          <p:cNvSpPr/>
          <p:nvPr/>
        </p:nvSpPr>
        <p:spPr>
          <a:xfrm rot="10800000">
            <a:off x="7313176" y="2518404"/>
            <a:ext cx="3711684" cy="643471"/>
          </a:xfrm>
          <a:custGeom>
            <a:avLst/>
            <a:gdLst>
              <a:gd name="connsiteX0" fmla="*/ 0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0 w 2676588"/>
              <a:gd name="connsiteY4" fmla="*/ 0 h 363338"/>
              <a:gd name="connsiteX0" fmla="*/ 888545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888545 w 2676588"/>
              <a:gd name="connsiteY4" fmla="*/ 0 h 363338"/>
              <a:gd name="connsiteX0" fmla="*/ 0 w 1788043"/>
              <a:gd name="connsiteY0" fmla="*/ 0 h 363338"/>
              <a:gd name="connsiteX1" fmla="*/ 1788043 w 1788043"/>
              <a:gd name="connsiteY1" fmla="*/ 0 h 363338"/>
              <a:gd name="connsiteX2" fmla="*/ 1600319 w 1788043"/>
              <a:gd name="connsiteY2" fmla="*/ 363338 h 363338"/>
              <a:gd name="connsiteX3" fmla="*/ 0 w 1788043"/>
              <a:gd name="connsiteY3" fmla="*/ 363338 h 363338"/>
              <a:gd name="connsiteX4" fmla="*/ 0 w 1788043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138221 w 1926264"/>
              <a:gd name="connsiteY3" fmla="*/ 363338 h 363338"/>
              <a:gd name="connsiteX4" fmla="*/ 0 w 1926264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6284 w 1926264"/>
              <a:gd name="connsiteY3" fmla="*/ 363338 h 363338"/>
              <a:gd name="connsiteX4" fmla="*/ 0 w 1926264"/>
              <a:gd name="connsiteY4" fmla="*/ 0 h 363338"/>
              <a:gd name="connsiteX0" fmla="*/ 43978 w 1970242"/>
              <a:gd name="connsiteY0" fmla="*/ 0 h 363338"/>
              <a:gd name="connsiteX1" fmla="*/ 1970242 w 1970242"/>
              <a:gd name="connsiteY1" fmla="*/ 0 h 363338"/>
              <a:gd name="connsiteX2" fmla="*/ 1782518 w 1970242"/>
              <a:gd name="connsiteY2" fmla="*/ 363338 h 363338"/>
              <a:gd name="connsiteX3" fmla="*/ 0 w 1970242"/>
              <a:gd name="connsiteY3" fmla="*/ 363338 h 363338"/>
              <a:gd name="connsiteX4" fmla="*/ 43978 w 1970242"/>
              <a:gd name="connsiteY4" fmla="*/ 0 h 363338"/>
              <a:gd name="connsiteX0" fmla="*/ 0 w 1926264"/>
              <a:gd name="connsiteY0" fmla="*/ 0 h 369620"/>
              <a:gd name="connsiteX1" fmla="*/ 1926264 w 1926264"/>
              <a:gd name="connsiteY1" fmla="*/ 0 h 369620"/>
              <a:gd name="connsiteX2" fmla="*/ 1738540 w 1926264"/>
              <a:gd name="connsiteY2" fmla="*/ 363338 h 369620"/>
              <a:gd name="connsiteX3" fmla="*/ 6284 w 1926264"/>
              <a:gd name="connsiteY3" fmla="*/ 369620 h 369620"/>
              <a:gd name="connsiteX4" fmla="*/ 0 w 1926264"/>
              <a:gd name="connsiteY4" fmla="*/ 0 h 369620"/>
              <a:gd name="connsiteX0" fmla="*/ 6281 w 1932545"/>
              <a:gd name="connsiteY0" fmla="*/ 0 h 369620"/>
              <a:gd name="connsiteX1" fmla="*/ 1932545 w 1932545"/>
              <a:gd name="connsiteY1" fmla="*/ 0 h 369620"/>
              <a:gd name="connsiteX2" fmla="*/ 1744821 w 1932545"/>
              <a:gd name="connsiteY2" fmla="*/ 363338 h 369620"/>
              <a:gd name="connsiteX3" fmla="*/ 0 w 1932545"/>
              <a:gd name="connsiteY3" fmla="*/ 369620 h 369620"/>
              <a:gd name="connsiteX4" fmla="*/ 6281 w 1932545"/>
              <a:gd name="connsiteY4" fmla="*/ 0 h 369620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25132 w 1926264"/>
              <a:gd name="connsiteY3" fmla="*/ 357055 h 363338"/>
              <a:gd name="connsiteX4" fmla="*/ 0 w 1926264"/>
              <a:gd name="connsiteY4" fmla="*/ 0 h 363338"/>
              <a:gd name="connsiteX0" fmla="*/ 12564 w 1938828"/>
              <a:gd name="connsiteY0" fmla="*/ 0 h 363338"/>
              <a:gd name="connsiteX1" fmla="*/ 1938828 w 1938828"/>
              <a:gd name="connsiteY1" fmla="*/ 0 h 363338"/>
              <a:gd name="connsiteX2" fmla="*/ 1751104 w 1938828"/>
              <a:gd name="connsiteY2" fmla="*/ 363338 h 363338"/>
              <a:gd name="connsiteX3" fmla="*/ 0 w 1938828"/>
              <a:gd name="connsiteY3" fmla="*/ 363338 h 363338"/>
              <a:gd name="connsiteX4" fmla="*/ 12564 w 1938828"/>
              <a:gd name="connsiteY4" fmla="*/ 0 h 363338"/>
              <a:gd name="connsiteX0" fmla="*/ 0 w 1926264"/>
              <a:gd name="connsiteY0" fmla="*/ 0 h 369621"/>
              <a:gd name="connsiteX1" fmla="*/ 1926264 w 1926264"/>
              <a:gd name="connsiteY1" fmla="*/ 0 h 369621"/>
              <a:gd name="connsiteX2" fmla="*/ 1738540 w 1926264"/>
              <a:gd name="connsiteY2" fmla="*/ 363338 h 369621"/>
              <a:gd name="connsiteX3" fmla="*/ 6284 w 1926264"/>
              <a:gd name="connsiteY3" fmla="*/ 369621 h 369621"/>
              <a:gd name="connsiteX4" fmla="*/ 0 w 1926264"/>
              <a:gd name="connsiteY4" fmla="*/ 0 h 369621"/>
              <a:gd name="connsiteX0" fmla="*/ 43978 w 1970242"/>
              <a:gd name="connsiteY0" fmla="*/ 0 h 363339"/>
              <a:gd name="connsiteX1" fmla="*/ 1970242 w 1970242"/>
              <a:gd name="connsiteY1" fmla="*/ 0 h 363339"/>
              <a:gd name="connsiteX2" fmla="*/ 1782518 w 1970242"/>
              <a:gd name="connsiteY2" fmla="*/ 363338 h 363339"/>
              <a:gd name="connsiteX3" fmla="*/ 0 w 1970242"/>
              <a:gd name="connsiteY3" fmla="*/ 363339 h 363339"/>
              <a:gd name="connsiteX4" fmla="*/ 43978 w 1970242"/>
              <a:gd name="connsiteY4" fmla="*/ 0 h 363339"/>
              <a:gd name="connsiteX0" fmla="*/ 0 w 1926264"/>
              <a:gd name="connsiteY0" fmla="*/ 0 h 363339"/>
              <a:gd name="connsiteX1" fmla="*/ 1926264 w 1926264"/>
              <a:gd name="connsiteY1" fmla="*/ 0 h 363339"/>
              <a:gd name="connsiteX2" fmla="*/ 1738540 w 1926264"/>
              <a:gd name="connsiteY2" fmla="*/ 363338 h 363339"/>
              <a:gd name="connsiteX3" fmla="*/ 1 w 1926264"/>
              <a:gd name="connsiteY3" fmla="*/ 363339 h 363339"/>
              <a:gd name="connsiteX4" fmla="*/ 0 w 1926264"/>
              <a:gd name="connsiteY4" fmla="*/ 0 h 3633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6264" h="363339">
                <a:moveTo>
                  <a:pt x="0" y="0"/>
                </a:moveTo>
                <a:lnTo>
                  <a:pt x="1926264" y="0"/>
                </a:lnTo>
                <a:lnTo>
                  <a:pt x="1738540" y="363338"/>
                </a:lnTo>
                <a:lnTo>
                  <a:pt x="1" y="363339"/>
                </a:lnTo>
                <a:cubicBezTo>
                  <a:pt x="1" y="242226"/>
                  <a:pt x="0" y="121113"/>
                  <a:pt x="0" y="0"/>
                </a:cubicBezTo>
                <a:close/>
              </a:path>
            </a:pathLst>
          </a:custGeom>
          <a:solidFill>
            <a:schemeClr val="accent2"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 34">
            <a:extLst>
              <a:ext uri="{FF2B5EF4-FFF2-40B4-BE49-F238E27FC236}">
                <a16:creationId xmlns:a16="http://schemas.microsoft.com/office/drawing/2014/main" id="{4D2DE6CC-C648-1B40-AA87-E98CF9BA612E}"/>
              </a:ext>
            </a:extLst>
          </p:cNvPr>
          <p:cNvSpPr/>
          <p:nvPr/>
        </p:nvSpPr>
        <p:spPr>
          <a:xfrm>
            <a:off x="8623889" y="2651729"/>
            <a:ext cx="3200944" cy="369332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>
              <a:defRPr/>
            </a:pPr>
            <a:r>
              <a:rPr lang="en-US" dirty="0">
                <a:solidFill>
                  <a:schemeClr val="accent2"/>
                </a:solidFill>
              </a:rPr>
              <a:t>Product lifetime</a:t>
            </a:r>
          </a:p>
        </p:txBody>
      </p:sp>
      <p:sp>
        <p:nvSpPr>
          <p:cNvPr id="42" name="Freeform 41">
            <a:extLst>
              <a:ext uri="{FF2B5EF4-FFF2-40B4-BE49-F238E27FC236}">
                <a16:creationId xmlns:a16="http://schemas.microsoft.com/office/drawing/2014/main" id="{98ADADA5-2ABC-514D-A300-0EBD299C0E4D}"/>
              </a:ext>
            </a:extLst>
          </p:cNvPr>
          <p:cNvSpPr/>
          <p:nvPr/>
        </p:nvSpPr>
        <p:spPr>
          <a:xfrm>
            <a:off x="1994809" y="2518257"/>
            <a:ext cx="6574361" cy="644051"/>
          </a:xfrm>
          <a:custGeom>
            <a:avLst/>
            <a:gdLst>
              <a:gd name="connsiteX0" fmla="*/ 0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0 w 2676588"/>
              <a:gd name="connsiteY4" fmla="*/ 0 h 363338"/>
              <a:gd name="connsiteX0" fmla="*/ 888545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888545 w 2676588"/>
              <a:gd name="connsiteY4" fmla="*/ 0 h 363338"/>
              <a:gd name="connsiteX0" fmla="*/ 0 w 1788043"/>
              <a:gd name="connsiteY0" fmla="*/ 0 h 363338"/>
              <a:gd name="connsiteX1" fmla="*/ 1788043 w 1788043"/>
              <a:gd name="connsiteY1" fmla="*/ 0 h 363338"/>
              <a:gd name="connsiteX2" fmla="*/ 1600319 w 1788043"/>
              <a:gd name="connsiteY2" fmla="*/ 363338 h 363338"/>
              <a:gd name="connsiteX3" fmla="*/ 0 w 1788043"/>
              <a:gd name="connsiteY3" fmla="*/ 363338 h 363338"/>
              <a:gd name="connsiteX4" fmla="*/ 0 w 1788043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138221 w 1926264"/>
              <a:gd name="connsiteY3" fmla="*/ 363338 h 363338"/>
              <a:gd name="connsiteX4" fmla="*/ 0 w 1926264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6284 w 1926264"/>
              <a:gd name="connsiteY3" fmla="*/ 363338 h 363338"/>
              <a:gd name="connsiteX4" fmla="*/ 0 w 1926264"/>
              <a:gd name="connsiteY4" fmla="*/ 0 h 363338"/>
              <a:gd name="connsiteX0" fmla="*/ 43978 w 1970242"/>
              <a:gd name="connsiteY0" fmla="*/ 0 h 363338"/>
              <a:gd name="connsiteX1" fmla="*/ 1970242 w 1970242"/>
              <a:gd name="connsiteY1" fmla="*/ 0 h 363338"/>
              <a:gd name="connsiteX2" fmla="*/ 1782518 w 1970242"/>
              <a:gd name="connsiteY2" fmla="*/ 363338 h 363338"/>
              <a:gd name="connsiteX3" fmla="*/ 0 w 1970242"/>
              <a:gd name="connsiteY3" fmla="*/ 363338 h 363338"/>
              <a:gd name="connsiteX4" fmla="*/ 43978 w 1970242"/>
              <a:gd name="connsiteY4" fmla="*/ 0 h 363338"/>
              <a:gd name="connsiteX0" fmla="*/ 0 w 1926264"/>
              <a:gd name="connsiteY0" fmla="*/ 0 h 369620"/>
              <a:gd name="connsiteX1" fmla="*/ 1926264 w 1926264"/>
              <a:gd name="connsiteY1" fmla="*/ 0 h 369620"/>
              <a:gd name="connsiteX2" fmla="*/ 1738540 w 1926264"/>
              <a:gd name="connsiteY2" fmla="*/ 363338 h 369620"/>
              <a:gd name="connsiteX3" fmla="*/ 6284 w 1926264"/>
              <a:gd name="connsiteY3" fmla="*/ 369620 h 369620"/>
              <a:gd name="connsiteX4" fmla="*/ 0 w 1926264"/>
              <a:gd name="connsiteY4" fmla="*/ 0 h 369620"/>
              <a:gd name="connsiteX0" fmla="*/ 6281 w 1932545"/>
              <a:gd name="connsiteY0" fmla="*/ 0 h 369620"/>
              <a:gd name="connsiteX1" fmla="*/ 1932545 w 1932545"/>
              <a:gd name="connsiteY1" fmla="*/ 0 h 369620"/>
              <a:gd name="connsiteX2" fmla="*/ 1744821 w 1932545"/>
              <a:gd name="connsiteY2" fmla="*/ 363338 h 369620"/>
              <a:gd name="connsiteX3" fmla="*/ 0 w 1932545"/>
              <a:gd name="connsiteY3" fmla="*/ 369620 h 369620"/>
              <a:gd name="connsiteX4" fmla="*/ 6281 w 1932545"/>
              <a:gd name="connsiteY4" fmla="*/ 0 h 369620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25132 w 1926264"/>
              <a:gd name="connsiteY3" fmla="*/ 357055 h 363338"/>
              <a:gd name="connsiteX4" fmla="*/ 0 w 1926264"/>
              <a:gd name="connsiteY4" fmla="*/ 0 h 363338"/>
              <a:gd name="connsiteX0" fmla="*/ 12564 w 1938828"/>
              <a:gd name="connsiteY0" fmla="*/ 0 h 363338"/>
              <a:gd name="connsiteX1" fmla="*/ 1938828 w 1938828"/>
              <a:gd name="connsiteY1" fmla="*/ 0 h 363338"/>
              <a:gd name="connsiteX2" fmla="*/ 1751104 w 1938828"/>
              <a:gd name="connsiteY2" fmla="*/ 363338 h 363338"/>
              <a:gd name="connsiteX3" fmla="*/ 0 w 1938828"/>
              <a:gd name="connsiteY3" fmla="*/ 363338 h 363338"/>
              <a:gd name="connsiteX4" fmla="*/ 12564 w 1938828"/>
              <a:gd name="connsiteY4" fmla="*/ 0 h 363338"/>
              <a:gd name="connsiteX0" fmla="*/ 0 w 1926264"/>
              <a:gd name="connsiteY0" fmla="*/ 0 h 369621"/>
              <a:gd name="connsiteX1" fmla="*/ 1926264 w 1926264"/>
              <a:gd name="connsiteY1" fmla="*/ 0 h 369621"/>
              <a:gd name="connsiteX2" fmla="*/ 1738540 w 1926264"/>
              <a:gd name="connsiteY2" fmla="*/ 363338 h 369621"/>
              <a:gd name="connsiteX3" fmla="*/ 6284 w 1926264"/>
              <a:gd name="connsiteY3" fmla="*/ 369621 h 369621"/>
              <a:gd name="connsiteX4" fmla="*/ 0 w 1926264"/>
              <a:gd name="connsiteY4" fmla="*/ 0 h 369621"/>
              <a:gd name="connsiteX0" fmla="*/ 43978 w 1970242"/>
              <a:gd name="connsiteY0" fmla="*/ 0 h 363339"/>
              <a:gd name="connsiteX1" fmla="*/ 1970242 w 1970242"/>
              <a:gd name="connsiteY1" fmla="*/ 0 h 363339"/>
              <a:gd name="connsiteX2" fmla="*/ 1782518 w 1970242"/>
              <a:gd name="connsiteY2" fmla="*/ 363338 h 363339"/>
              <a:gd name="connsiteX3" fmla="*/ 0 w 1970242"/>
              <a:gd name="connsiteY3" fmla="*/ 363339 h 363339"/>
              <a:gd name="connsiteX4" fmla="*/ 43978 w 1970242"/>
              <a:gd name="connsiteY4" fmla="*/ 0 h 363339"/>
              <a:gd name="connsiteX0" fmla="*/ 0 w 1926264"/>
              <a:gd name="connsiteY0" fmla="*/ 0 h 363339"/>
              <a:gd name="connsiteX1" fmla="*/ 1926264 w 1926264"/>
              <a:gd name="connsiteY1" fmla="*/ 0 h 363339"/>
              <a:gd name="connsiteX2" fmla="*/ 1738540 w 1926264"/>
              <a:gd name="connsiteY2" fmla="*/ 363338 h 363339"/>
              <a:gd name="connsiteX3" fmla="*/ 1 w 1926264"/>
              <a:gd name="connsiteY3" fmla="*/ 363339 h 363339"/>
              <a:gd name="connsiteX4" fmla="*/ 0 w 1926264"/>
              <a:gd name="connsiteY4" fmla="*/ 0 h 363339"/>
              <a:gd name="connsiteX0" fmla="*/ 0 w 3440015"/>
              <a:gd name="connsiteY0" fmla="*/ 0 h 363339"/>
              <a:gd name="connsiteX1" fmla="*/ 3440015 w 3440015"/>
              <a:gd name="connsiteY1" fmla="*/ 0 h 363339"/>
              <a:gd name="connsiteX2" fmla="*/ 3252291 w 3440015"/>
              <a:gd name="connsiteY2" fmla="*/ 363338 h 363339"/>
              <a:gd name="connsiteX3" fmla="*/ 1513752 w 3440015"/>
              <a:gd name="connsiteY3" fmla="*/ 363339 h 363339"/>
              <a:gd name="connsiteX4" fmla="*/ 0 w 3440015"/>
              <a:gd name="connsiteY4" fmla="*/ 0 h 363339"/>
              <a:gd name="connsiteX0" fmla="*/ 0 w 3440015"/>
              <a:gd name="connsiteY0" fmla="*/ 0 h 363339"/>
              <a:gd name="connsiteX1" fmla="*/ 3440015 w 3440015"/>
              <a:gd name="connsiteY1" fmla="*/ 0 h 363339"/>
              <a:gd name="connsiteX2" fmla="*/ 3252291 w 3440015"/>
              <a:gd name="connsiteY2" fmla="*/ 363338 h 363339"/>
              <a:gd name="connsiteX3" fmla="*/ 1 w 3440015"/>
              <a:gd name="connsiteY3" fmla="*/ 363339 h 363339"/>
              <a:gd name="connsiteX4" fmla="*/ 0 w 3440015"/>
              <a:gd name="connsiteY4" fmla="*/ 0 h 363339"/>
              <a:gd name="connsiteX0" fmla="*/ 0 w 3440015"/>
              <a:gd name="connsiteY0" fmla="*/ 0 h 363339"/>
              <a:gd name="connsiteX1" fmla="*/ 3440015 w 3440015"/>
              <a:gd name="connsiteY1" fmla="*/ 0 h 363339"/>
              <a:gd name="connsiteX2" fmla="*/ 3252291 w 3440015"/>
              <a:gd name="connsiteY2" fmla="*/ 363338 h 363339"/>
              <a:gd name="connsiteX3" fmla="*/ 192223 w 3440015"/>
              <a:gd name="connsiteY3" fmla="*/ 363339 h 363339"/>
              <a:gd name="connsiteX4" fmla="*/ 0 w 3440015"/>
              <a:gd name="connsiteY4" fmla="*/ 0 h 363339"/>
              <a:gd name="connsiteX0" fmla="*/ 0 w 3247793"/>
              <a:gd name="connsiteY0" fmla="*/ 0 h 363339"/>
              <a:gd name="connsiteX1" fmla="*/ 3247793 w 3247793"/>
              <a:gd name="connsiteY1" fmla="*/ 0 h 363339"/>
              <a:gd name="connsiteX2" fmla="*/ 3060069 w 3247793"/>
              <a:gd name="connsiteY2" fmla="*/ 363338 h 363339"/>
              <a:gd name="connsiteX3" fmla="*/ 1 w 3247793"/>
              <a:gd name="connsiteY3" fmla="*/ 363339 h 363339"/>
              <a:gd name="connsiteX4" fmla="*/ 0 w 3247793"/>
              <a:gd name="connsiteY4" fmla="*/ 0 h 363339"/>
              <a:gd name="connsiteX0" fmla="*/ 0 w 3247793"/>
              <a:gd name="connsiteY0" fmla="*/ 0 h 367713"/>
              <a:gd name="connsiteX1" fmla="*/ 3247793 w 3247793"/>
              <a:gd name="connsiteY1" fmla="*/ 0 h 367713"/>
              <a:gd name="connsiteX2" fmla="*/ 3060069 w 3247793"/>
              <a:gd name="connsiteY2" fmla="*/ 367713 h 367713"/>
              <a:gd name="connsiteX3" fmla="*/ 1 w 3247793"/>
              <a:gd name="connsiteY3" fmla="*/ 363339 h 367713"/>
              <a:gd name="connsiteX4" fmla="*/ 0 w 3247793"/>
              <a:gd name="connsiteY4" fmla="*/ 0 h 367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47793" h="367713">
                <a:moveTo>
                  <a:pt x="0" y="0"/>
                </a:moveTo>
                <a:lnTo>
                  <a:pt x="3247793" y="0"/>
                </a:lnTo>
                <a:lnTo>
                  <a:pt x="3060069" y="367713"/>
                </a:lnTo>
                <a:lnTo>
                  <a:pt x="1" y="363339"/>
                </a:lnTo>
                <a:cubicBezTo>
                  <a:pt x="1" y="242226"/>
                  <a:pt x="0" y="121113"/>
                  <a:pt x="0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Rectangle 29">
            <a:extLst>
              <a:ext uri="{FF2B5EF4-FFF2-40B4-BE49-F238E27FC236}">
                <a16:creationId xmlns:a16="http://schemas.microsoft.com/office/drawing/2014/main" id="{CCB92647-99EF-FF48-B6EC-0F866F4A17D0}"/>
              </a:ext>
            </a:extLst>
          </p:cNvPr>
          <p:cNvSpPr/>
          <p:nvPr/>
        </p:nvSpPr>
        <p:spPr>
          <a:xfrm>
            <a:off x="1995238" y="2656124"/>
            <a:ext cx="575656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NVIROCRON</a:t>
            </a:r>
            <a:r>
              <a:rPr kumimoji="0" lang="en-US" b="1" i="0" u="none" strike="noStrike" kern="120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® </a:t>
            </a: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XMR  </a:t>
            </a:r>
            <a:r>
              <a:rPr lang="en-US" dirty="0">
                <a:solidFill>
                  <a:prstClr val="white"/>
                </a:solidFill>
              </a:rPr>
              <a:t>Extreme Mar Resistance</a:t>
            </a:r>
          </a:p>
        </p:txBody>
      </p:sp>
      <p:sp>
        <p:nvSpPr>
          <p:cNvPr id="44" name="Freeform 43">
            <a:extLst>
              <a:ext uri="{FF2B5EF4-FFF2-40B4-BE49-F238E27FC236}">
                <a16:creationId xmlns:a16="http://schemas.microsoft.com/office/drawing/2014/main" id="{590ADAF2-2A29-694B-9989-F3EF8098643F}"/>
              </a:ext>
            </a:extLst>
          </p:cNvPr>
          <p:cNvSpPr/>
          <p:nvPr/>
        </p:nvSpPr>
        <p:spPr>
          <a:xfrm rot="10800000">
            <a:off x="7313176" y="3268588"/>
            <a:ext cx="3711684" cy="643471"/>
          </a:xfrm>
          <a:custGeom>
            <a:avLst/>
            <a:gdLst>
              <a:gd name="connsiteX0" fmla="*/ 0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0 w 2676588"/>
              <a:gd name="connsiteY4" fmla="*/ 0 h 363338"/>
              <a:gd name="connsiteX0" fmla="*/ 888545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888545 w 2676588"/>
              <a:gd name="connsiteY4" fmla="*/ 0 h 363338"/>
              <a:gd name="connsiteX0" fmla="*/ 0 w 1788043"/>
              <a:gd name="connsiteY0" fmla="*/ 0 h 363338"/>
              <a:gd name="connsiteX1" fmla="*/ 1788043 w 1788043"/>
              <a:gd name="connsiteY1" fmla="*/ 0 h 363338"/>
              <a:gd name="connsiteX2" fmla="*/ 1600319 w 1788043"/>
              <a:gd name="connsiteY2" fmla="*/ 363338 h 363338"/>
              <a:gd name="connsiteX3" fmla="*/ 0 w 1788043"/>
              <a:gd name="connsiteY3" fmla="*/ 363338 h 363338"/>
              <a:gd name="connsiteX4" fmla="*/ 0 w 1788043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138221 w 1926264"/>
              <a:gd name="connsiteY3" fmla="*/ 363338 h 363338"/>
              <a:gd name="connsiteX4" fmla="*/ 0 w 1926264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6284 w 1926264"/>
              <a:gd name="connsiteY3" fmla="*/ 363338 h 363338"/>
              <a:gd name="connsiteX4" fmla="*/ 0 w 1926264"/>
              <a:gd name="connsiteY4" fmla="*/ 0 h 363338"/>
              <a:gd name="connsiteX0" fmla="*/ 43978 w 1970242"/>
              <a:gd name="connsiteY0" fmla="*/ 0 h 363338"/>
              <a:gd name="connsiteX1" fmla="*/ 1970242 w 1970242"/>
              <a:gd name="connsiteY1" fmla="*/ 0 h 363338"/>
              <a:gd name="connsiteX2" fmla="*/ 1782518 w 1970242"/>
              <a:gd name="connsiteY2" fmla="*/ 363338 h 363338"/>
              <a:gd name="connsiteX3" fmla="*/ 0 w 1970242"/>
              <a:gd name="connsiteY3" fmla="*/ 363338 h 363338"/>
              <a:gd name="connsiteX4" fmla="*/ 43978 w 1970242"/>
              <a:gd name="connsiteY4" fmla="*/ 0 h 363338"/>
              <a:gd name="connsiteX0" fmla="*/ 0 w 1926264"/>
              <a:gd name="connsiteY0" fmla="*/ 0 h 369620"/>
              <a:gd name="connsiteX1" fmla="*/ 1926264 w 1926264"/>
              <a:gd name="connsiteY1" fmla="*/ 0 h 369620"/>
              <a:gd name="connsiteX2" fmla="*/ 1738540 w 1926264"/>
              <a:gd name="connsiteY2" fmla="*/ 363338 h 369620"/>
              <a:gd name="connsiteX3" fmla="*/ 6284 w 1926264"/>
              <a:gd name="connsiteY3" fmla="*/ 369620 h 369620"/>
              <a:gd name="connsiteX4" fmla="*/ 0 w 1926264"/>
              <a:gd name="connsiteY4" fmla="*/ 0 h 369620"/>
              <a:gd name="connsiteX0" fmla="*/ 6281 w 1932545"/>
              <a:gd name="connsiteY0" fmla="*/ 0 h 369620"/>
              <a:gd name="connsiteX1" fmla="*/ 1932545 w 1932545"/>
              <a:gd name="connsiteY1" fmla="*/ 0 h 369620"/>
              <a:gd name="connsiteX2" fmla="*/ 1744821 w 1932545"/>
              <a:gd name="connsiteY2" fmla="*/ 363338 h 369620"/>
              <a:gd name="connsiteX3" fmla="*/ 0 w 1932545"/>
              <a:gd name="connsiteY3" fmla="*/ 369620 h 369620"/>
              <a:gd name="connsiteX4" fmla="*/ 6281 w 1932545"/>
              <a:gd name="connsiteY4" fmla="*/ 0 h 369620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25132 w 1926264"/>
              <a:gd name="connsiteY3" fmla="*/ 357055 h 363338"/>
              <a:gd name="connsiteX4" fmla="*/ 0 w 1926264"/>
              <a:gd name="connsiteY4" fmla="*/ 0 h 363338"/>
              <a:gd name="connsiteX0" fmla="*/ 12564 w 1938828"/>
              <a:gd name="connsiteY0" fmla="*/ 0 h 363338"/>
              <a:gd name="connsiteX1" fmla="*/ 1938828 w 1938828"/>
              <a:gd name="connsiteY1" fmla="*/ 0 h 363338"/>
              <a:gd name="connsiteX2" fmla="*/ 1751104 w 1938828"/>
              <a:gd name="connsiteY2" fmla="*/ 363338 h 363338"/>
              <a:gd name="connsiteX3" fmla="*/ 0 w 1938828"/>
              <a:gd name="connsiteY3" fmla="*/ 363338 h 363338"/>
              <a:gd name="connsiteX4" fmla="*/ 12564 w 1938828"/>
              <a:gd name="connsiteY4" fmla="*/ 0 h 363338"/>
              <a:gd name="connsiteX0" fmla="*/ 0 w 1926264"/>
              <a:gd name="connsiteY0" fmla="*/ 0 h 369621"/>
              <a:gd name="connsiteX1" fmla="*/ 1926264 w 1926264"/>
              <a:gd name="connsiteY1" fmla="*/ 0 h 369621"/>
              <a:gd name="connsiteX2" fmla="*/ 1738540 w 1926264"/>
              <a:gd name="connsiteY2" fmla="*/ 363338 h 369621"/>
              <a:gd name="connsiteX3" fmla="*/ 6284 w 1926264"/>
              <a:gd name="connsiteY3" fmla="*/ 369621 h 369621"/>
              <a:gd name="connsiteX4" fmla="*/ 0 w 1926264"/>
              <a:gd name="connsiteY4" fmla="*/ 0 h 369621"/>
              <a:gd name="connsiteX0" fmla="*/ 43978 w 1970242"/>
              <a:gd name="connsiteY0" fmla="*/ 0 h 363339"/>
              <a:gd name="connsiteX1" fmla="*/ 1970242 w 1970242"/>
              <a:gd name="connsiteY1" fmla="*/ 0 h 363339"/>
              <a:gd name="connsiteX2" fmla="*/ 1782518 w 1970242"/>
              <a:gd name="connsiteY2" fmla="*/ 363338 h 363339"/>
              <a:gd name="connsiteX3" fmla="*/ 0 w 1970242"/>
              <a:gd name="connsiteY3" fmla="*/ 363339 h 363339"/>
              <a:gd name="connsiteX4" fmla="*/ 43978 w 1970242"/>
              <a:gd name="connsiteY4" fmla="*/ 0 h 363339"/>
              <a:gd name="connsiteX0" fmla="*/ 0 w 1926264"/>
              <a:gd name="connsiteY0" fmla="*/ 0 h 363339"/>
              <a:gd name="connsiteX1" fmla="*/ 1926264 w 1926264"/>
              <a:gd name="connsiteY1" fmla="*/ 0 h 363339"/>
              <a:gd name="connsiteX2" fmla="*/ 1738540 w 1926264"/>
              <a:gd name="connsiteY2" fmla="*/ 363338 h 363339"/>
              <a:gd name="connsiteX3" fmla="*/ 1 w 1926264"/>
              <a:gd name="connsiteY3" fmla="*/ 363339 h 363339"/>
              <a:gd name="connsiteX4" fmla="*/ 0 w 1926264"/>
              <a:gd name="connsiteY4" fmla="*/ 0 h 3633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6264" h="363339">
                <a:moveTo>
                  <a:pt x="0" y="0"/>
                </a:moveTo>
                <a:lnTo>
                  <a:pt x="1926264" y="0"/>
                </a:lnTo>
                <a:lnTo>
                  <a:pt x="1738540" y="363338"/>
                </a:lnTo>
                <a:lnTo>
                  <a:pt x="1" y="363339"/>
                </a:lnTo>
                <a:cubicBezTo>
                  <a:pt x="1" y="242226"/>
                  <a:pt x="0" y="121113"/>
                  <a:pt x="0" y="0"/>
                </a:cubicBezTo>
                <a:close/>
              </a:path>
            </a:pathLst>
          </a:custGeom>
          <a:solidFill>
            <a:schemeClr val="accent4"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34">
            <a:extLst>
              <a:ext uri="{FF2B5EF4-FFF2-40B4-BE49-F238E27FC236}">
                <a16:creationId xmlns:a16="http://schemas.microsoft.com/office/drawing/2014/main" id="{E828F3B5-1F4C-4F42-9C2C-C5FC16372B51}"/>
              </a:ext>
            </a:extLst>
          </p:cNvPr>
          <p:cNvSpPr/>
          <p:nvPr/>
        </p:nvSpPr>
        <p:spPr>
          <a:xfrm>
            <a:off x="8623889" y="3398104"/>
            <a:ext cx="3200944" cy="369332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>
              <a:defRPr/>
            </a:pPr>
            <a:r>
              <a:rPr lang="en-US" dirty="0">
                <a:solidFill>
                  <a:schemeClr val="accent4"/>
                </a:solidFill>
              </a:rPr>
              <a:t>Edge protection</a:t>
            </a:r>
          </a:p>
        </p:txBody>
      </p:sp>
      <p:sp>
        <p:nvSpPr>
          <p:cNvPr id="46" name="Freeform 45">
            <a:extLst>
              <a:ext uri="{FF2B5EF4-FFF2-40B4-BE49-F238E27FC236}">
                <a16:creationId xmlns:a16="http://schemas.microsoft.com/office/drawing/2014/main" id="{E5EE27BD-C5CB-D94B-B844-C4A59028EE71}"/>
              </a:ext>
            </a:extLst>
          </p:cNvPr>
          <p:cNvSpPr/>
          <p:nvPr/>
        </p:nvSpPr>
        <p:spPr>
          <a:xfrm>
            <a:off x="1994809" y="3268441"/>
            <a:ext cx="6574361" cy="644051"/>
          </a:xfrm>
          <a:custGeom>
            <a:avLst/>
            <a:gdLst>
              <a:gd name="connsiteX0" fmla="*/ 0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0 w 2676588"/>
              <a:gd name="connsiteY4" fmla="*/ 0 h 363338"/>
              <a:gd name="connsiteX0" fmla="*/ 888545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888545 w 2676588"/>
              <a:gd name="connsiteY4" fmla="*/ 0 h 363338"/>
              <a:gd name="connsiteX0" fmla="*/ 0 w 1788043"/>
              <a:gd name="connsiteY0" fmla="*/ 0 h 363338"/>
              <a:gd name="connsiteX1" fmla="*/ 1788043 w 1788043"/>
              <a:gd name="connsiteY1" fmla="*/ 0 h 363338"/>
              <a:gd name="connsiteX2" fmla="*/ 1600319 w 1788043"/>
              <a:gd name="connsiteY2" fmla="*/ 363338 h 363338"/>
              <a:gd name="connsiteX3" fmla="*/ 0 w 1788043"/>
              <a:gd name="connsiteY3" fmla="*/ 363338 h 363338"/>
              <a:gd name="connsiteX4" fmla="*/ 0 w 1788043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138221 w 1926264"/>
              <a:gd name="connsiteY3" fmla="*/ 363338 h 363338"/>
              <a:gd name="connsiteX4" fmla="*/ 0 w 1926264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6284 w 1926264"/>
              <a:gd name="connsiteY3" fmla="*/ 363338 h 363338"/>
              <a:gd name="connsiteX4" fmla="*/ 0 w 1926264"/>
              <a:gd name="connsiteY4" fmla="*/ 0 h 363338"/>
              <a:gd name="connsiteX0" fmla="*/ 43978 w 1970242"/>
              <a:gd name="connsiteY0" fmla="*/ 0 h 363338"/>
              <a:gd name="connsiteX1" fmla="*/ 1970242 w 1970242"/>
              <a:gd name="connsiteY1" fmla="*/ 0 h 363338"/>
              <a:gd name="connsiteX2" fmla="*/ 1782518 w 1970242"/>
              <a:gd name="connsiteY2" fmla="*/ 363338 h 363338"/>
              <a:gd name="connsiteX3" fmla="*/ 0 w 1970242"/>
              <a:gd name="connsiteY3" fmla="*/ 363338 h 363338"/>
              <a:gd name="connsiteX4" fmla="*/ 43978 w 1970242"/>
              <a:gd name="connsiteY4" fmla="*/ 0 h 363338"/>
              <a:gd name="connsiteX0" fmla="*/ 0 w 1926264"/>
              <a:gd name="connsiteY0" fmla="*/ 0 h 369620"/>
              <a:gd name="connsiteX1" fmla="*/ 1926264 w 1926264"/>
              <a:gd name="connsiteY1" fmla="*/ 0 h 369620"/>
              <a:gd name="connsiteX2" fmla="*/ 1738540 w 1926264"/>
              <a:gd name="connsiteY2" fmla="*/ 363338 h 369620"/>
              <a:gd name="connsiteX3" fmla="*/ 6284 w 1926264"/>
              <a:gd name="connsiteY3" fmla="*/ 369620 h 369620"/>
              <a:gd name="connsiteX4" fmla="*/ 0 w 1926264"/>
              <a:gd name="connsiteY4" fmla="*/ 0 h 369620"/>
              <a:gd name="connsiteX0" fmla="*/ 6281 w 1932545"/>
              <a:gd name="connsiteY0" fmla="*/ 0 h 369620"/>
              <a:gd name="connsiteX1" fmla="*/ 1932545 w 1932545"/>
              <a:gd name="connsiteY1" fmla="*/ 0 h 369620"/>
              <a:gd name="connsiteX2" fmla="*/ 1744821 w 1932545"/>
              <a:gd name="connsiteY2" fmla="*/ 363338 h 369620"/>
              <a:gd name="connsiteX3" fmla="*/ 0 w 1932545"/>
              <a:gd name="connsiteY3" fmla="*/ 369620 h 369620"/>
              <a:gd name="connsiteX4" fmla="*/ 6281 w 1932545"/>
              <a:gd name="connsiteY4" fmla="*/ 0 h 369620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25132 w 1926264"/>
              <a:gd name="connsiteY3" fmla="*/ 357055 h 363338"/>
              <a:gd name="connsiteX4" fmla="*/ 0 w 1926264"/>
              <a:gd name="connsiteY4" fmla="*/ 0 h 363338"/>
              <a:gd name="connsiteX0" fmla="*/ 12564 w 1938828"/>
              <a:gd name="connsiteY0" fmla="*/ 0 h 363338"/>
              <a:gd name="connsiteX1" fmla="*/ 1938828 w 1938828"/>
              <a:gd name="connsiteY1" fmla="*/ 0 h 363338"/>
              <a:gd name="connsiteX2" fmla="*/ 1751104 w 1938828"/>
              <a:gd name="connsiteY2" fmla="*/ 363338 h 363338"/>
              <a:gd name="connsiteX3" fmla="*/ 0 w 1938828"/>
              <a:gd name="connsiteY3" fmla="*/ 363338 h 363338"/>
              <a:gd name="connsiteX4" fmla="*/ 12564 w 1938828"/>
              <a:gd name="connsiteY4" fmla="*/ 0 h 363338"/>
              <a:gd name="connsiteX0" fmla="*/ 0 w 1926264"/>
              <a:gd name="connsiteY0" fmla="*/ 0 h 369621"/>
              <a:gd name="connsiteX1" fmla="*/ 1926264 w 1926264"/>
              <a:gd name="connsiteY1" fmla="*/ 0 h 369621"/>
              <a:gd name="connsiteX2" fmla="*/ 1738540 w 1926264"/>
              <a:gd name="connsiteY2" fmla="*/ 363338 h 369621"/>
              <a:gd name="connsiteX3" fmla="*/ 6284 w 1926264"/>
              <a:gd name="connsiteY3" fmla="*/ 369621 h 369621"/>
              <a:gd name="connsiteX4" fmla="*/ 0 w 1926264"/>
              <a:gd name="connsiteY4" fmla="*/ 0 h 369621"/>
              <a:gd name="connsiteX0" fmla="*/ 43978 w 1970242"/>
              <a:gd name="connsiteY0" fmla="*/ 0 h 363339"/>
              <a:gd name="connsiteX1" fmla="*/ 1970242 w 1970242"/>
              <a:gd name="connsiteY1" fmla="*/ 0 h 363339"/>
              <a:gd name="connsiteX2" fmla="*/ 1782518 w 1970242"/>
              <a:gd name="connsiteY2" fmla="*/ 363338 h 363339"/>
              <a:gd name="connsiteX3" fmla="*/ 0 w 1970242"/>
              <a:gd name="connsiteY3" fmla="*/ 363339 h 363339"/>
              <a:gd name="connsiteX4" fmla="*/ 43978 w 1970242"/>
              <a:gd name="connsiteY4" fmla="*/ 0 h 363339"/>
              <a:gd name="connsiteX0" fmla="*/ 0 w 1926264"/>
              <a:gd name="connsiteY0" fmla="*/ 0 h 363339"/>
              <a:gd name="connsiteX1" fmla="*/ 1926264 w 1926264"/>
              <a:gd name="connsiteY1" fmla="*/ 0 h 363339"/>
              <a:gd name="connsiteX2" fmla="*/ 1738540 w 1926264"/>
              <a:gd name="connsiteY2" fmla="*/ 363338 h 363339"/>
              <a:gd name="connsiteX3" fmla="*/ 1 w 1926264"/>
              <a:gd name="connsiteY3" fmla="*/ 363339 h 363339"/>
              <a:gd name="connsiteX4" fmla="*/ 0 w 1926264"/>
              <a:gd name="connsiteY4" fmla="*/ 0 h 363339"/>
              <a:gd name="connsiteX0" fmla="*/ 0 w 3440015"/>
              <a:gd name="connsiteY0" fmla="*/ 0 h 363339"/>
              <a:gd name="connsiteX1" fmla="*/ 3440015 w 3440015"/>
              <a:gd name="connsiteY1" fmla="*/ 0 h 363339"/>
              <a:gd name="connsiteX2" fmla="*/ 3252291 w 3440015"/>
              <a:gd name="connsiteY2" fmla="*/ 363338 h 363339"/>
              <a:gd name="connsiteX3" fmla="*/ 1513752 w 3440015"/>
              <a:gd name="connsiteY3" fmla="*/ 363339 h 363339"/>
              <a:gd name="connsiteX4" fmla="*/ 0 w 3440015"/>
              <a:gd name="connsiteY4" fmla="*/ 0 h 363339"/>
              <a:gd name="connsiteX0" fmla="*/ 0 w 3440015"/>
              <a:gd name="connsiteY0" fmla="*/ 0 h 363339"/>
              <a:gd name="connsiteX1" fmla="*/ 3440015 w 3440015"/>
              <a:gd name="connsiteY1" fmla="*/ 0 h 363339"/>
              <a:gd name="connsiteX2" fmla="*/ 3252291 w 3440015"/>
              <a:gd name="connsiteY2" fmla="*/ 363338 h 363339"/>
              <a:gd name="connsiteX3" fmla="*/ 1 w 3440015"/>
              <a:gd name="connsiteY3" fmla="*/ 363339 h 363339"/>
              <a:gd name="connsiteX4" fmla="*/ 0 w 3440015"/>
              <a:gd name="connsiteY4" fmla="*/ 0 h 363339"/>
              <a:gd name="connsiteX0" fmla="*/ 0 w 3440015"/>
              <a:gd name="connsiteY0" fmla="*/ 0 h 363339"/>
              <a:gd name="connsiteX1" fmla="*/ 3440015 w 3440015"/>
              <a:gd name="connsiteY1" fmla="*/ 0 h 363339"/>
              <a:gd name="connsiteX2" fmla="*/ 3252291 w 3440015"/>
              <a:gd name="connsiteY2" fmla="*/ 363338 h 363339"/>
              <a:gd name="connsiteX3" fmla="*/ 192223 w 3440015"/>
              <a:gd name="connsiteY3" fmla="*/ 363339 h 363339"/>
              <a:gd name="connsiteX4" fmla="*/ 0 w 3440015"/>
              <a:gd name="connsiteY4" fmla="*/ 0 h 363339"/>
              <a:gd name="connsiteX0" fmla="*/ 0 w 3247793"/>
              <a:gd name="connsiteY0" fmla="*/ 0 h 363339"/>
              <a:gd name="connsiteX1" fmla="*/ 3247793 w 3247793"/>
              <a:gd name="connsiteY1" fmla="*/ 0 h 363339"/>
              <a:gd name="connsiteX2" fmla="*/ 3060069 w 3247793"/>
              <a:gd name="connsiteY2" fmla="*/ 363338 h 363339"/>
              <a:gd name="connsiteX3" fmla="*/ 1 w 3247793"/>
              <a:gd name="connsiteY3" fmla="*/ 363339 h 363339"/>
              <a:gd name="connsiteX4" fmla="*/ 0 w 3247793"/>
              <a:gd name="connsiteY4" fmla="*/ 0 h 363339"/>
              <a:gd name="connsiteX0" fmla="*/ 0 w 3247793"/>
              <a:gd name="connsiteY0" fmla="*/ 0 h 367713"/>
              <a:gd name="connsiteX1" fmla="*/ 3247793 w 3247793"/>
              <a:gd name="connsiteY1" fmla="*/ 0 h 367713"/>
              <a:gd name="connsiteX2" fmla="*/ 3060069 w 3247793"/>
              <a:gd name="connsiteY2" fmla="*/ 367713 h 367713"/>
              <a:gd name="connsiteX3" fmla="*/ 1 w 3247793"/>
              <a:gd name="connsiteY3" fmla="*/ 363339 h 367713"/>
              <a:gd name="connsiteX4" fmla="*/ 0 w 3247793"/>
              <a:gd name="connsiteY4" fmla="*/ 0 h 367713"/>
              <a:gd name="connsiteX0" fmla="*/ 0 w 3247793"/>
              <a:gd name="connsiteY0" fmla="*/ 0 h 371190"/>
              <a:gd name="connsiteX1" fmla="*/ 3247793 w 3247793"/>
              <a:gd name="connsiteY1" fmla="*/ 0 h 371190"/>
              <a:gd name="connsiteX2" fmla="*/ 3060069 w 3247793"/>
              <a:gd name="connsiteY2" fmla="*/ 367713 h 371190"/>
              <a:gd name="connsiteX3" fmla="*/ 1 w 3247793"/>
              <a:gd name="connsiteY3" fmla="*/ 371190 h 371190"/>
              <a:gd name="connsiteX4" fmla="*/ 0 w 3247793"/>
              <a:gd name="connsiteY4" fmla="*/ 0 h 371190"/>
              <a:gd name="connsiteX0" fmla="*/ 0 w 3247793"/>
              <a:gd name="connsiteY0" fmla="*/ 0 h 367713"/>
              <a:gd name="connsiteX1" fmla="*/ 3247793 w 3247793"/>
              <a:gd name="connsiteY1" fmla="*/ 0 h 367713"/>
              <a:gd name="connsiteX2" fmla="*/ 3060069 w 3247793"/>
              <a:gd name="connsiteY2" fmla="*/ 367713 h 367713"/>
              <a:gd name="connsiteX3" fmla="*/ 1 w 3247793"/>
              <a:gd name="connsiteY3" fmla="*/ 347638 h 367713"/>
              <a:gd name="connsiteX4" fmla="*/ 0 w 3247793"/>
              <a:gd name="connsiteY4" fmla="*/ 0 h 367713"/>
              <a:gd name="connsiteX0" fmla="*/ 0 w 3247793"/>
              <a:gd name="connsiteY0" fmla="*/ 0 h 367713"/>
              <a:gd name="connsiteX1" fmla="*/ 3247793 w 3247793"/>
              <a:gd name="connsiteY1" fmla="*/ 0 h 367713"/>
              <a:gd name="connsiteX2" fmla="*/ 3060069 w 3247793"/>
              <a:gd name="connsiteY2" fmla="*/ 367713 h 367713"/>
              <a:gd name="connsiteX3" fmla="*/ 1 w 3247793"/>
              <a:gd name="connsiteY3" fmla="*/ 367265 h 367713"/>
              <a:gd name="connsiteX4" fmla="*/ 0 w 3247793"/>
              <a:gd name="connsiteY4" fmla="*/ 0 h 367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47793" h="367713">
                <a:moveTo>
                  <a:pt x="0" y="0"/>
                </a:moveTo>
                <a:lnTo>
                  <a:pt x="3247793" y="0"/>
                </a:lnTo>
                <a:lnTo>
                  <a:pt x="3060069" y="367713"/>
                </a:lnTo>
                <a:lnTo>
                  <a:pt x="1" y="367265"/>
                </a:lnTo>
                <a:cubicBezTo>
                  <a:pt x="1" y="246152"/>
                  <a:pt x="0" y="121113"/>
                  <a:pt x="0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29">
            <a:extLst>
              <a:ext uri="{FF2B5EF4-FFF2-40B4-BE49-F238E27FC236}">
                <a16:creationId xmlns:a16="http://schemas.microsoft.com/office/drawing/2014/main" id="{3F4E1DB4-80F1-D845-A5EB-E1EC0ED3EF47}"/>
              </a:ext>
            </a:extLst>
          </p:cNvPr>
          <p:cNvSpPr/>
          <p:nvPr/>
        </p:nvSpPr>
        <p:spPr>
          <a:xfrm>
            <a:off x="1995238" y="3402499"/>
            <a:ext cx="575656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NVIROCRON</a:t>
            </a:r>
            <a:r>
              <a:rPr kumimoji="0" lang="en-US" b="1" i="0" u="none" strike="noStrike" kern="120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®</a:t>
            </a: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EPE  </a:t>
            </a:r>
            <a:r>
              <a:rPr lang="en-US" dirty="0">
                <a:solidFill>
                  <a:prstClr val="white"/>
                </a:solidFill>
              </a:rPr>
              <a:t>Extreme Protection Edge</a:t>
            </a:r>
          </a:p>
        </p:txBody>
      </p:sp>
      <p:sp>
        <p:nvSpPr>
          <p:cNvPr id="48" name="Freeform 47">
            <a:extLst>
              <a:ext uri="{FF2B5EF4-FFF2-40B4-BE49-F238E27FC236}">
                <a16:creationId xmlns:a16="http://schemas.microsoft.com/office/drawing/2014/main" id="{B1807E44-477A-CC45-ACE5-4EBC46A60B02}"/>
              </a:ext>
            </a:extLst>
          </p:cNvPr>
          <p:cNvSpPr/>
          <p:nvPr/>
        </p:nvSpPr>
        <p:spPr>
          <a:xfrm rot="10800000">
            <a:off x="7307714" y="4017553"/>
            <a:ext cx="3711684" cy="643471"/>
          </a:xfrm>
          <a:custGeom>
            <a:avLst/>
            <a:gdLst>
              <a:gd name="connsiteX0" fmla="*/ 0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0 w 2676588"/>
              <a:gd name="connsiteY4" fmla="*/ 0 h 363338"/>
              <a:gd name="connsiteX0" fmla="*/ 888545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888545 w 2676588"/>
              <a:gd name="connsiteY4" fmla="*/ 0 h 363338"/>
              <a:gd name="connsiteX0" fmla="*/ 0 w 1788043"/>
              <a:gd name="connsiteY0" fmla="*/ 0 h 363338"/>
              <a:gd name="connsiteX1" fmla="*/ 1788043 w 1788043"/>
              <a:gd name="connsiteY1" fmla="*/ 0 h 363338"/>
              <a:gd name="connsiteX2" fmla="*/ 1600319 w 1788043"/>
              <a:gd name="connsiteY2" fmla="*/ 363338 h 363338"/>
              <a:gd name="connsiteX3" fmla="*/ 0 w 1788043"/>
              <a:gd name="connsiteY3" fmla="*/ 363338 h 363338"/>
              <a:gd name="connsiteX4" fmla="*/ 0 w 1788043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138221 w 1926264"/>
              <a:gd name="connsiteY3" fmla="*/ 363338 h 363338"/>
              <a:gd name="connsiteX4" fmla="*/ 0 w 1926264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6284 w 1926264"/>
              <a:gd name="connsiteY3" fmla="*/ 363338 h 363338"/>
              <a:gd name="connsiteX4" fmla="*/ 0 w 1926264"/>
              <a:gd name="connsiteY4" fmla="*/ 0 h 363338"/>
              <a:gd name="connsiteX0" fmla="*/ 43978 w 1970242"/>
              <a:gd name="connsiteY0" fmla="*/ 0 h 363338"/>
              <a:gd name="connsiteX1" fmla="*/ 1970242 w 1970242"/>
              <a:gd name="connsiteY1" fmla="*/ 0 h 363338"/>
              <a:gd name="connsiteX2" fmla="*/ 1782518 w 1970242"/>
              <a:gd name="connsiteY2" fmla="*/ 363338 h 363338"/>
              <a:gd name="connsiteX3" fmla="*/ 0 w 1970242"/>
              <a:gd name="connsiteY3" fmla="*/ 363338 h 363338"/>
              <a:gd name="connsiteX4" fmla="*/ 43978 w 1970242"/>
              <a:gd name="connsiteY4" fmla="*/ 0 h 363338"/>
              <a:gd name="connsiteX0" fmla="*/ 0 w 1926264"/>
              <a:gd name="connsiteY0" fmla="*/ 0 h 369620"/>
              <a:gd name="connsiteX1" fmla="*/ 1926264 w 1926264"/>
              <a:gd name="connsiteY1" fmla="*/ 0 h 369620"/>
              <a:gd name="connsiteX2" fmla="*/ 1738540 w 1926264"/>
              <a:gd name="connsiteY2" fmla="*/ 363338 h 369620"/>
              <a:gd name="connsiteX3" fmla="*/ 6284 w 1926264"/>
              <a:gd name="connsiteY3" fmla="*/ 369620 h 369620"/>
              <a:gd name="connsiteX4" fmla="*/ 0 w 1926264"/>
              <a:gd name="connsiteY4" fmla="*/ 0 h 369620"/>
              <a:gd name="connsiteX0" fmla="*/ 6281 w 1932545"/>
              <a:gd name="connsiteY0" fmla="*/ 0 h 369620"/>
              <a:gd name="connsiteX1" fmla="*/ 1932545 w 1932545"/>
              <a:gd name="connsiteY1" fmla="*/ 0 h 369620"/>
              <a:gd name="connsiteX2" fmla="*/ 1744821 w 1932545"/>
              <a:gd name="connsiteY2" fmla="*/ 363338 h 369620"/>
              <a:gd name="connsiteX3" fmla="*/ 0 w 1932545"/>
              <a:gd name="connsiteY3" fmla="*/ 369620 h 369620"/>
              <a:gd name="connsiteX4" fmla="*/ 6281 w 1932545"/>
              <a:gd name="connsiteY4" fmla="*/ 0 h 369620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25132 w 1926264"/>
              <a:gd name="connsiteY3" fmla="*/ 357055 h 363338"/>
              <a:gd name="connsiteX4" fmla="*/ 0 w 1926264"/>
              <a:gd name="connsiteY4" fmla="*/ 0 h 363338"/>
              <a:gd name="connsiteX0" fmla="*/ 12564 w 1938828"/>
              <a:gd name="connsiteY0" fmla="*/ 0 h 363338"/>
              <a:gd name="connsiteX1" fmla="*/ 1938828 w 1938828"/>
              <a:gd name="connsiteY1" fmla="*/ 0 h 363338"/>
              <a:gd name="connsiteX2" fmla="*/ 1751104 w 1938828"/>
              <a:gd name="connsiteY2" fmla="*/ 363338 h 363338"/>
              <a:gd name="connsiteX3" fmla="*/ 0 w 1938828"/>
              <a:gd name="connsiteY3" fmla="*/ 363338 h 363338"/>
              <a:gd name="connsiteX4" fmla="*/ 12564 w 1938828"/>
              <a:gd name="connsiteY4" fmla="*/ 0 h 363338"/>
              <a:gd name="connsiteX0" fmla="*/ 0 w 1926264"/>
              <a:gd name="connsiteY0" fmla="*/ 0 h 369621"/>
              <a:gd name="connsiteX1" fmla="*/ 1926264 w 1926264"/>
              <a:gd name="connsiteY1" fmla="*/ 0 h 369621"/>
              <a:gd name="connsiteX2" fmla="*/ 1738540 w 1926264"/>
              <a:gd name="connsiteY2" fmla="*/ 363338 h 369621"/>
              <a:gd name="connsiteX3" fmla="*/ 6284 w 1926264"/>
              <a:gd name="connsiteY3" fmla="*/ 369621 h 369621"/>
              <a:gd name="connsiteX4" fmla="*/ 0 w 1926264"/>
              <a:gd name="connsiteY4" fmla="*/ 0 h 369621"/>
              <a:gd name="connsiteX0" fmla="*/ 43978 w 1970242"/>
              <a:gd name="connsiteY0" fmla="*/ 0 h 363339"/>
              <a:gd name="connsiteX1" fmla="*/ 1970242 w 1970242"/>
              <a:gd name="connsiteY1" fmla="*/ 0 h 363339"/>
              <a:gd name="connsiteX2" fmla="*/ 1782518 w 1970242"/>
              <a:gd name="connsiteY2" fmla="*/ 363338 h 363339"/>
              <a:gd name="connsiteX3" fmla="*/ 0 w 1970242"/>
              <a:gd name="connsiteY3" fmla="*/ 363339 h 363339"/>
              <a:gd name="connsiteX4" fmla="*/ 43978 w 1970242"/>
              <a:gd name="connsiteY4" fmla="*/ 0 h 363339"/>
              <a:gd name="connsiteX0" fmla="*/ 0 w 1926264"/>
              <a:gd name="connsiteY0" fmla="*/ 0 h 363339"/>
              <a:gd name="connsiteX1" fmla="*/ 1926264 w 1926264"/>
              <a:gd name="connsiteY1" fmla="*/ 0 h 363339"/>
              <a:gd name="connsiteX2" fmla="*/ 1738540 w 1926264"/>
              <a:gd name="connsiteY2" fmla="*/ 363338 h 363339"/>
              <a:gd name="connsiteX3" fmla="*/ 1 w 1926264"/>
              <a:gd name="connsiteY3" fmla="*/ 363339 h 363339"/>
              <a:gd name="connsiteX4" fmla="*/ 0 w 1926264"/>
              <a:gd name="connsiteY4" fmla="*/ 0 h 3633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6264" h="363339">
                <a:moveTo>
                  <a:pt x="0" y="0"/>
                </a:moveTo>
                <a:lnTo>
                  <a:pt x="1926264" y="0"/>
                </a:lnTo>
                <a:lnTo>
                  <a:pt x="1738540" y="363338"/>
                </a:lnTo>
                <a:lnTo>
                  <a:pt x="1" y="363339"/>
                </a:lnTo>
                <a:cubicBezTo>
                  <a:pt x="1" y="242226"/>
                  <a:pt x="0" y="121113"/>
                  <a:pt x="0" y="0"/>
                </a:cubicBezTo>
                <a:close/>
              </a:path>
            </a:pathLst>
          </a:custGeom>
          <a:solidFill>
            <a:srgbClr val="FFC000">
              <a:alpha val="2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34">
            <a:extLst>
              <a:ext uri="{FF2B5EF4-FFF2-40B4-BE49-F238E27FC236}">
                <a16:creationId xmlns:a16="http://schemas.microsoft.com/office/drawing/2014/main" id="{360476A8-22CB-764E-9392-AA4038FE0807}"/>
              </a:ext>
            </a:extLst>
          </p:cNvPr>
          <p:cNvSpPr/>
          <p:nvPr/>
        </p:nvSpPr>
        <p:spPr>
          <a:xfrm>
            <a:off x="8623889" y="4147305"/>
            <a:ext cx="3200944" cy="369332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>
              <a:defRPr/>
            </a:pPr>
            <a:r>
              <a:rPr lang="en-US" dirty="0">
                <a:solidFill>
                  <a:srgbClr val="FFC000"/>
                </a:solidFill>
              </a:rPr>
              <a:t>Insulation</a:t>
            </a:r>
          </a:p>
        </p:txBody>
      </p:sp>
      <p:sp>
        <p:nvSpPr>
          <p:cNvPr id="50" name="Freeform 49">
            <a:extLst>
              <a:ext uri="{FF2B5EF4-FFF2-40B4-BE49-F238E27FC236}">
                <a16:creationId xmlns:a16="http://schemas.microsoft.com/office/drawing/2014/main" id="{6C4E0148-A6B7-A940-9816-A747DF1E90CE}"/>
              </a:ext>
            </a:extLst>
          </p:cNvPr>
          <p:cNvSpPr/>
          <p:nvPr/>
        </p:nvSpPr>
        <p:spPr>
          <a:xfrm>
            <a:off x="1989347" y="4017406"/>
            <a:ext cx="6574361" cy="644051"/>
          </a:xfrm>
          <a:custGeom>
            <a:avLst/>
            <a:gdLst>
              <a:gd name="connsiteX0" fmla="*/ 0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0 w 2676588"/>
              <a:gd name="connsiteY4" fmla="*/ 0 h 363338"/>
              <a:gd name="connsiteX0" fmla="*/ 888545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888545 w 2676588"/>
              <a:gd name="connsiteY4" fmla="*/ 0 h 363338"/>
              <a:gd name="connsiteX0" fmla="*/ 0 w 1788043"/>
              <a:gd name="connsiteY0" fmla="*/ 0 h 363338"/>
              <a:gd name="connsiteX1" fmla="*/ 1788043 w 1788043"/>
              <a:gd name="connsiteY1" fmla="*/ 0 h 363338"/>
              <a:gd name="connsiteX2" fmla="*/ 1600319 w 1788043"/>
              <a:gd name="connsiteY2" fmla="*/ 363338 h 363338"/>
              <a:gd name="connsiteX3" fmla="*/ 0 w 1788043"/>
              <a:gd name="connsiteY3" fmla="*/ 363338 h 363338"/>
              <a:gd name="connsiteX4" fmla="*/ 0 w 1788043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138221 w 1926264"/>
              <a:gd name="connsiteY3" fmla="*/ 363338 h 363338"/>
              <a:gd name="connsiteX4" fmla="*/ 0 w 1926264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6284 w 1926264"/>
              <a:gd name="connsiteY3" fmla="*/ 363338 h 363338"/>
              <a:gd name="connsiteX4" fmla="*/ 0 w 1926264"/>
              <a:gd name="connsiteY4" fmla="*/ 0 h 363338"/>
              <a:gd name="connsiteX0" fmla="*/ 43978 w 1970242"/>
              <a:gd name="connsiteY0" fmla="*/ 0 h 363338"/>
              <a:gd name="connsiteX1" fmla="*/ 1970242 w 1970242"/>
              <a:gd name="connsiteY1" fmla="*/ 0 h 363338"/>
              <a:gd name="connsiteX2" fmla="*/ 1782518 w 1970242"/>
              <a:gd name="connsiteY2" fmla="*/ 363338 h 363338"/>
              <a:gd name="connsiteX3" fmla="*/ 0 w 1970242"/>
              <a:gd name="connsiteY3" fmla="*/ 363338 h 363338"/>
              <a:gd name="connsiteX4" fmla="*/ 43978 w 1970242"/>
              <a:gd name="connsiteY4" fmla="*/ 0 h 363338"/>
              <a:gd name="connsiteX0" fmla="*/ 0 w 1926264"/>
              <a:gd name="connsiteY0" fmla="*/ 0 h 369620"/>
              <a:gd name="connsiteX1" fmla="*/ 1926264 w 1926264"/>
              <a:gd name="connsiteY1" fmla="*/ 0 h 369620"/>
              <a:gd name="connsiteX2" fmla="*/ 1738540 w 1926264"/>
              <a:gd name="connsiteY2" fmla="*/ 363338 h 369620"/>
              <a:gd name="connsiteX3" fmla="*/ 6284 w 1926264"/>
              <a:gd name="connsiteY3" fmla="*/ 369620 h 369620"/>
              <a:gd name="connsiteX4" fmla="*/ 0 w 1926264"/>
              <a:gd name="connsiteY4" fmla="*/ 0 h 369620"/>
              <a:gd name="connsiteX0" fmla="*/ 6281 w 1932545"/>
              <a:gd name="connsiteY0" fmla="*/ 0 h 369620"/>
              <a:gd name="connsiteX1" fmla="*/ 1932545 w 1932545"/>
              <a:gd name="connsiteY1" fmla="*/ 0 h 369620"/>
              <a:gd name="connsiteX2" fmla="*/ 1744821 w 1932545"/>
              <a:gd name="connsiteY2" fmla="*/ 363338 h 369620"/>
              <a:gd name="connsiteX3" fmla="*/ 0 w 1932545"/>
              <a:gd name="connsiteY3" fmla="*/ 369620 h 369620"/>
              <a:gd name="connsiteX4" fmla="*/ 6281 w 1932545"/>
              <a:gd name="connsiteY4" fmla="*/ 0 h 369620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25132 w 1926264"/>
              <a:gd name="connsiteY3" fmla="*/ 357055 h 363338"/>
              <a:gd name="connsiteX4" fmla="*/ 0 w 1926264"/>
              <a:gd name="connsiteY4" fmla="*/ 0 h 363338"/>
              <a:gd name="connsiteX0" fmla="*/ 12564 w 1938828"/>
              <a:gd name="connsiteY0" fmla="*/ 0 h 363338"/>
              <a:gd name="connsiteX1" fmla="*/ 1938828 w 1938828"/>
              <a:gd name="connsiteY1" fmla="*/ 0 h 363338"/>
              <a:gd name="connsiteX2" fmla="*/ 1751104 w 1938828"/>
              <a:gd name="connsiteY2" fmla="*/ 363338 h 363338"/>
              <a:gd name="connsiteX3" fmla="*/ 0 w 1938828"/>
              <a:gd name="connsiteY3" fmla="*/ 363338 h 363338"/>
              <a:gd name="connsiteX4" fmla="*/ 12564 w 1938828"/>
              <a:gd name="connsiteY4" fmla="*/ 0 h 363338"/>
              <a:gd name="connsiteX0" fmla="*/ 0 w 1926264"/>
              <a:gd name="connsiteY0" fmla="*/ 0 h 369621"/>
              <a:gd name="connsiteX1" fmla="*/ 1926264 w 1926264"/>
              <a:gd name="connsiteY1" fmla="*/ 0 h 369621"/>
              <a:gd name="connsiteX2" fmla="*/ 1738540 w 1926264"/>
              <a:gd name="connsiteY2" fmla="*/ 363338 h 369621"/>
              <a:gd name="connsiteX3" fmla="*/ 6284 w 1926264"/>
              <a:gd name="connsiteY3" fmla="*/ 369621 h 369621"/>
              <a:gd name="connsiteX4" fmla="*/ 0 w 1926264"/>
              <a:gd name="connsiteY4" fmla="*/ 0 h 369621"/>
              <a:gd name="connsiteX0" fmla="*/ 43978 w 1970242"/>
              <a:gd name="connsiteY0" fmla="*/ 0 h 363339"/>
              <a:gd name="connsiteX1" fmla="*/ 1970242 w 1970242"/>
              <a:gd name="connsiteY1" fmla="*/ 0 h 363339"/>
              <a:gd name="connsiteX2" fmla="*/ 1782518 w 1970242"/>
              <a:gd name="connsiteY2" fmla="*/ 363338 h 363339"/>
              <a:gd name="connsiteX3" fmla="*/ 0 w 1970242"/>
              <a:gd name="connsiteY3" fmla="*/ 363339 h 363339"/>
              <a:gd name="connsiteX4" fmla="*/ 43978 w 1970242"/>
              <a:gd name="connsiteY4" fmla="*/ 0 h 363339"/>
              <a:gd name="connsiteX0" fmla="*/ 0 w 1926264"/>
              <a:gd name="connsiteY0" fmla="*/ 0 h 363339"/>
              <a:gd name="connsiteX1" fmla="*/ 1926264 w 1926264"/>
              <a:gd name="connsiteY1" fmla="*/ 0 h 363339"/>
              <a:gd name="connsiteX2" fmla="*/ 1738540 w 1926264"/>
              <a:gd name="connsiteY2" fmla="*/ 363338 h 363339"/>
              <a:gd name="connsiteX3" fmla="*/ 1 w 1926264"/>
              <a:gd name="connsiteY3" fmla="*/ 363339 h 363339"/>
              <a:gd name="connsiteX4" fmla="*/ 0 w 1926264"/>
              <a:gd name="connsiteY4" fmla="*/ 0 h 363339"/>
              <a:gd name="connsiteX0" fmla="*/ 0 w 3440015"/>
              <a:gd name="connsiteY0" fmla="*/ 0 h 363339"/>
              <a:gd name="connsiteX1" fmla="*/ 3440015 w 3440015"/>
              <a:gd name="connsiteY1" fmla="*/ 0 h 363339"/>
              <a:gd name="connsiteX2" fmla="*/ 3252291 w 3440015"/>
              <a:gd name="connsiteY2" fmla="*/ 363338 h 363339"/>
              <a:gd name="connsiteX3" fmla="*/ 1513752 w 3440015"/>
              <a:gd name="connsiteY3" fmla="*/ 363339 h 363339"/>
              <a:gd name="connsiteX4" fmla="*/ 0 w 3440015"/>
              <a:gd name="connsiteY4" fmla="*/ 0 h 363339"/>
              <a:gd name="connsiteX0" fmla="*/ 0 w 3440015"/>
              <a:gd name="connsiteY0" fmla="*/ 0 h 363339"/>
              <a:gd name="connsiteX1" fmla="*/ 3440015 w 3440015"/>
              <a:gd name="connsiteY1" fmla="*/ 0 h 363339"/>
              <a:gd name="connsiteX2" fmla="*/ 3252291 w 3440015"/>
              <a:gd name="connsiteY2" fmla="*/ 363338 h 363339"/>
              <a:gd name="connsiteX3" fmla="*/ 1 w 3440015"/>
              <a:gd name="connsiteY3" fmla="*/ 363339 h 363339"/>
              <a:gd name="connsiteX4" fmla="*/ 0 w 3440015"/>
              <a:gd name="connsiteY4" fmla="*/ 0 h 363339"/>
              <a:gd name="connsiteX0" fmla="*/ 0 w 3440015"/>
              <a:gd name="connsiteY0" fmla="*/ 0 h 363339"/>
              <a:gd name="connsiteX1" fmla="*/ 3440015 w 3440015"/>
              <a:gd name="connsiteY1" fmla="*/ 0 h 363339"/>
              <a:gd name="connsiteX2" fmla="*/ 3252291 w 3440015"/>
              <a:gd name="connsiteY2" fmla="*/ 363338 h 363339"/>
              <a:gd name="connsiteX3" fmla="*/ 192223 w 3440015"/>
              <a:gd name="connsiteY3" fmla="*/ 363339 h 363339"/>
              <a:gd name="connsiteX4" fmla="*/ 0 w 3440015"/>
              <a:gd name="connsiteY4" fmla="*/ 0 h 363339"/>
              <a:gd name="connsiteX0" fmla="*/ 0 w 3247793"/>
              <a:gd name="connsiteY0" fmla="*/ 0 h 363339"/>
              <a:gd name="connsiteX1" fmla="*/ 3247793 w 3247793"/>
              <a:gd name="connsiteY1" fmla="*/ 0 h 363339"/>
              <a:gd name="connsiteX2" fmla="*/ 3060069 w 3247793"/>
              <a:gd name="connsiteY2" fmla="*/ 363338 h 363339"/>
              <a:gd name="connsiteX3" fmla="*/ 1 w 3247793"/>
              <a:gd name="connsiteY3" fmla="*/ 363339 h 363339"/>
              <a:gd name="connsiteX4" fmla="*/ 0 w 3247793"/>
              <a:gd name="connsiteY4" fmla="*/ 0 h 363339"/>
              <a:gd name="connsiteX0" fmla="*/ 0 w 3247793"/>
              <a:gd name="connsiteY0" fmla="*/ 0 h 367713"/>
              <a:gd name="connsiteX1" fmla="*/ 3247793 w 3247793"/>
              <a:gd name="connsiteY1" fmla="*/ 0 h 367713"/>
              <a:gd name="connsiteX2" fmla="*/ 3060069 w 3247793"/>
              <a:gd name="connsiteY2" fmla="*/ 367713 h 367713"/>
              <a:gd name="connsiteX3" fmla="*/ 1 w 3247793"/>
              <a:gd name="connsiteY3" fmla="*/ 363339 h 367713"/>
              <a:gd name="connsiteX4" fmla="*/ 0 w 3247793"/>
              <a:gd name="connsiteY4" fmla="*/ 0 h 367713"/>
              <a:gd name="connsiteX0" fmla="*/ 0 w 3247793"/>
              <a:gd name="connsiteY0" fmla="*/ 0 h 367713"/>
              <a:gd name="connsiteX1" fmla="*/ 3247793 w 3247793"/>
              <a:gd name="connsiteY1" fmla="*/ 0 h 367713"/>
              <a:gd name="connsiteX2" fmla="*/ 3060069 w 3247793"/>
              <a:gd name="connsiteY2" fmla="*/ 367713 h 367713"/>
              <a:gd name="connsiteX3" fmla="*/ 1 w 3247793"/>
              <a:gd name="connsiteY3" fmla="*/ 367264 h 367713"/>
              <a:gd name="connsiteX4" fmla="*/ 0 w 3247793"/>
              <a:gd name="connsiteY4" fmla="*/ 0 h 367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47793" h="367713">
                <a:moveTo>
                  <a:pt x="0" y="0"/>
                </a:moveTo>
                <a:lnTo>
                  <a:pt x="3247793" y="0"/>
                </a:lnTo>
                <a:lnTo>
                  <a:pt x="3060069" y="367713"/>
                </a:lnTo>
                <a:lnTo>
                  <a:pt x="1" y="367264"/>
                </a:lnTo>
                <a:cubicBezTo>
                  <a:pt x="1" y="246151"/>
                  <a:pt x="0" y="121113"/>
                  <a:pt x="0" y="0"/>
                </a:cubicBezTo>
                <a:close/>
              </a:path>
            </a:pathLst>
          </a:custGeom>
          <a:solidFill>
            <a:srgbClr val="FFC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Rectangle 29">
            <a:extLst>
              <a:ext uri="{FF2B5EF4-FFF2-40B4-BE49-F238E27FC236}">
                <a16:creationId xmlns:a16="http://schemas.microsoft.com/office/drawing/2014/main" id="{DEAB00C6-5F7B-1A48-A230-27CFF5F3E1CC}"/>
              </a:ext>
            </a:extLst>
          </p:cNvPr>
          <p:cNvSpPr/>
          <p:nvPr/>
        </p:nvSpPr>
        <p:spPr>
          <a:xfrm>
            <a:off x="1995238" y="4151700"/>
            <a:ext cx="575656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NVIROCRON</a:t>
            </a:r>
            <a:r>
              <a:rPr kumimoji="0" lang="en-US" b="1" i="0" u="none" strike="noStrike" kern="120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®</a:t>
            </a: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EPD  </a:t>
            </a:r>
            <a:r>
              <a:rPr lang="en-US" dirty="0">
                <a:solidFill>
                  <a:prstClr val="white"/>
                </a:solidFill>
              </a:rPr>
              <a:t>Extreme Protection Dielectric</a:t>
            </a:r>
          </a:p>
        </p:txBody>
      </p:sp>
      <p:sp>
        <p:nvSpPr>
          <p:cNvPr id="52" name="Freeform 51">
            <a:extLst>
              <a:ext uri="{FF2B5EF4-FFF2-40B4-BE49-F238E27FC236}">
                <a16:creationId xmlns:a16="http://schemas.microsoft.com/office/drawing/2014/main" id="{C48720A7-5E06-A94D-B0A4-31D6FBB1C44F}"/>
              </a:ext>
            </a:extLst>
          </p:cNvPr>
          <p:cNvSpPr/>
          <p:nvPr/>
        </p:nvSpPr>
        <p:spPr>
          <a:xfrm rot="10800000">
            <a:off x="7307714" y="4767725"/>
            <a:ext cx="3711684" cy="643471"/>
          </a:xfrm>
          <a:custGeom>
            <a:avLst/>
            <a:gdLst>
              <a:gd name="connsiteX0" fmla="*/ 0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0 w 2676588"/>
              <a:gd name="connsiteY4" fmla="*/ 0 h 363338"/>
              <a:gd name="connsiteX0" fmla="*/ 888545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888545 w 2676588"/>
              <a:gd name="connsiteY4" fmla="*/ 0 h 363338"/>
              <a:gd name="connsiteX0" fmla="*/ 0 w 1788043"/>
              <a:gd name="connsiteY0" fmla="*/ 0 h 363338"/>
              <a:gd name="connsiteX1" fmla="*/ 1788043 w 1788043"/>
              <a:gd name="connsiteY1" fmla="*/ 0 h 363338"/>
              <a:gd name="connsiteX2" fmla="*/ 1600319 w 1788043"/>
              <a:gd name="connsiteY2" fmla="*/ 363338 h 363338"/>
              <a:gd name="connsiteX3" fmla="*/ 0 w 1788043"/>
              <a:gd name="connsiteY3" fmla="*/ 363338 h 363338"/>
              <a:gd name="connsiteX4" fmla="*/ 0 w 1788043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138221 w 1926264"/>
              <a:gd name="connsiteY3" fmla="*/ 363338 h 363338"/>
              <a:gd name="connsiteX4" fmla="*/ 0 w 1926264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6284 w 1926264"/>
              <a:gd name="connsiteY3" fmla="*/ 363338 h 363338"/>
              <a:gd name="connsiteX4" fmla="*/ 0 w 1926264"/>
              <a:gd name="connsiteY4" fmla="*/ 0 h 363338"/>
              <a:gd name="connsiteX0" fmla="*/ 43978 w 1970242"/>
              <a:gd name="connsiteY0" fmla="*/ 0 h 363338"/>
              <a:gd name="connsiteX1" fmla="*/ 1970242 w 1970242"/>
              <a:gd name="connsiteY1" fmla="*/ 0 h 363338"/>
              <a:gd name="connsiteX2" fmla="*/ 1782518 w 1970242"/>
              <a:gd name="connsiteY2" fmla="*/ 363338 h 363338"/>
              <a:gd name="connsiteX3" fmla="*/ 0 w 1970242"/>
              <a:gd name="connsiteY3" fmla="*/ 363338 h 363338"/>
              <a:gd name="connsiteX4" fmla="*/ 43978 w 1970242"/>
              <a:gd name="connsiteY4" fmla="*/ 0 h 363338"/>
              <a:gd name="connsiteX0" fmla="*/ 0 w 1926264"/>
              <a:gd name="connsiteY0" fmla="*/ 0 h 369620"/>
              <a:gd name="connsiteX1" fmla="*/ 1926264 w 1926264"/>
              <a:gd name="connsiteY1" fmla="*/ 0 h 369620"/>
              <a:gd name="connsiteX2" fmla="*/ 1738540 w 1926264"/>
              <a:gd name="connsiteY2" fmla="*/ 363338 h 369620"/>
              <a:gd name="connsiteX3" fmla="*/ 6284 w 1926264"/>
              <a:gd name="connsiteY3" fmla="*/ 369620 h 369620"/>
              <a:gd name="connsiteX4" fmla="*/ 0 w 1926264"/>
              <a:gd name="connsiteY4" fmla="*/ 0 h 369620"/>
              <a:gd name="connsiteX0" fmla="*/ 6281 w 1932545"/>
              <a:gd name="connsiteY0" fmla="*/ 0 h 369620"/>
              <a:gd name="connsiteX1" fmla="*/ 1932545 w 1932545"/>
              <a:gd name="connsiteY1" fmla="*/ 0 h 369620"/>
              <a:gd name="connsiteX2" fmla="*/ 1744821 w 1932545"/>
              <a:gd name="connsiteY2" fmla="*/ 363338 h 369620"/>
              <a:gd name="connsiteX3" fmla="*/ 0 w 1932545"/>
              <a:gd name="connsiteY3" fmla="*/ 369620 h 369620"/>
              <a:gd name="connsiteX4" fmla="*/ 6281 w 1932545"/>
              <a:gd name="connsiteY4" fmla="*/ 0 h 369620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25132 w 1926264"/>
              <a:gd name="connsiteY3" fmla="*/ 357055 h 363338"/>
              <a:gd name="connsiteX4" fmla="*/ 0 w 1926264"/>
              <a:gd name="connsiteY4" fmla="*/ 0 h 363338"/>
              <a:gd name="connsiteX0" fmla="*/ 12564 w 1938828"/>
              <a:gd name="connsiteY0" fmla="*/ 0 h 363338"/>
              <a:gd name="connsiteX1" fmla="*/ 1938828 w 1938828"/>
              <a:gd name="connsiteY1" fmla="*/ 0 h 363338"/>
              <a:gd name="connsiteX2" fmla="*/ 1751104 w 1938828"/>
              <a:gd name="connsiteY2" fmla="*/ 363338 h 363338"/>
              <a:gd name="connsiteX3" fmla="*/ 0 w 1938828"/>
              <a:gd name="connsiteY3" fmla="*/ 363338 h 363338"/>
              <a:gd name="connsiteX4" fmla="*/ 12564 w 1938828"/>
              <a:gd name="connsiteY4" fmla="*/ 0 h 363338"/>
              <a:gd name="connsiteX0" fmla="*/ 0 w 1926264"/>
              <a:gd name="connsiteY0" fmla="*/ 0 h 369621"/>
              <a:gd name="connsiteX1" fmla="*/ 1926264 w 1926264"/>
              <a:gd name="connsiteY1" fmla="*/ 0 h 369621"/>
              <a:gd name="connsiteX2" fmla="*/ 1738540 w 1926264"/>
              <a:gd name="connsiteY2" fmla="*/ 363338 h 369621"/>
              <a:gd name="connsiteX3" fmla="*/ 6284 w 1926264"/>
              <a:gd name="connsiteY3" fmla="*/ 369621 h 369621"/>
              <a:gd name="connsiteX4" fmla="*/ 0 w 1926264"/>
              <a:gd name="connsiteY4" fmla="*/ 0 h 369621"/>
              <a:gd name="connsiteX0" fmla="*/ 43978 w 1970242"/>
              <a:gd name="connsiteY0" fmla="*/ 0 h 363339"/>
              <a:gd name="connsiteX1" fmla="*/ 1970242 w 1970242"/>
              <a:gd name="connsiteY1" fmla="*/ 0 h 363339"/>
              <a:gd name="connsiteX2" fmla="*/ 1782518 w 1970242"/>
              <a:gd name="connsiteY2" fmla="*/ 363338 h 363339"/>
              <a:gd name="connsiteX3" fmla="*/ 0 w 1970242"/>
              <a:gd name="connsiteY3" fmla="*/ 363339 h 363339"/>
              <a:gd name="connsiteX4" fmla="*/ 43978 w 1970242"/>
              <a:gd name="connsiteY4" fmla="*/ 0 h 363339"/>
              <a:gd name="connsiteX0" fmla="*/ 0 w 1926264"/>
              <a:gd name="connsiteY0" fmla="*/ 0 h 363339"/>
              <a:gd name="connsiteX1" fmla="*/ 1926264 w 1926264"/>
              <a:gd name="connsiteY1" fmla="*/ 0 h 363339"/>
              <a:gd name="connsiteX2" fmla="*/ 1738540 w 1926264"/>
              <a:gd name="connsiteY2" fmla="*/ 363338 h 363339"/>
              <a:gd name="connsiteX3" fmla="*/ 1 w 1926264"/>
              <a:gd name="connsiteY3" fmla="*/ 363339 h 363339"/>
              <a:gd name="connsiteX4" fmla="*/ 0 w 1926264"/>
              <a:gd name="connsiteY4" fmla="*/ 0 h 3633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6264" h="363339">
                <a:moveTo>
                  <a:pt x="0" y="0"/>
                </a:moveTo>
                <a:lnTo>
                  <a:pt x="1926264" y="0"/>
                </a:lnTo>
                <a:lnTo>
                  <a:pt x="1738540" y="363338"/>
                </a:lnTo>
                <a:lnTo>
                  <a:pt x="1" y="363339"/>
                </a:lnTo>
                <a:cubicBezTo>
                  <a:pt x="1" y="242226"/>
                  <a:pt x="0" y="121113"/>
                  <a:pt x="0" y="0"/>
                </a:cubicBezTo>
                <a:close/>
              </a:path>
            </a:pathLst>
          </a:custGeom>
          <a:solidFill>
            <a:schemeClr val="accent6"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Rectangle 34">
            <a:extLst>
              <a:ext uri="{FF2B5EF4-FFF2-40B4-BE49-F238E27FC236}">
                <a16:creationId xmlns:a16="http://schemas.microsoft.com/office/drawing/2014/main" id="{9AD1EBBE-D458-AB48-94B3-F05EAF70E5AB}"/>
              </a:ext>
            </a:extLst>
          </p:cNvPr>
          <p:cNvSpPr/>
          <p:nvPr/>
        </p:nvSpPr>
        <p:spPr>
          <a:xfrm>
            <a:off x="8623889" y="4899100"/>
            <a:ext cx="3200944" cy="369332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>
              <a:defRPr/>
            </a:pPr>
            <a:r>
              <a:rPr lang="en-US" dirty="0">
                <a:solidFill>
                  <a:schemeClr val="accent6"/>
                </a:solidFill>
              </a:rPr>
              <a:t>Durability</a:t>
            </a:r>
          </a:p>
        </p:txBody>
      </p:sp>
      <p:sp>
        <p:nvSpPr>
          <p:cNvPr id="54" name="Freeform 53">
            <a:extLst>
              <a:ext uri="{FF2B5EF4-FFF2-40B4-BE49-F238E27FC236}">
                <a16:creationId xmlns:a16="http://schemas.microsoft.com/office/drawing/2014/main" id="{FEC45C5A-B610-404A-AFF6-4670ABE6C21E}"/>
              </a:ext>
            </a:extLst>
          </p:cNvPr>
          <p:cNvSpPr/>
          <p:nvPr/>
        </p:nvSpPr>
        <p:spPr>
          <a:xfrm>
            <a:off x="1989347" y="4767578"/>
            <a:ext cx="6574361" cy="644051"/>
          </a:xfrm>
          <a:custGeom>
            <a:avLst/>
            <a:gdLst>
              <a:gd name="connsiteX0" fmla="*/ 0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0 w 2676588"/>
              <a:gd name="connsiteY4" fmla="*/ 0 h 363338"/>
              <a:gd name="connsiteX0" fmla="*/ 888545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888545 w 2676588"/>
              <a:gd name="connsiteY4" fmla="*/ 0 h 363338"/>
              <a:gd name="connsiteX0" fmla="*/ 0 w 1788043"/>
              <a:gd name="connsiteY0" fmla="*/ 0 h 363338"/>
              <a:gd name="connsiteX1" fmla="*/ 1788043 w 1788043"/>
              <a:gd name="connsiteY1" fmla="*/ 0 h 363338"/>
              <a:gd name="connsiteX2" fmla="*/ 1600319 w 1788043"/>
              <a:gd name="connsiteY2" fmla="*/ 363338 h 363338"/>
              <a:gd name="connsiteX3" fmla="*/ 0 w 1788043"/>
              <a:gd name="connsiteY3" fmla="*/ 363338 h 363338"/>
              <a:gd name="connsiteX4" fmla="*/ 0 w 1788043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138221 w 1926264"/>
              <a:gd name="connsiteY3" fmla="*/ 363338 h 363338"/>
              <a:gd name="connsiteX4" fmla="*/ 0 w 1926264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6284 w 1926264"/>
              <a:gd name="connsiteY3" fmla="*/ 363338 h 363338"/>
              <a:gd name="connsiteX4" fmla="*/ 0 w 1926264"/>
              <a:gd name="connsiteY4" fmla="*/ 0 h 363338"/>
              <a:gd name="connsiteX0" fmla="*/ 43978 w 1970242"/>
              <a:gd name="connsiteY0" fmla="*/ 0 h 363338"/>
              <a:gd name="connsiteX1" fmla="*/ 1970242 w 1970242"/>
              <a:gd name="connsiteY1" fmla="*/ 0 h 363338"/>
              <a:gd name="connsiteX2" fmla="*/ 1782518 w 1970242"/>
              <a:gd name="connsiteY2" fmla="*/ 363338 h 363338"/>
              <a:gd name="connsiteX3" fmla="*/ 0 w 1970242"/>
              <a:gd name="connsiteY3" fmla="*/ 363338 h 363338"/>
              <a:gd name="connsiteX4" fmla="*/ 43978 w 1970242"/>
              <a:gd name="connsiteY4" fmla="*/ 0 h 363338"/>
              <a:gd name="connsiteX0" fmla="*/ 0 w 1926264"/>
              <a:gd name="connsiteY0" fmla="*/ 0 h 369620"/>
              <a:gd name="connsiteX1" fmla="*/ 1926264 w 1926264"/>
              <a:gd name="connsiteY1" fmla="*/ 0 h 369620"/>
              <a:gd name="connsiteX2" fmla="*/ 1738540 w 1926264"/>
              <a:gd name="connsiteY2" fmla="*/ 363338 h 369620"/>
              <a:gd name="connsiteX3" fmla="*/ 6284 w 1926264"/>
              <a:gd name="connsiteY3" fmla="*/ 369620 h 369620"/>
              <a:gd name="connsiteX4" fmla="*/ 0 w 1926264"/>
              <a:gd name="connsiteY4" fmla="*/ 0 h 369620"/>
              <a:gd name="connsiteX0" fmla="*/ 6281 w 1932545"/>
              <a:gd name="connsiteY0" fmla="*/ 0 h 369620"/>
              <a:gd name="connsiteX1" fmla="*/ 1932545 w 1932545"/>
              <a:gd name="connsiteY1" fmla="*/ 0 h 369620"/>
              <a:gd name="connsiteX2" fmla="*/ 1744821 w 1932545"/>
              <a:gd name="connsiteY2" fmla="*/ 363338 h 369620"/>
              <a:gd name="connsiteX3" fmla="*/ 0 w 1932545"/>
              <a:gd name="connsiteY3" fmla="*/ 369620 h 369620"/>
              <a:gd name="connsiteX4" fmla="*/ 6281 w 1932545"/>
              <a:gd name="connsiteY4" fmla="*/ 0 h 369620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25132 w 1926264"/>
              <a:gd name="connsiteY3" fmla="*/ 357055 h 363338"/>
              <a:gd name="connsiteX4" fmla="*/ 0 w 1926264"/>
              <a:gd name="connsiteY4" fmla="*/ 0 h 363338"/>
              <a:gd name="connsiteX0" fmla="*/ 12564 w 1938828"/>
              <a:gd name="connsiteY0" fmla="*/ 0 h 363338"/>
              <a:gd name="connsiteX1" fmla="*/ 1938828 w 1938828"/>
              <a:gd name="connsiteY1" fmla="*/ 0 h 363338"/>
              <a:gd name="connsiteX2" fmla="*/ 1751104 w 1938828"/>
              <a:gd name="connsiteY2" fmla="*/ 363338 h 363338"/>
              <a:gd name="connsiteX3" fmla="*/ 0 w 1938828"/>
              <a:gd name="connsiteY3" fmla="*/ 363338 h 363338"/>
              <a:gd name="connsiteX4" fmla="*/ 12564 w 1938828"/>
              <a:gd name="connsiteY4" fmla="*/ 0 h 363338"/>
              <a:gd name="connsiteX0" fmla="*/ 0 w 1926264"/>
              <a:gd name="connsiteY0" fmla="*/ 0 h 369621"/>
              <a:gd name="connsiteX1" fmla="*/ 1926264 w 1926264"/>
              <a:gd name="connsiteY1" fmla="*/ 0 h 369621"/>
              <a:gd name="connsiteX2" fmla="*/ 1738540 w 1926264"/>
              <a:gd name="connsiteY2" fmla="*/ 363338 h 369621"/>
              <a:gd name="connsiteX3" fmla="*/ 6284 w 1926264"/>
              <a:gd name="connsiteY3" fmla="*/ 369621 h 369621"/>
              <a:gd name="connsiteX4" fmla="*/ 0 w 1926264"/>
              <a:gd name="connsiteY4" fmla="*/ 0 h 369621"/>
              <a:gd name="connsiteX0" fmla="*/ 43978 w 1970242"/>
              <a:gd name="connsiteY0" fmla="*/ 0 h 363339"/>
              <a:gd name="connsiteX1" fmla="*/ 1970242 w 1970242"/>
              <a:gd name="connsiteY1" fmla="*/ 0 h 363339"/>
              <a:gd name="connsiteX2" fmla="*/ 1782518 w 1970242"/>
              <a:gd name="connsiteY2" fmla="*/ 363338 h 363339"/>
              <a:gd name="connsiteX3" fmla="*/ 0 w 1970242"/>
              <a:gd name="connsiteY3" fmla="*/ 363339 h 363339"/>
              <a:gd name="connsiteX4" fmla="*/ 43978 w 1970242"/>
              <a:gd name="connsiteY4" fmla="*/ 0 h 363339"/>
              <a:gd name="connsiteX0" fmla="*/ 0 w 1926264"/>
              <a:gd name="connsiteY0" fmla="*/ 0 h 363339"/>
              <a:gd name="connsiteX1" fmla="*/ 1926264 w 1926264"/>
              <a:gd name="connsiteY1" fmla="*/ 0 h 363339"/>
              <a:gd name="connsiteX2" fmla="*/ 1738540 w 1926264"/>
              <a:gd name="connsiteY2" fmla="*/ 363338 h 363339"/>
              <a:gd name="connsiteX3" fmla="*/ 1 w 1926264"/>
              <a:gd name="connsiteY3" fmla="*/ 363339 h 363339"/>
              <a:gd name="connsiteX4" fmla="*/ 0 w 1926264"/>
              <a:gd name="connsiteY4" fmla="*/ 0 h 363339"/>
              <a:gd name="connsiteX0" fmla="*/ 0 w 3440015"/>
              <a:gd name="connsiteY0" fmla="*/ 0 h 363339"/>
              <a:gd name="connsiteX1" fmla="*/ 3440015 w 3440015"/>
              <a:gd name="connsiteY1" fmla="*/ 0 h 363339"/>
              <a:gd name="connsiteX2" fmla="*/ 3252291 w 3440015"/>
              <a:gd name="connsiteY2" fmla="*/ 363338 h 363339"/>
              <a:gd name="connsiteX3" fmla="*/ 1513752 w 3440015"/>
              <a:gd name="connsiteY3" fmla="*/ 363339 h 363339"/>
              <a:gd name="connsiteX4" fmla="*/ 0 w 3440015"/>
              <a:gd name="connsiteY4" fmla="*/ 0 h 363339"/>
              <a:gd name="connsiteX0" fmla="*/ 0 w 3440015"/>
              <a:gd name="connsiteY0" fmla="*/ 0 h 363339"/>
              <a:gd name="connsiteX1" fmla="*/ 3440015 w 3440015"/>
              <a:gd name="connsiteY1" fmla="*/ 0 h 363339"/>
              <a:gd name="connsiteX2" fmla="*/ 3252291 w 3440015"/>
              <a:gd name="connsiteY2" fmla="*/ 363338 h 363339"/>
              <a:gd name="connsiteX3" fmla="*/ 1 w 3440015"/>
              <a:gd name="connsiteY3" fmla="*/ 363339 h 363339"/>
              <a:gd name="connsiteX4" fmla="*/ 0 w 3440015"/>
              <a:gd name="connsiteY4" fmla="*/ 0 h 363339"/>
              <a:gd name="connsiteX0" fmla="*/ 0 w 3440015"/>
              <a:gd name="connsiteY0" fmla="*/ 0 h 363339"/>
              <a:gd name="connsiteX1" fmla="*/ 3440015 w 3440015"/>
              <a:gd name="connsiteY1" fmla="*/ 0 h 363339"/>
              <a:gd name="connsiteX2" fmla="*/ 3252291 w 3440015"/>
              <a:gd name="connsiteY2" fmla="*/ 363338 h 363339"/>
              <a:gd name="connsiteX3" fmla="*/ 192223 w 3440015"/>
              <a:gd name="connsiteY3" fmla="*/ 363339 h 363339"/>
              <a:gd name="connsiteX4" fmla="*/ 0 w 3440015"/>
              <a:gd name="connsiteY4" fmla="*/ 0 h 363339"/>
              <a:gd name="connsiteX0" fmla="*/ 0 w 3247793"/>
              <a:gd name="connsiteY0" fmla="*/ 0 h 363339"/>
              <a:gd name="connsiteX1" fmla="*/ 3247793 w 3247793"/>
              <a:gd name="connsiteY1" fmla="*/ 0 h 363339"/>
              <a:gd name="connsiteX2" fmla="*/ 3060069 w 3247793"/>
              <a:gd name="connsiteY2" fmla="*/ 363338 h 363339"/>
              <a:gd name="connsiteX3" fmla="*/ 1 w 3247793"/>
              <a:gd name="connsiteY3" fmla="*/ 363339 h 363339"/>
              <a:gd name="connsiteX4" fmla="*/ 0 w 3247793"/>
              <a:gd name="connsiteY4" fmla="*/ 0 h 363339"/>
              <a:gd name="connsiteX0" fmla="*/ 0 w 3247793"/>
              <a:gd name="connsiteY0" fmla="*/ 0 h 367713"/>
              <a:gd name="connsiteX1" fmla="*/ 3247793 w 3247793"/>
              <a:gd name="connsiteY1" fmla="*/ 0 h 367713"/>
              <a:gd name="connsiteX2" fmla="*/ 3060069 w 3247793"/>
              <a:gd name="connsiteY2" fmla="*/ 367713 h 367713"/>
              <a:gd name="connsiteX3" fmla="*/ 1 w 3247793"/>
              <a:gd name="connsiteY3" fmla="*/ 363339 h 367713"/>
              <a:gd name="connsiteX4" fmla="*/ 0 w 3247793"/>
              <a:gd name="connsiteY4" fmla="*/ 0 h 367713"/>
              <a:gd name="connsiteX0" fmla="*/ 3567 w 3251360"/>
              <a:gd name="connsiteY0" fmla="*/ 0 h 398667"/>
              <a:gd name="connsiteX1" fmla="*/ 3251360 w 3251360"/>
              <a:gd name="connsiteY1" fmla="*/ 0 h 398667"/>
              <a:gd name="connsiteX2" fmla="*/ 3063636 w 3251360"/>
              <a:gd name="connsiteY2" fmla="*/ 367713 h 398667"/>
              <a:gd name="connsiteX3" fmla="*/ 0 w 3251360"/>
              <a:gd name="connsiteY3" fmla="*/ 398667 h 398667"/>
              <a:gd name="connsiteX4" fmla="*/ 3567 w 3251360"/>
              <a:gd name="connsiteY4" fmla="*/ 0 h 398667"/>
              <a:gd name="connsiteX0" fmla="*/ 3567 w 3251360"/>
              <a:gd name="connsiteY0" fmla="*/ 0 h 367713"/>
              <a:gd name="connsiteX1" fmla="*/ 3251360 w 3251360"/>
              <a:gd name="connsiteY1" fmla="*/ 0 h 367713"/>
              <a:gd name="connsiteX2" fmla="*/ 3063636 w 3251360"/>
              <a:gd name="connsiteY2" fmla="*/ 367713 h 367713"/>
              <a:gd name="connsiteX3" fmla="*/ 0 w 3251360"/>
              <a:gd name="connsiteY3" fmla="*/ 367264 h 367713"/>
              <a:gd name="connsiteX4" fmla="*/ 3567 w 3251360"/>
              <a:gd name="connsiteY4" fmla="*/ 0 h 367713"/>
              <a:gd name="connsiteX0" fmla="*/ 0 w 3247793"/>
              <a:gd name="connsiteY0" fmla="*/ 0 h 367713"/>
              <a:gd name="connsiteX1" fmla="*/ 3247793 w 3247793"/>
              <a:gd name="connsiteY1" fmla="*/ 0 h 367713"/>
              <a:gd name="connsiteX2" fmla="*/ 3060069 w 3247793"/>
              <a:gd name="connsiteY2" fmla="*/ 367713 h 367713"/>
              <a:gd name="connsiteX3" fmla="*/ 1 w 3247793"/>
              <a:gd name="connsiteY3" fmla="*/ 367264 h 367713"/>
              <a:gd name="connsiteX4" fmla="*/ 0 w 3247793"/>
              <a:gd name="connsiteY4" fmla="*/ 0 h 367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47793" h="367713">
                <a:moveTo>
                  <a:pt x="0" y="0"/>
                </a:moveTo>
                <a:lnTo>
                  <a:pt x="3247793" y="0"/>
                </a:lnTo>
                <a:lnTo>
                  <a:pt x="3060069" y="367713"/>
                </a:lnTo>
                <a:lnTo>
                  <a:pt x="1" y="367264"/>
                </a:lnTo>
                <a:cubicBezTo>
                  <a:pt x="1" y="246151"/>
                  <a:pt x="0" y="121113"/>
                  <a:pt x="0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29">
            <a:extLst>
              <a:ext uri="{FF2B5EF4-FFF2-40B4-BE49-F238E27FC236}">
                <a16:creationId xmlns:a16="http://schemas.microsoft.com/office/drawing/2014/main" id="{03CB55D6-803A-0242-B8E9-4EDE49C485BF}"/>
              </a:ext>
            </a:extLst>
          </p:cNvPr>
          <p:cNvSpPr/>
          <p:nvPr/>
        </p:nvSpPr>
        <p:spPr>
          <a:xfrm>
            <a:off x="1995238" y="4903495"/>
            <a:ext cx="575656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b="1" dirty="0">
                <a:solidFill>
                  <a:prstClr val="white"/>
                </a:solidFill>
              </a:rPr>
              <a:t>CORAFLON</a:t>
            </a:r>
            <a:r>
              <a:rPr kumimoji="0" lang="en-US" b="1" i="0" u="none" strike="noStrike" kern="120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® </a:t>
            </a:r>
            <a:r>
              <a:rPr lang="en-US" b="1" dirty="0">
                <a:solidFill>
                  <a:prstClr val="white"/>
                </a:solidFill>
              </a:rPr>
              <a:t> Platinum  </a:t>
            </a:r>
            <a:r>
              <a:rPr lang="en-US" dirty="0">
                <a:solidFill>
                  <a:prstClr val="white"/>
                </a:solidFill>
              </a:rPr>
              <a:t>Hyper Durable</a:t>
            </a:r>
          </a:p>
        </p:txBody>
      </p:sp>
      <p:sp>
        <p:nvSpPr>
          <p:cNvPr id="56" name="Slide Number Placeholder 2">
            <a:extLst>
              <a:ext uri="{FF2B5EF4-FFF2-40B4-BE49-F238E27FC236}">
                <a16:creationId xmlns:a16="http://schemas.microsoft.com/office/drawing/2014/main" id="{3D22FF41-A204-7C4D-975A-73CCCE20BD53}"/>
              </a:ext>
            </a:extLst>
          </p:cNvPr>
          <p:cNvSpPr txBox="1">
            <a:spLocks/>
          </p:cNvSpPr>
          <p:nvPr/>
        </p:nvSpPr>
        <p:spPr>
          <a:xfrm>
            <a:off x="308056" y="6496407"/>
            <a:ext cx="455756" cy="17222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chemeClr val="tx2"/>
                </a:solidFill>
                <a:latin typeface="+mn-lt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666666"/>
                </a:solidFill>
                <a:latin typeface="Arial" panose="020B0604020202020204"/>
              </a:rPr>
              <a:t>12</a:t>
            </a:r>
          </a:p>
        </p:txBody>
      </p:sp>
      <p:sp>
        <p:nvSpPr>
          <p:cNvPr id="57" name="Footer Placeholder 1">
            <a:extLst>
              <a:ext uri="{FF2B5EF4-FFF2-40B4-BE49-F238E27FC236}">
                <a16:creationId xmlns:a16="http://schemas.microsoft.com/office/drawing/2014/main" id="{CBBA1702-1927-2046-B853-4B2B33E5AA03}"/>
              </a:ext>
            </a:extLst>
          </p:cNvPr>
          <p:cNvSpPr txBox="1">
            <a:spLocks/>
          </p:cNvSpPr>
          <p:nvPr/>
        </p:nvSpPr>
        <p:spPr>
          <a:xfrm>
            <a:off x="763811" y="6474105"/>
            <a:ext cx="9460550" cy="17222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chemeClr val="tx2"/>
                </a:solidFill>
                <a:latin typeface="+mn-lt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666666"/>
                </a:solidFill>
                <a:latin typeface="Arial" panose="020B0604020202020204"/>
              </a:rPr>
              <a:t>Powder Coatings from PPG ©2023 PPG Industries, Inc. All rights reserved</a:t>
            </a:r>
          </a:p>
        </p:txBody>
      </p:sp>
      <p:sp>
        <p:nvSpPr>
          <p:cNvPr id="58" name="Freeform 57">
            <a:extLst>
              <a:ext uri="{FF2B5EF4-FFF2-40B4-BE49-F238E27FC236}">
                <a16:creationId xmlns:a16="http://schemas.microsoft.com/office/drawing/2014/main" id="{50671C1F-288D-8544-846E-93987CE7754C}"/>
              </a:ext>
            </a:extLst>
          </p:cNvPr>
          <p:cNvSpPr/>
          <p:nvPr/>
        </p:nvSpPr>
        <p:spPr>
          <a:xfrm rot="10800000">
            <a:off x="7307714" y="5523216"/>
            <a:ext cx="3711684" cy="643471"/>
          </a:xfrm>
          <a:custGeom>
            <a:avLst/>
            <a:gdLst>
              <a:gd name="connsiteX0" fmla="*/ 0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0 w 2676588"/>
              <a:gd name="connsiteY4" fmla="*/ 0 h 363338"/>
              <a:gd name="connsiteX0" fmla="*/ 888545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888545 w 2676588"/>
              <a:gd name="connsiteY4" fmla="*/ 0 h 363338"/>
              <a:gd name="connsiteX0" fmla="*/ 0 w 1788043"/>
              <a:gd name="connsiteY0" fmla="*/ 0 h 363338"/>
              <a:gd name="connsiteX1" fmla="*/ 1788043 w 1788043"/>
              <a:gd name="connsiteY1" fmla="*/ 0 h 363338"/>
              <a:gd name="connsiteX2" fmla="*/ 1600319 w 1788043"/>
              <a:gd name="connsiteY2" fmla="*/ 363338 h 363338"/>
              <a:gd name="connsiteX3" fmla="*/ 0 w 1788043"/>
              <a:gd name="connsiteY3" fmla="*/ 363338 h 363338"/>
              <a:gd name="connsiteX4" fmla="*/ 0 w 1788043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138221 w 1926264"/>
              <a:gd name="connsiteY3" fmla="*/ 363338 h 363338"/>
              <a:gd name="connsiteX4" fmla="*/ 0 w 1926264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6284 w 1926264"/>
              <a:gd name="connsiteY3" fmla="*/ 363338 h 363338"/>
              <a:gd name="connsiteX4" fmla="*/ 0 w 1926264"/>
              <a:gd name="connsiteY4" fmla="*/ 0 h 363338"/>
              <a:gd name="connsiteX0" fmla="*/ 43978 w 1970242"/>
              <a:gd name="connsiteY0" fmla="*/ 0 h 363338"/>
              <a:gd name="connsiteX1" fmla="*/ 1970242 w 1970242"/>
              <a:gd name="connsiteY1" fmla="*/ 0 h 363338"/>
              <a:gd name="connsiteX2" fmla="*/ 1782518 w 1970242"/>
              <a:gd name="connsiteY2" fmla="*/ 363338 h 363338"/>
              <a:gd name="connsiteX3" fmla="*/ 0 w 1970242"/>
              <a:gd name="connsiteY3" fmla="*/ 363338 h 363338"/>
              <a:gd name="connsiteX4" fmla="*/ 43978 w 1970242"/>
              <a:gd name="connsiteY4" fmla="*/ 0 h 363338"/>
              <a:gd name="connsiteX0" fmla="*/ 0 w 1926264"/>
              <a:gd name="connsiteY0" fmla="*/ 0 h 369620"/>
              <a:gd name="connsiteX1" fmla="*/ 1926264 w 1926264"/>
              <a:gd name="connsiteY1" fmla="*/ 0 h 369620"/>
              <a:gd name="connsiteX2" fmla="*/ 1738540 w 1926264"/>
              <a:gd name="connsiteY2" fmla="*/ 363338 h 369620"/>
              <a:gd name="connsiteX3" fmla="*/ 6284 w 1926264"/>
              <a:gd name="connsiteY3" fmla="*/ 369620 h 369620"/>
              <a:gd name="connsiteX4" fmla="*/ 0 w 1926264"/>
              <a:gd name="connsiteY4" fmla="*/ 0 h 369620"/>
              <a:gd name="connsiteX0" fmla="*/ 6281 w 1932545"/>
              <a:gd name="connsiteY0" fmla="*/ 0 h 369620"/>
              <a:gd name="connsiteX1" fmla="*/ 1932545 w 1932545"/>
              <a:gd name="connsiteY1" fmla="*/ 0 h 369620"/>
              <a:gd name="connsiteX2" fmla="*/ 1744821 w 1932545"/>
              <a:gd name="connsiteY2" fmla="*/ 363338 h 369620"/>
              <a:gd name="connsiteX3" fmla="*/ 0 w 1932545"/>
              <a:gd name="connsiteY3" fmla="*/ 369620 h 369620"/>
              <a:gd name="connsiteX4" fmla="*/ 6281 w 1932545"/>
              <a:gd name="connsiteY4" fmla="*/ 0 h 369620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25132 w 1926264"/>
              <a:gd name="connsiteY3" fmla="*/ 357055 h 363338"/>
              <a:gd name="connsiteX4" fmla="*/ 0 w 1926264"/>
              <a:gd name="connsiteY4" fmla="*/ 0 h 363338"/>
              <a:gd name="connsiteX0" fmla="*/ 12564 w 1938828"/>
              <a:gd name="connsiteY0" fmla="*/ 0 h 363338"/>
              <a:gd name="connsiteX1" fmla="*/ 1938828 w 1938828"/>
              <a:gd name="connsiteY1" fmla="*/ 0 h 363338"/>
              <a:gd name="connsiteX2" fmla="*/ 1751104 w 1938828"/>
              <a:gd name="connsiteY2" fmla="*/ 363338 h 363338"/>
              <a:gd name="connsiteX3" fmla="*/ 0 w 1938828"/>
              <a:gd name="connsiteY3" fmla="*/ 363338 h 363338"/>
              <a:gd name="connsiteX4" fmla="*/ 12564 w 1938828"/>
              <a:gd name="connsiteY4" fmla="*/ 0 h 363338"/>
              <a:gd name="connsiteX0" fmla="*/ 0 w 1926264"/>
              <a:gd name="connsiteY0" fmla="*/ 0 h 369621"/>
              <a:gd name="connsiteX1" fmla="*/ 1926264 w 1926264"/>
              <a:gd name="connsiteY1" fmla="*/ 0 h 369621"/>
              <a:gd name="connsiteX2" fmla="*/ 1738540 w 1926264"/>
              <a:gd name="connsiteY2" fmla="*/ 363338 h 369621"/>
              <a:gd name="connsiteX3" fmla="*/ 6284 w 1926264"/>
              <a:gd name="connsiteY3" fmla="*/ 369621 h 369621"/>
              <a:gd name="connsiteX4" fmla="*/ 0 w 1926264"/>
              <a:gd name="connsiteY4" fmla="*/ 0 h 369621"/>
              <a:gd name="connsiteX0" fmla="*/ 43978 w 1970242"/>
              <a:gd name="connsiteY0" fmla="*/ 0 h 363339"/>
              <a:gd name="connsiteX1" fmla="*/ 1970242 w 1970242"/>
              <a:gd name="connsiteY1" fmla="*/ 0 h 363339"/>
              <a:gd name="connsiteX2" fmla="*/ 1782518 w 1970242"/>
              <a:gd name="connsiteY2" fmla="*/ 363338 h 363339"/>
              <a:gd name="connsiteX3" fmla="*/ 0 w 1970242"/>
              <a:gd name="connsiteY3" fmla="*/ 363339 h 363339"/>
              <a:gd name="connsiteX4" fmla="*/ 43978 w 1970242"/>
              <a:gd name="connsiteY4" fmla="*/ 0 h 363339"/>
              <a:gd name="connsiteX0" fmla="*/ 0 w 1926264"/>
              <a:gd name="connsiteY0" fmla="*/ 0 h 363339"/>
              <a:gd name="connsiteX1" fmla="*/ 1926264 w 1926264"/>
              <a:gd name="connsiteY1" fmla="*/ 0 h 363339"/>
              <a:gd name="connsiteX2" fmla="*/ 1738540 w 1926264"/>
              <a:gd name="connsiteY2" fmla="*/ 363338 h 363339"/>
              <a:gd name="connsiteX3" fmla="*/ 1 w 1926264"/>
              <a:gd name="connsiteY3" fmla="*/ 363339 h 363339"/>
              <a:gd name="connsiteX4" fmla="*/ 0 w 1926264"/>
              <a:gd name="connsiteY4" fmla="*/ 0 h 3633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6264" h="363339">
                <a:moveTo>
                  <a:pt x="0" y="0"/>
                </a:moveTo>
                <a:lnTo>
                  <a:pt x="1926264" y="0"/>
                </a:lnTo>
                <a:lnTo>
                  <a:pt x="1738540" y="363338"/>
                </a:lnTo>
                <a:lnTo>
                  <a:pt x="1" y="363339"/>
                </a:lnTo>
                <a:cubicBezTo>
                  <a:pt x="1" y="242226"/>
                  <a:pt x="0" y="121113"/>
                  <a:pt x="0" y="0"/>
                </a:cubicBezTo>
                <a:close/>
              </a:path>
            </a:pathLst>
          </a:custGeom>
          <a:solidFill>
            <a:schemeClr val="accent5"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Rectangle 34">
            <a:extLst>
              <a:ext uri="{FF2B5EF4-FFF2-40B4-BE49-F238E27FC236}">
                <a16:creationId xmlns:a16="http://schemas.microsoft.com/office/drawing/2014/main" id="{DF0C3164-3194-C842-BB4A-8D22645E5E05}"/>
              </a:ext>
            </a:extLst>
          </p:cNvPr>
          <p:cNvSpPr/>
          <p:nvPr/>
        </p:nvSpPr>
        <p:spPr>
          <a:xfrm>
            <a:off x="8623889" y="5654591"/>
            <a:ext cx="3200944" cy="369332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>
              <a:defRPr/>
            </a:pPr>
            <a:r>
              <a:rPr lang="en-US" dirty="0">
                <a:solidFill>
                  <a:schemeClr val="accent5"/>
                </a:solidFill>
              </a:rPr>
              <a:t>Substrate</a:t>
            </a:r>
          </a:p>
        </p:txBody>
      </p:sp>
      <p:sp>
        <p:nvSpPr>
          <p:cNvPr id="60" name="Freeform 59">
            <a:extLst>
              <a:ext uri="{FF2B5EF4-FFF2-40B4-BE49-F238E27FC236}">
                <a16:creationId xmlns:a16="http://schemas.microsoft.com/office/drawing/2014/main" id="{9C21FA9D-A5EA-434D-9948-5701A4EBA231}"/>
              </a:ext>
            </a:extLst>
          </p:cNvPr>
          <p:cNvSpPr/>
          <p:nvPr/>
        </p:nvSpPr>
        <p:spPr>
          <a:xfrm>
            <a:off x="1989347" y="5523069"/>
            <a:ext cx="6574361" cy="645637"/>
          </a:xfrm>
          <a:custGeom>
            <a:avLst/>
            <a:gdLst>
              <a:gd name="connsiteX0" fmla="*/ 0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0 w 2676588"/>
              <a:gd name="connsiteY4" fmla="*/ 0 h 363338"/>
              <a:gd name="connsiteX0" fmla="*/ 888545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888545 w 2676588"/>
              <a:gd name="connsiteY4" fmla="*/ 0 h 363338"/>
              <a:gd name="connsiteX0" fmla="*/ 0 w 1788043"/>
              <a:gd name="connsiteY0" fmla="*/ 0 h 363338"/>
              <a:gd name="connsiteX1" fmla="*/ 1788043 w 1788043"/>
              <a:gd name="connsiteY1" fmla="*/ 0 h 363338"/>
              <a:gd name="connsiteX2" fmla="*/ 1600319 w 1788043"/>
              <a:gd name="connsiteY2" fmla="*/ 363338 h 363338"/>
              <a:gd name="connsiteX3" fmla="*/ 0 w 1788043"/>
              <a:gd name="connsiteY3" fmla="*/ 363338 h 363338"/>
              <a:gd name="connsiteX4" fmla="*/ 0 w 1788043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138221 w 1926264"/>
              <a:gd name="connsiteY3" fmla="*/ 363338 h 363338"/>
              <a:gd name="connsiteX4" fmla="*/ 0 w 1926264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6284 w 1926264"/>
              <a:gd name="connsiteY3" fmla="*/ 363338 h 363338"/>
              <a:gd name="connsiteX4" fmla="*/ 0 w 1926264"/>
              <a:gd name="connsiteY4" fmla="*/ 0 h 363338"/>
              <a:gd name="connsiteX0" fmla="*/ 43978 w 1970242"/>
              <a:gd name="connsiteY0" fmla="*/ 0 h 363338"/>
              <a:gd name="connsiteX1" fmla="*/ 1970242 w 1970242"/>
              <a:gd name="connsiteY1" fmla="*/ 0 h 363338"/>
              <a:gd name="connsiteX2" fmla="*/ 1782518 w 1970242"/>
              <a:gd name="connsiteY2" fmla="*/ 363338 h 363338"/>
              <a:gd name="connsiteX3" fmla="*/ 0 w 1970242"/>
              <a:gd name="connsiteY3" fmla="*/ 363338 h 363338"/>
              <a:gd name="connsiteX4" fmla="*/ 43978 w 1970242"/>
              <a:gd name="connsiteY4" fmla="*/ 0 h 363338"/>
              <a:gd name="connsiteX0" fmla="*/ 0 w 1926264"/>
              <a:gd name="connsiteY0" fmla="*/ 0 h 369620"/>
              <a:gd name="connsiteX1" fmla="*/ 1926264 w 1926264"/>
              <a:gd name="connsiteY1" fmla="*/ 0 h 369620"/>
              <a:gd name="connsiteX2" fmla="*/ 1738540 w 1926264"/>
              <a:gd name="connsiteY2" fmla="*/ 363338 h 369620"/>
              <a:gd name="connsiteX3" fmla="*/ 6284 w 1926264"/>
              <a:gd name="connsiteY3" fmla="*/ 369620 h 369620"/>
              <a:gd name="connsiteX4" fmla="*/ 0 w 1926264"/>
              <a:gd name="connsiteY4" fmla="*/ 0 h 369620"/>
              <a:gd name="connsiteX0" fmla="*/ 6281 w 1932545"/>
              <a:gd name="connsiteY0" fmla="*/ 0 h 369620"/>
              <a:gd name="connsiteX1" fmla="*/ 1932545 w 1932545"/>
              <a:gd name="connsiteY1" fmla="*/ 0 h 369620"/>
              <a:gd name="connsiteX2" fmla="*/ 1744821 w 1932545"/>
              <a:gd name="connsiteY2" fmla="*/ 363338 h 369620"/>
              <a:gd name="connsiteX3" fmla="*/ 0 w 1932545"/>
              <a:gd name="connsiteY3" fmla="*/ 369620 h 369620"/>
              <a:gd name="connsiteX4" fmla="*/ 6281 w 1932545"/>
              <a:gd name="connsiteY4" fmla="*/ 0 h 369620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25132 w 1926264"/>
              <a:gd name="connsiteY3" fmla="*/ 357055 h 363338"/>
              <a:gd name="connsiteX4" fmla="*/ 0 w 1926264"/>
              <a:gd name="connsiteY4" fmla="*/ 0 h 363338"/>
              <a:gd name="connsiteX0" fmla="*/ 12564 w 1938828"/>
              <a:gd name="connsiteY0" fmla="*/ 0 h 363338"/>
              <a:gd name="connsiteX1" fmla="*/ 1938828 w 1938828"/>
              <a:gd name="connsiteY1" fmla="*/ 0 h 363338"/>
              <a:gd name="connsiteX2" fmla="*/ 1751104 w 1938828"/>
              <a:gd name="connsiteY2" fmla="*/ 363338 h 363338"/>
              <a:gd name="connsiteX3" fmla="*/ 0 w 1938828"/>
              <a:gd name="connsiteY3" fmla="*/ 363338 h 363338"/>
              <a:gd name="connsiteX4" fmla="*/ 12564 w 1938828"/>
              <a:gd name="connsiteY4" fmla="*/ 0 h 363338"/>
              <a:gd name="connsiteX0" fmla="*/ 0 w 1926264"/>
              <a:gd name="connsiteY0" fmla="*/ 0 h 369621"/>
              <a:gd name="connsiteX1" fmla="*/ 1926264 w 1926264"/>
              <a:gd name="connsiteY1" fmla="*/ 0 h 369621"/>
              <a:gd name="connsiteX2" fmla="*/ 1738540 w 1926264"/>
              <a:gd name="connsiteY2" fmla="*/ 363338 h 369621"/>
              <a:gd name="connsiteX3" fmla="*/ 6284 w 1926264"/>
              <a:gd name="connsiteY3" fmla="*/ 369621 h 369621"/>
              <a:gd name="connsiteX4" fmla="*/ 0 w 1926264"/>
              <a:gd name="connsiteY4" fmla="*/ 0 h 369621"/>
              <a:gd name="connsiteX0" fmla="*/ 43978 w 1970242"/>
              <a:gd name="connsiteY0" fmla="*/ 0 h 363339"/>
              <a:gd name="connsiteX1" fmla="*/ 1970242 w 1970242"/>
              <a:gd name="connsiteY1" fmla="*/ 0 h 363339"/>
              <a:gd name="connsiteX2" fmla="*/ 1782518 w 1970242"/>
              <a:gd name="connsiteY2" fmla="*/ 363338 h 363339"/>
              <a:gd name="connsiteX3" fmla="*/ 0 w 1970242"/>
              <a:gd name="connsiteY3" fmla="*/ 363339 h 363339"/>
              <a:gd name="connsiteX4" fmla="*/ 43978 w 1970242"/>
              <a:gd name="connsiteY4" fmla="*/ 0 h 363339"/>
              <a:gd name="connsiteX0" fmla="*/ 0 w 1926264"/>
              <a:gd name="connsiteY0" fmla="*/ 0 h 363339"/>
              <a:gd name="connsiteX1" fmla="*/ 1926264 w 1926264"/>
              <a:gd name="connsiteY1" fmla="*/ 0 h 363339"/>
              <a:gd name="connsiteX2" fmla="*/ 1738540 w 1926264"/>
              <a:gd name="connsiteY2" fmla="*/ 363338 h 363339"/>
              <a:gd name="connsiteX3" fmla="*/ 1 w 1926264"/>
              <a:gd name="connsiteY3" fmla="*/ 363339 h 363339"/>
              <a:gd name="connsiteX4" fmla="*/ 0 w 1926264"/>
              <a:gd name="connsiteY4" fmla="*/ 0 h 363339"/>
              <a:gd name="connsiteX0" fmla="*/ 0 w 3440015"/>
              <a:gd name="connsiteY0" fmla="*/ 0 h 363339"/>
              <a:gd name="connsiteX1" fmla="*/ 3440015 w 3440015"/>
              <a:gd name="connsiteY1" fmla="*/ 0 h 363339"/>
              <a:gd name="connsiteX2" fmla="*/ 3252291 w 3440015"/>
              <a:gd name="connsiteY2" fmla="*/ 363338 h 363339"/>
              <a:gd name="connsiteX3" fmla="*/ 1513752 w 3440015"/>
              <a:gd name="connsiteY3" fmla="*/ 363339 h 363339"/>
              <a:gd name="connsiteX4" fmla="*/ 0 w 3440015"/>
              <a:gd name="connsiteY4" fmla="*/ 0 h 363339"/>
              <a:gd name="connsiteX0" fmla="*/ 0 w 3440015"/>
              <a:gd name="connsiteY0" fmla="*/ 0 h 363339"/>
              <a:gd name="connsiteX1" fmla="*/ 3440015 w 3440015"/>
              <a:gd name="connsiteY1" fmla="*/ 0 h 363339"/>
              <a:gd name="connsiteX2" fmla="*/ 3252291 w 3440015"/>
              <a:gd name="connsiteY2" fmla="*/ 363338 h 363339"/>
              <a:gd name="connsiteX3" fmla="*/ 1 w 3440015"/>
              <a:gd name="connsiteY3" fmla="*/ 363339 h 363339"/>
              <a:gd name="connsiteX4" fmla="*/ 0 w 3440015"/>
              <a:gd name="connsiteY4" fmla="*/ 0 h 363339"/>
              <a:gd name="connsiteX0" fmla="*/ 0 w 3440015"/>
              <a:gd name="connsiteY0" fmla="*/ 0 h 363339"/>
              <a:gd name="connsiteX1" fmla="*/ 3440015 w 3440015"/>
              <a:gd name="connsiteY1" fmla="*/ 0 h 363339"/>
              <a:gd name="connsiteX2" fmla="*/ 3252291 w 3440015"/>
              <a:gd name="connsiteY2" fmla="*/ 363338 h 363339"/>
              <a:gd name="connsiteX3" fmla="*/ 192223 w 3440015"/>
              <a:gd name="connsiteY3" fmla="*/ 363339 h 363339"/>
              <a:gd name="connsiteX4" fmla="*/ 0 w 3440015"/>
              <a:gd name="connsiteY4" fmla="*/ 0 h 363339"/>
              <a:gd name="connsiteX0" fmla="*/ 0 w 3247793"/>
              <a:gd name="connsiteY0" fmla="*/ 0 h 363339"/>
              <a:gd name="connsiteX1" fmla="*/ 3247793 w 3247793"/>
              <a:gd name="connsiteY1" fmla="*/ 0 h 363339"/>
              <a:gd name="connsiteX2" fmla="*/ 3060069 w 3247793"/>
              <a:gd name="connsiteY2" fmla="*/ 363338 h 363339"/>
              <a:gd name="connsiteX3" fmla="*/ 1 w 3247793"/>
              <a:gd name="connsiteY3" fmla="*/ 363339 h 363339"/>
              <a:gd name="connsiteX4" fmla="*/ 0 w 3247793"/>
              <a:gd name="connsiteY4" fmla="*/ 0 h 363339"/>
              <a:gd name="connsiteX0" fmla="*/ 0 w 3247793"/>
              <a:gd name="connsiteY0" fmla="*/ 0 h 367713"/>
              <a:gd name="connsiteX1" fmla="*/ 3247793 w 3247793"/>
              <a:gd name="connsiteY1" fmla="*/ 0 h 367713"/>
              <a:gd name="connsiteX2" fmla="*/ 3060069 w 3247793"/>
              <a:gd name="connsiteY2" fmla="*/ 367713 h 367713"/>
              <a:gd name="connsiteX3" fmla="*/ 1 w 3247793"/>
              <a:gd name="connsiteY3" fmla="*/ 363339 h 367713"/>
              <a:gd name="connsiteX4" fmla="*/ 0 w 3247793"/>
              <a:gd name="connsiteY4" fmla="*/ 0 h 367713"/>
              <a:gd name="connsiteX0" fmla="*/ 5272 w 3253065"/>
              <a:gd name="connsiteY0" fmla="*/ 0 h 369148"/>
              <a:gd name="connsiteX1" fmla="*/ 3253065 w 3253065"/>
              <a:gd name="connsiteY1" fmla="*/ 0 h 369148"/>
              <a:gd name="connsiteX2" fmla="*/ 3065341 w 3253065"/>
              <a:gd name="connsiteY2" fmla="*/ 367713 h 369148"/>
              <a:gd name="connsiteX3" fmla="*/ 0 w 3253065"/>
              <a:gd name="connsiteY3" fmla="*/ 369148 h 369148"/>
              <a:gd name="connsiteX4" fmla="*/ 5272 w 3253065"/>
              <a:gd name="connsiteY4" fmla="*/ 0 h 369148"/>
              <a:gd name="connsiteX0" fmla="*/ 0 w 3247793"/>
              <a:gd name="connsiteY0" fmla="*/ 0 h 369148"/>
              <a:gd name="connsiteX1" fmla="*/ 3247793 w 3247793"/>
              <a:gd name="connsiteY1" fmla="*/ 0 h 369148"/>
              <a:gd name="connsiteX2" fmla="*/ 3060069 w 3247793"/>
              <a:gd name="connsiteY2" fmla="*/ 367713 h 369148"/>
              <a:gd name="connsiteX3" fmla="*/ 1864 w 3247793"/>
              <a:gd name="connsiteY3" fmla="*/ 369148 h 369148"/>
              <a:gd name="connsiteX4" fmla="*/ 0 w 3247793"/>
              <a:gd name="connsiteY4" fmla="*/ 0 h 3691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47793" h="369148">
                <a:moveTo>
                  <a:pt x="0" y="0"/>
                </a:moveTo>
                <a:lnTo>
                  <a:pt x="3247793" y="0"/>
                </a:lnTo>
                <a:lnTo>
                  <a:pt x="3060069" y="367713"/>
                </a:lnTo>
                <a:lnTo>
                  <a:pt x="1864" y="369148"/>
                </a:lnTo>
                <a:cubicBezTo>
                  <a:pt x="1864" y="248035"/>
                  <a:pt x="0" y="121113"/>
                  <a:pt x="0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29">
            <a:extLst>
              <a:ext uri="{FF2B5EF4-FFF2-40B4-BE49-F238E27FC236}">
                <a16:creationId xmlns:a16="http://schemas.microsoft.com/office/drawing/2014/main" id="{1118216C-AFF4-3D4C-A820-6C4ECEF800E6}"/>
              </a:ext>
            </a:extLst>
          </p:cNvPr>
          <p:cNvSpPr/>
          <p:nvPr/>
        </p:nvSpPr>
        <p:spPr>
          <a:xfrm>
            <a:off x="1995238" y="5658986"/>
            <a:ext cx="607023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NVIROCRON</a:t>
            </a:r>
            <a:r>
              <a:rPr kumimoji="0" lang="en-US" b="1" i="0" u="none" strike="noStrike" kern="120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® </a:t>
            </a:r>
            <a:r>
              <a:rPr lang="en-US" b="1" dirty="0" err="1">
                <a:solidFill>
                  <a:prstClr val="white"/>
                </a:solidFill>
              </a:rPr>
              <a:t>HeatSense</a:t>
            </a:r>
            <a:r>
              <a:rPr lang="en-US" b="1" dirty="0">
                <a:solidFill>
                  <a:prstClr val="white"/>
                </a:solidFill>
              </a:rPr>
              <a:t> </a:t>
            </a:r>
            <a:r>
              <a:rPr lang="en-US" dirty="0">
                <a:solidFill>
                  <a:prstClr val="white"/>
                </a:solidFill>
              </a:rPr>
              <a:t>Thermal Sensitive Substrate</a:t>
            </a:r>
          </a:p>
        </p:txBody>
      </p:sp>
    </p:spTree>
    <p:extLst>
      <p:ext uri="{BB962C8B-B14F-4D97-AF65-F5344CB8AC3E}">
        <p14:creationId xmlns:p14="http://schemas.microsoft.com/office/powerpoint/2010/main" val="361202499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wder innovative technologies responding to industry challenges</a:t>
            </a:r>
            <a:endParaRPr lang="pl-PL" dirty="0"/>
          </a:p>
        </p:txBody>
      </p:sp>
      <p:pic>
        <p:nvPicPr>
          <p:cNvPr id="62" name="Picture Placeholder 2">
            <a:extLst>
              <a:ext uri="{FF2B5EF4-FFF2-40B4-BE49-F238E27FC236}">
                <a16:creationId xmlns:a16="http://schemas.microsoft.com/office/drawing/2014/main" id="{BAF3AAD5-39C3-4065-84D6-04BCC9944CF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9014" y="1033516"/>
            <a:ext cx="1640334" cy="631583"/>
          </a:xfrm>
          <a:prstGeom prst="rect">
            <a:avLst/>
          </a:prstGeom>
        </p:spPr>
      </p:pic>
      <p:sp>
        <p:nvSpPr>
          <p:cNvPr id="35" name="Freeform 34">
            <a:extLst>
              <a:ext uri="{FF2B5EF4-FFF2-40B4-BE49-F238E27FC236}">
                <a16:creationId xmlns:a16="http://schemas.microsoft.com/office/drawing/2014/main" id="{7A50FDF4-79D6-2A4F-98E6-4049E30118DB}"/>
              </a:ext>
            </a:extLst>
          </p:cNvPr>
          <p:cNvSpPr/>
          <p:nvPr/>
        </p:nvSpPr>
        <p:spPr>
          <a:xfrm rot="10800000">
            <a:off x="7313176" y="1031107"/>
            <a:ext cx="3711684" cy="636399"/>
          </a:xfrm>
          <a:custGeom>
            <a:avLst/>
            <a:gdLst>
              <a:gd name="connsiteX0" fmla="*/ 0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0 w 2676588"/>
              <a:gd name="connsiteY4" fmla="*/ 0 h 363338"/>
              <a:gd name="connsiteX0" fmla="*/ 888545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888545 w 2676588"/>
              <a:gd name="connsiteY4" fmla="*/ 0 h 363338"/>
              <a:gd name="connsiteX0" fmla="*/ 0 w 1788043"/>
              <a:gd name="connsiteY0" fmla="*/ 0 h 363338"/>
              <a:gd name="connsiteX1" fmla="*/ 1788043 w 1788043"/>
              <a:gd name="connsiteY1" fmla="*/ 0 h 363338"/>
              <a:gd name="connsiteX2" fmla="*/ 1600319 w 1788043"/>
              <a:gd name="connsiteY2" fmla="*/ 363338 h 363338"/>
              <a:gd name="connsiteX3" fmla="*/ 0 w 1788043"/>
              <a:gd name="connsiteY3" fmla="*/ 363338 h 363338"/>
              <a:gd name="connsiteX4" fmla="*/ 0 w 1788043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138221 w 1926264"/>
              <a:gd name="connsiteY3" fmla="*/ 363338 h 363338"/>
              <a:gd name="connsiteX4" fmla="*/ 0 w 1926264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6284 w 1926264"/>
              <a:gd name="connsiteY3" fmla="*/ 363338 h 363338"/>
              <a:gd name="connsiteX4" fmla="*/ 0 w 1926264"/>
              <a:gd name="connsiteY4" fmla="*/ 0 h 363338"/>
              <a:gd name="connsiteX0" fmla="*/ 43978 w 1970242"/>
              <a:gd name="connsiteY0" fmla="*/ 0 h 363338"/>
              <a:gd name="connsiteX1" fmla="*/ 1970242 w 1970242"/>
              <a:gd name="connsiteY1" fmla="*/ 0 h 363338"/>
              <a:gd name="connsiteX2" fmla="*/ 1782518 w 1970242"/>
              <a:gd name="connsiteY2" fmla="*/ 363338 h 363338"/>
              <a:gd name="connsiteX3" fmla="*/ 0 w 1970242"/>
              <a:gd name="connsiteY3" fmla="*/ 363338 h 363338"/>
              <a:gd name="connsiteX4" fmla="*/ 43978 w 1970242"/>
              <a:gd name="connsiteY4" fmla="*/ 0 h 363338"/>
              <a:gd name="connsiteX0" fmla="*/ 0 w 1926264"/>
              <a:gd name="connsiteY0" fmla="*/ 0 h 369620"/>
              <a:gd name="connsiteX1" fmla="*/ 1926264 w 1926264"/>
              <a:gd name="connsiteY1" fmla="*/ 0 h 369620"/>
              <a:gd name="connsiteX2" fmla="*/ 1738540 w 1926264"/>
              <a:gd name="connsiteY2" fmla="*/ 363338 h 369620"/>
              <a:gd name="connsiteX3" fmla="*/ 6284 w 1926264"/>
              <a:gd name="connsiteY3" fmla="*/ 369620 h 369620"/>
              <a:gd name="connsiteX4" fmla="*/ 0 w 1926264"/>
              <a:gd name="connsiteY4" fmla="*/ 0 h 369620"/>
              <a:gd name="connsiteX0" fmla="*/ 6281 w 1932545"/>
              <a:gd name="connsiteY0" fmla="*/ 0 h 369620"/>
              <a:gd name="connsiteX1" fmla="*/ 1932545 w 1932545"/>
              <a:gd name="connsiteY1" fmla="*/ 0 h 369620"/>
              <a:gd name="connsiteX2" fmla="*/ 1744821 w 1932545"/>
              <a:gd name="connsiteY2" fmla="*/ 363338 h 369620"/>
              <a:gd name="connsiteX3" fmla="*/ 0 w 1932545"/>
              <a:gd name="connsiteY3" fmla="*/ 369620 h 369620"/>
              <a:gd name="connsiteX4" fmla="*/ 6281 w 1932545"/>
              <a:gd name="connsiteY4" fmla="*/ 0 h 369620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25132 w 1926264"/>
              <a:gd name="connsiteY3" fmla="*/ 357055 h 363338"/>
              <a:gd name="connsiteX4" fmla="*/ 0 w 1926264"/>
              <a:gd name="connsiteY4" fmla="*/ 0 h 363338"/>
              <a:gd name="connsiteX0" fmla="*/ 12564 w 1938828"/>
              <a:gd name="connsiteY0" fmla="*/ 0 h 363338"/>
              <a:gd name="connsiteX1" fmla="*/ 1938828 w 1938828"/>
              <a:gd name="connsiteY1" fmla="*/ 0 h 363338"/>
              <a:gd name="connsiteX2" fmla="*/ 1751104 w 1938828"/>
              <a:gd name="connsiteY2" fmla="*/ 363338 h 363338"/>
              <a:gd name="connsiteX3" fmla="*/ 0 w 1938828"/>
              <a:gd name="connsiteY3" fmla="*/ 363338 h 363338"/>
              <a:gd name="connsiteX4" fmla="*/ 12564 w 1938828"/>
              <a:gd name="connsiteY4" fmla="*/ 0 h 363338"/>
              <a:gd name="connsiteX0" fmla="*/ 0 w 1926264"/>
              <a:gd name="connsiteY0" fmla="*/ 0 h 369621"/>
              <a:gd name="connsiteX1" fmla="*/ 1926264 w 1926264"/>
              <a:gd name="connsiteY1" fmla="*/ 0 h 369621"/>
              <a:gd name="connsiteX2" fmla="*/ 1738540 w 1926264"/>
              <a:gd name="connsiteY2" fmla="*/ 363338 h 369621"/>
              <a:gd name="connsiteX3" fmla="*/ 6284 w 1926264"/>
              <a:gd name="connsiteY3" fmla="*/ 369621 h 369621"/>
              <a:gd name="connsiteX4" fmla="*/ 0 w 1926264"/>
              <a:gd name="connsiteY4" fmla="*/ 0 h 369621"/>
              <a:gd name="connsiteX0" fmla="*/ 43978 w 1970242"/>
              <a:gd name="connsiteY0" fmla="*/ 0 h 363339"/>
              <a:gd name="connsiteX1" fmla="*/ 1970242 w 1970242"/>
              <a:gd name="connsiteY1" fmla="*/ 0 h 363339"/>
              <a:gd name="connsiteX2" fmla="*/ 1782518 w 1970242"/>
              <a:gd name="connsiteY2" fmla="*/ 363338 h 363339"/>
              <a:gd name="connsiteX3" fmla="*/ 0 w 1970242"/>
              <a:gd name="connsiteY3" fmla="*/ 363339 h 363339"/>
              <a:gd name="connsiteX4" fmla="*/ 43978 w 1970242"/>
              <a:gd name="connsiteY4" fmla="*/ 0 h 363339"/>
              <a:gd name="connsiteX0" fmla="*/ 0 w 1926264"/>
              <a:gd name="connsiteY0" fmla="*/ 0 h 363339"/>
              <a:gd name="connsiteX1" fmla="*/ 1926264 w 1926264"/>
              <a:gd name="connsiteY1" fmla="*/ 0 h 363339"/>
              <a:gd name="connsiteX2" fmla="*/ 1738540 w 1926264"/>
              <a:gd name="connsiteY2" fmla="*/ 363338 h 363339"/>
              <a:gd name="connsiteX3" fmla="*/ 1 w 1926264"/>
              <a:gd name="connsiteY3" fmla="*/ 363339 h 363339"/>
              <a:gd name="connsiteX4" fmla="*/ 0 w 1926264"/>
              <a:gd name="connsiteY4" fmla="*/ 0 h 3633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6264" h="363339">
                <a:moveTo>
                  <a:pt x="0" y="0"/>
                </a:moveTo>
                <a:lnTo>
                  <a:pt x="1926264" y="0"/>
                </a:lnTo>
                <a:lnTo>
                  <a:pt x="1738540" y="363338"/>
                </a:lnTo>
                <a:lnTo>
                  <a:pt x="1" y="363339"/>
                </a:lnTo>
                <a:cubicBezTo>
                  <a:pt x="1" y="242226"/>
                  <a:pt x="0" y="121113"/>
                  <a:pt x="0" y="0"/>
                </a:cubicBezTo>
                <a:close/>
              </a:path>
            </a:pathLst>
          </a:custGeom>
          <a:solidFill>
            <a:schemeClr val="bg2">
              <a:lumMod val="85000"/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Rectangle 34">
            <a:extLst>
              <a:ext uri="{FF2B5EF4-FFF2-40B4-BE49-F238E27FC236}">
                <a16:creationId xmlns:a16="http://schemas.microsoft.com/office/drawing/2014/main" id="{E9960FEC-AA7F-4D5A-B35B-8919753A3E7E}"/>
              </a:ext>
            </a:extLst>
          </p:cNvPr>
          <p:cNvSpPr/>
          <p:nvPr/>
        </p:nvSpPr>
        <p:spPr>
          <a:xfrm>
            <a:off x="8613876" y="1164641"/>
            <a:ext cx="2050477" cy="369332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85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ductivity</a:t>
            </a:r>
          </a:p>
        </p:txBody>
      </p:sp>
      <p:sp>
        <p:nvSpPr>
          <p:cNvPr id="34" name="Freeform 33">
            <a:extLst>
              <a:ext uri="{FF2B5EF4-FFF2-40B4-BE49-F238E27FC236}">
                <a16:creationId xmlns:a16="http://schemas.microsoft.com/office/drawing/2014/main" id="{DD67436E-3A31-ED46-9213-6C517AB146EB}"/>
              </a:ext>
            </a:extLst>
          </p:cNvPr>
          <p:cNvSpPr/>
          <p:nvPr/>
        </p:nvSpPr>
        <p:spPr>
          <a:xfrm>
            <a:off x="1994810" y="1028936"/>
            <a:ext cx="6568898" cy="640743"/>
          </a:xfrm>
          <a:custGeom>
            <a:avLst/>
            <a:gdLst>
              <a:gd name="connsiteX0" fmla="*/ 0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0 w 2676588"/>
              <a:gd name="connsiteY4" fmla="*/ 0 h 363338"/>
              <a:gd name="connsiteX0" fmla="*/ 888545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888545 w 2676588"/>
              <a:gd name="connsiteY4" fmla="*/ 0 h 363338"/>
              <a:gd name="connsiteX0" fmla="*/ 0 w 1788043"/>
              <a:gd name="connsiteY0" fmla="*/ 0 h 363338"/>
              <a:gd name="connsiteX1" fmla="*/ 1788043 w 1788043"/>
              <a:gd name="connsiteY1" fmla="*/ 0 h 363338"/>
              <a:gd name="connsiteX2" fmla="*/ 1600319 w 1788043"/>
              <a:gd name="connsiteY2" fmla="*/ 363338 h 363338"/>
              <a:gd name="connsiteX3" fmla="*/ 0 w 1788043"/>
              <a:gd name="connsiteY3" fmla="*/ 363338 h 363338"/>
              <a:gd name="connsiteX4" fmla="*/ 0 w 1788043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138221 w 1926264"/>
              <a:gd name="connsiteY3" fmla="*/ 363338 h 363338"/>
              <a:gd name="connsiteX4" fmla="*/ 0 w 1926264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6284 w 1926264"/>
              <a:gd name="connsiteY3" fmla="*/ 363338 h 363338"/>
              <a:gd name="connsiteX4" fmla="*/ 0 w 1926264"/>
              <a:gd name="connsiteY4" fmla="*/ 0 h 363338"/>
              <a:gd name="connsiteX0" fmla="*/ 43978 w 1970242"/>
              <a:gd name="connsiteY0" fmla="*/ 0 h 363338"/>
              <a:gd name="connsiteX1" fmla="*/ 1970242 w 1970242"/>
              <a:gd name="connsiteY1" fmla="*/ 0 h 363338"/>
              <a:gd name="connsiteX2" fmla="*/ 1782518 w 1970242"/>
              <a:gd name="connsiteY2" fmla="*/ 363338 h 363338"/>
              <a:gd name="connsiteX3" fmla="*/ 0 w 1970242"/>
              <a:gd name="connsiteY3" fmla="*/ 363338 h 363338"/>
              <a:gd name="connsiteX4" fmla="*/ 43978 w 1970242"/>
              <a:gd name="connsiteY4" fmla="*/ 0 h 363338"/>
              <a:gd name="connsiteX0" fmla="*/ 0 w 1926264"/>
              <a:gd name="connsiteY0" fmla="*/ 0 h 369620"/>
              <a:gd name="connsiteX1" fmla="*/ 1926264 w 1926264"/>
              <a:gd name="connsiteY1" fmla="*/ 0 h 369620"/>
              <a:gd name="connsiteX2" fmla="*/ 1738540 w 1926264"/>
              <a:gd name="connsiteY2" fmla="*/ 363338 h 369620"/>
              <a:gd name="connsiteX3" fmla="*/ 6284 w 1926264"/>
              <a:gd name="connsiteY3" fmla="*/ 369620 h 369620"/>
              <a:gd name="connsiteX4" fmla="*/ 0 w 1926264"/>
              <a:gd name="connsiteY4" fmla="*/ 0 h 369620"/>
              <a:gd name="connsiteX0" fmla="*/ 6281 w 1932545"/>
              <a:gd name="connsiteY0" fmla="*/ 0 h 369620"/>
              <a:gd name="connsiteX1" fmla="*/ 1932545 w 1932545"/>
              <a:gd name="connsiteY1" fmla="*/ 0 h 369620"/>
              <a:gd name="connsiteX2" fmla="*/ 1744821 w 1932545"/>
              <a:gd name="connsiteY2" fmla="*/ 363338 h 369620"/>
              <a:gd name="connsiteX3" fmla="*/ 0 w 1932545"/>
              <a:gd name="connsiteY3" fmla="*/ 369620 h 369620"/>
              <a:gd name="connsiteX4" fmla="*/ 6281 w 1932545"/>
              <a:gd name="connsiteY4" fmla="*/ 0 h 369620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25132 w 1926264"/>
              <a:gd name="connsiteY3" fmla="*/ 357055 h 363338"/>
              <a:gd name="connsiteX4" fmla="*/ 0 w 1926264"/>
              <a:gd name="connsiteY4" fmla="*/ 0 h 363338"/>
              <a:gd name="connsiteX0" fmla="*/ 12564 w 1938828"/>
              <a:gd name="connsiteY0" fmla="*/ 0 h 363338"/>
              <a:gd name="connsiteX1" fmla="*/ 1938828 w 1938828"/>
              <a:gd name="connsiteY1" fmla="*/ 0 h 363338"/>
              <a:gd name="connsiteX2" fmla="*/ 1751104 w 1938828"/>
              <a:gd name="connsiteY2" fmla="*/ 363338 h 363338"/>
              <a:gd name="connsiteX3" fmla="*/ 0 w 1938828"/>
              <a:gd name="connsiteY3" fmla="*/ 363338 h 363338"/>
              <a:gd name="connsiteX4" fmla="*/ 12564 w 1938828"/>
              <a:gd name="connsiteY4" fmla="*/ 0 h 363338"/>
              <a:gd name="connsiteX0" fmla="*/ 0 w 1926264"/>
              <a:gd name="connsiteY0" fmla="*/ 0 h 369621"/>
              <a:gd name="connsiteX1" fmla="*/ 1926264 w 1926264"/>
              <a:gd name="connsiteY1" fmla="*/ 0 h 369621"/>
              <a:gd name="connsiteX2" fmla="*/ 1738540 w 1926264"/>
              <a:gd name="connsiteY2" fmla="*/ 363338 h 369621"/>
              <a:gd name="connsiteX3" fmla="*/ 6284 w 1926264"/>
              <a:gd name="connsiteY3" fmla="*/ 369621 h 369621"/>
              <a:gd name="connsiteX4" fmla="*/ 0 w 1926264"/>
              <a:gd name="connsiteY4" fmla="*/ 0 h 369621"/>
              <a:gd name="connsiteX0" fmla="*/ 43978 w 1970242"/>
              <a:gd name="connsiteY0" fmla="*/ 0 h 363339"/>
              <a:gd name="connsiteX1" fmla="*/ 1970242 w 1970242"/>
              <a:gd name="connsiteY1" fmla="*/ 0 h 363339"/>
              <a:gd name="connsiteX2" fmla="*/ 1782518 w 1970242"/>
              <a:gd name="connsiteY2" fmla="*/ 363338 h 363339"/>
              <a:gd name="connsiteX3" fmla="*/ 0 w 1970242"/>
              <a:gd name="connsiteY3" fmla="*/ 363339 h 363339"/>
              <a:gd name="connsiteX4" fmla="*/ 43978 w 1970242"/>
              <a:gd name="connsiteY4" fmla="*/ 0 h 363339"/>
              <a:gd name="connsiteX0" fmla="*/ 0 w 1926264"/>
              <a:gd name="connsiteY0" fmla="*/ 0 h 363339"/>
              <a:gd name="connsiteX1" fmla="*/ 1926264 w 1926264"/>
              <a:gd name="connsiteY1" fmla="*/ 0 h 363339"/>
              <a:gd name="connsiteX2" fmla="*/ 1738540 w 1926264"/>
              <a:gd name="connsiteY2" fmla="*/ 363338 h 363339"/>
              <a:gd name="connsiteX3" fmla="*/ 1 w 1926264"/>
              <a:gd name="connsiteY3" fmla="*/ 363339 h 363339"/>
              <a:gd name="connsiteX4" fmla="*/ 0 w 1926264"/>
              <a:gd name="connsiteY4" fmla="*/ 0 h 363339"/>
              <a:gd name="connsiteX0" fmla="*/ 0 w 3440015"/>
              <a:gd name="connsiteY0" fmla="*/ 0 h 363339"/>
              <a:gd name="connsiteX1" fmla="*/ 3440015 w 3440015"/>
              <a:gd name="connsiteY1" fmla="*/ 0 h 363339"/>
              <a:gd name="connsiteX2" fmla="*/ 3252291 w 3440015"/>
              <a:gd name="connsiteY2" fmla="*/ 363338 h 363339"/>
              <a:gd name="connsiteX3" fmla="*/ 1513752 w 3440015"/>
              <a:gd name="connsiteY3" fmla="*/ 363339 h 363339"/>
              <a:gd name="connsiteX4" fmla="*/ 0 w 3440015"/>
              <a:gd name="connsiteY4" fmla="*/ 0 h 363339"/>
              <a:gd name="connsiteX0" fmla="*/ 0 w 3440015"/>
              <a:gd name="connsiteY0" fmla="*/ 0 h 363339"/>
              <a:gd name="connsiteX1" fmla="*/ 3440015 w 3440015"/>
              <a:gd name="connsiteY1" fmla="*/ 0 h 363339"/>
              <a:gd name="connsiteX2" fmla="*/ 3252291 w 3440015"/>
              <a:gd name="connsiteY2" fmla="*/ 363338 h 363339"/>
              <a:gd name="connsiteX3" fmla="*/ 1 w 3440015"/>
              <a:gd name="connsiteY3" fmla="*/ 363339 h 363339"/>
              <a:gd name="connsiteX4" fmla="*/ 0 w 3440015"/>
              <a:gd name="connsiteY4" fmla="*/ 0 h 363339"/>
              <a:gd name="connsiteX0" fmla="*/ 0 w 3440015"/>
              <a:gd name="connsiteY0" fmla="*/ 0 h 363339"/>
              <a:gd name="connsiteX1" fmla="*/ 3440015 w 3440015"/>
              <a:gd name="connsiteY1" fmla="*/ 0 h 363339"/>
              <a:gd name="connsiteX2" fmla="*/ 3252291 w 3440015"/>
              <a:gd name="connsiteY2" fmla="*/ 363338 h 363339"/>
              <a:gd name="connsiteX3" fmla="*/ 192223 w 3440015"/>
              <a:gd name="connsiteY3" fmla="*/ 363339 h 363339"/>
              <a:gd name="connsiteX4" fmla="*/ 0 w 3440015"/>
              <a:gd name="connsiteY4" fmla="*/ 0 h 363339"/>
              <a:gd name="connsiteX0" fmla="*/ 0 w 3247793"/>
              <a:gd name="connsiteY0" fmla="*/ 0 h 363339"/>
              <a:gd name="connsiteX1" fmla="*/ 3247793 w 3247793"/>
              <a:gd name="connsiteY1" fmla="*/ 0 h 363339"/>
              <a:gd name="connsiteX2" fmla="*/ 3060069 w 3247793"/>
              <a:gd name="connsiteY2" fmla="*/ 363338 h 363339"/>
              <a:gd name="connsiteX3" fmla="*/ 1 w 3247793"/>
              <a:gd name="connsiteY3" fmla="*/ 363339 h 363339"/>
              <a:gd name="connsiteX4" fmla="*/ 0 w 3247793"/>
              <a:gd name="connsiteY4" fmla="*/ 0 h 3633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47793" h="363339">
                <a:moveTo>
                  <a:pt x="0" y="0"/>
                </a:moveTo>
                <a:lnTo>
                  <a:pt x="3247793" y="0"/>
                </a:lnTo>
                <a:lnTo>
                  <a:pt x="3060069" y="363338"/>
                </a:lnTo>
                <a:lnTo>
                  <a:pt x="1" y="363339"/>
                </a:lnTo>
                <a:cubicBezTo>
                  <a:pt x="1" y="242226"/>
                  <a:pt x="0" y="121113"/>
                  <a:pt x="0" y="0"/>
                </a:cubicBezTo>
                <a:close/>
              </a:path>
            </a:pathLst>
          </a:cu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6" name="Rectangle 29">
            <a:extLst>
              <a:ext uri="{FF2B5EF4-FFF2-40B4-BE49-F238E27FC236}">
                <a16:creationId xmlns:a16="http://schemas.microsoft.com/office/drawing/2014/main" id="{B6D1A611-F8B3-4443-B6B3-478F8AA274F9}"/>
              </a:ext>
            </a:extLst>
          </p:cNvPr>
          <p:cNvSpPr/>
          <p:nvPr/>
        </p:nvSpPr>
        <p:spPr>
          <a:xfrm>
            <a:off x="1995238" y="1164641"/>
            <a:ext cx="575656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NVIROCRON</a:t>
            </a:r>
            <a:r>
              <a:rPr kumimoji="0" lang="en-US" b="1" i="0" u="none" strike="noStrike" kern="120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®</a:t>
            </a: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HTE  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igh Transfer Efficiency</a:t>
            </a:r>
            <a:endParaRPr kumimoji="0" lang="pl-PL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6" name="Freeform 35">
            <a:extLst>
              <a:ext uri="{FF2B5EF4-FFF2-40B4-BE49-F238E27FC236}">
                <a16:creationId xmlns:a16="http://schemas.microsoft.com/office/drawing/2014/main" id="{DDBB42DA-92CD-AC41-96EC-33B8BF336AD2}"/>
              </a:ext>
            </a:extLst>
          </p:cNvPr>
          <p:cNvSpPr/>
          <p:nvPr/>
        </p:nvSpPr>
        <p:spPr>
          <a:xfrm rot="10800000">
            <a:off x="7313176" y="1772293"/>
            <a:ext cx="3711684" cy="640742"/>
          </a:xfrm>
          <a:custGeom>
            <a:avLst/>
            <a:gdLst>
              <a:gd name="connsiteX0" fmla="*/ 0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0 w 2676588"/>
              <a:gd name="connsiteY4" fmla="*/ 0 h 363338"/>
              <a:gd name="connsiteX0" fmla="*/ 888545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888545 w 2676588"/>
              <a:gd name="connsiteY4" fmla="*/ 0 h 363338"/>
              <a:gd name="connsiteX0" fmla="*/ 0 w 1788043"/>
              <a:gd name="connsiteY0" fmla="*/ 0 h 363338"/>
              <a:gd name="connsiteX1" fmla="*/ 1788043 w 1788043"/>
              <a:gd name="connsiteY1" fmla="*/ 0 h 363338"/>
              <a:gd name="connsiteX2" fmla="*/ 1600319 w 1788043"/>
              <a:gd name="connsiteY2" fmla="*/ 363338 h 363338"/>
              <a:gd name="connsiteX3" fmla="*/ 0 w 1788043"/>
              <a:gd name="connsiteY3" fmla="*/ 363338 h 363338"/>
              <a:gd name="connsiteX4" fmla="*/ 0 w 1788043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138221 w 1926264"/>
              <a:gd name="connsiteY3" fmla="*/ 363338 h 363338"/>
              <a:gd name="connsiteX4" fmla="*/ 0 w 1926264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6284 w 1926264"/>
              <a:gd name="connsiteY3" fmla="*/ 363338 h 363338"/>
              <a:gd name="connsiteX4" fmla="*/ 0 w 1926264"/>
              <a:gd name="connsiteY4" fmla="*/ 0 h 363338"/>
              <a:gd name="connsiteX0" fmla="*/ 43978 w 1970242"/>
              <a:gd name="connsiteY0" fmla="*/ 0 h 363338"/>
              <a:gd name="connsiteX1" fmla="*/ 1970242 w 1970242"/>
              <a:gd name="connsiteY1" fmla="*/ 0 h 363338"/>
              <a:gd name="connsiteX2" fmla="*/ 1782518 w 1970242"/>
              <a:gd name="connsiteY2" fmla="*/ 363338 h 363338"/>
              <a:gd name="connsiteX3" fmla="*/ 0 w 1970242"/>
              <a:gd name="connsiteY3" fmla="*/ 363338 h 363338"/>
              <a:gd name="connsiteX4" fmla="*/ 43978 w 1970242"/>
              <a:gd name="connsiteY4" fmla="*/ 0 h 363338"/>
              <a:gd name="connsiteX0" fmla="*/ 0 w 1926264"/>
              <a:gd name="connsiteY0" fmla="*/ 0 h 369620"/>
              <a:gd name="connsiteX1" fmla="*/ 1926264 w 1926264"/>
              <a:gd name="connsiteY1" fmla="*/ 0 h 369620"/>
              <a:gd name="connsiteX2" fmla="*/ 1738540 w 1926264"/>
              <a:gd name="connsiteY2" fmla="*/ 363338 h 369620"/>
              <a:gd name="connsiteX3" fmla="*/ 6284 w 1926264"/>
              <a:gd name="connsiteY3" fmla="*/ 369620 h 369620"/>
              <a:gd name="connsiteX4" fmla="*/ 0 w 1926264"/>
              <a:gd name="connsiteY4" fmla="*/ 0 h 369620"/>
              <a:gd name="connsiteX0" fmla="*/ 6281 w 1932545"/>
              <a:gd name="connsiteY0" fmla="*/ 0 h 369620"/>
              <a:gd name="connsiteX1" fmla="*/ 1932545 w 1932545"/>
              <a:gd name="connsiteY1" fmla="*/ 0 h 369620"/>
              <a:gd name="connsiteX2" fmla="*/ 1744821 w 1932545"/>
              <a:gd name="connsiteY2" fmla="*/ 363338 h 369620"/>
              <a:gd name="connsiteX3" fmla="*/ 0 w 1932545"/>
              <a:gd name="connsiteY3" fmla="*/ 369620 h 369620"/>
              <a:gd name="connsiteX4" fmla="*/ 6281 w 1932545"/>
              <a:gd name="connsiteY4" fmla="*/ 0 h 369620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25132 w 1926264"/>
              <a:gd name="connsiteY3" fmla="*/ 357055 h 363338"/>
              <a:gd name="connsiteX4" fmla="*/ 0 w 1926264"/>
              <a:gd name="connsiteY4" fmla="*/ 0 h 363338"/>
              <a:gd name="connsiteX0" fmla="*/ 12564 w 1938828"/>
              <a:gd name="connsiteY0" fmla="*/ 0 h 363338"/>
              <a:gd name="connsiteX1" fmla="*/ 1938828 w 1938828"/>
              <a:gd name="connsiteY1" fmla="*/ 0 h 363338"/>
              <a:gd name="connsiteX2" fmla="*/ 1751104 w 1938828"/>
              <a:gd name="connsiteY2" fmla="*/ 363338 h 363338"/>
              <a:gd name="connsiteX3" fmla="*/ 0 w 1938828"/>
              <a:gd name="connsiteY3" fmla="*/ 363338 h 363338"/>
              <a:gd name="connsiteX4" fmla="*/ 12564 w 1938828"/>
              <a:gd name="connsiteY4" fmla="*/ 0 h 363338"/>
              <a:gd name="connsiteX0" fmla="*/ 0 w 1926264"/>
              <a:gd name="connsiteY0" fmla="*/ 0 h 369621"/>
              <a:gd name="connsiteX1" fmla="*/ 1926264 w 1926264"/>
              <a:gd name="connsiteY1" fmla="*/ 0 h 369621"/>
              <a:gd name="connsiteX2" fmla="*/ 1738540 w 1926264"/>
              <a:gd name="connsiteY2" fmla="*/ 363338 h 369621"/>
              <a:gd name="connsiteX3" fmla="*/ 6284 w 1926264"/>
              <a:gd name="connsiteY3" fmla="*/ 369621 h 369621"/>
              <a:gd name="connsiteX4" fmla="*/ 0 w 1926264"/>
              <a:gd name="connsiteY4" fmla="*/ 0 h 369621"/>
              <a:gd name="connsiteX0" fmla="*/ 43978 w 1970242"/>
              <a:gd name="connsiteY0" fmla="*/ 0 h 363339"/>
              <a:gd name="connsiteX1" fmla="*/ 1970242 w 1970242"/>
              <a:gd name="connsiteY1" fmla="*/ 0 h 363339"/>
              <a:gd name="connsiteX2" fmla="*/ 1782518 w 1970242"/>
              <a:gd name="connsiteY2" fmla="*/ 363338 h 363339"/>
              <a:gd name="connsiteX3" fmla="*/ 0 w 1970242"/>
              <a:gd name="connsiteY3" fmla="*/ 363339 h 363339"/>
              <a:gd name="connsiteX4" fmla="*/ 43978 w 1970242"/>
              <a:gd name="connsiteY4" fmla="*/ 0 h 363339"/>
              <a:gd name="connsiteX0" fmla="*/ 0 w 1926264"/>
              <a:gd name="connsiteY0" fmla="*/ 0 h 363339"/>
              <a:gd name="connsiteX1" fmla="*/ 1926264 w 1926264"/>
              <a:gd name="connsiteY1" fmla="*/ 0 h 363339"/>
              <a:gd name="connsiteX2" fmla="*/ 1738540 w 1926264"/>
              <a:gd name="connsiteY2" fmla="*/ 363338 h 363339"/>
              <a:gd name="connsiteX3" fmla="*/ 1 w 1926264"/>
              <a:gd name="connsiteY3" fmla="*/ 363339 h 363339"/>
              <a:gd name="connsiteX4" fmla="*/ 0 w 1926264"/>
              <a:gd name="connsiteY4" fmla="*/ 0 h 3633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6264" h="363339">
                <a:moveTo>
                  <a:pt x="0" y="0"/>
                </a:moveTo>
                <a:lnTo>
                  <a:pt x="1926264" y="0"/>
                </a:lnTo>
                <a:lnTo>
                  <a:pt x="1738540" y="363338"/>
                </a:lnTo>
                <a:lnTo>
                  <a:pt x="1" y="363339"/>
                </a:lnTo>
                <a:cubicBezTo>
                  <a:pt x="1" y="242226"/>
                  <a:pt x="0" y="121113"/>
                  <a:pt x="0" y="0"/>
                </a:cubicBezTo>
                <a:close/>
              </a:path>
            </a:pathLst>
          </a:custGeom>
          <a:solidFill>
            <a:schemeClr val="accent1"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3" name="Picture 5">
            <a:extLst>
              <a:ext uri="{FF2B5EF4-FFF2-40B4-BE49-F238E27FC236}">
                <a16:creationId xmlns:a16="http://schemas.microsoft.com/office/drawing/2014/main" id="{B8D53CA6-C8D0-496B-8B97-AA9AB5A4147B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9014" y="2518253"/>
            <a:ext cx="1640334" cy="638906"/>
          </a:xfrm>
          <a:prstGeom prst="rect">
            <a:avLst/>
          </a:prstGeom>
        </p:spPr>
      </p:pic>
      <p:sp>
        <p:nvSpPr>
          <p:cNvPr id="40" name="Freeform 39">
            <a:extLst>
              <a:ext uri="{FF2B5EF4-FFF2-40B4-BE49-F238E27FC236}">
                <a16:creationId xmlns:a16="http://schemas.microsoft.com/office/drawing/2014/main" id="{7255339F-4FD4-E242-83DC-1F70805B19DD}"/>
              </a:ext>
            </a:extLst>
          </p:cNvPr>
          <p:cNvSpPr/>
          <p:nvPr/>
        </p:nvSpPr>
        <p:spPr>
          <a:xfrm rot="10800000">
            <a:off x="7313176" y="2515970"/>
            <a:ext cx="3711684" cy="643471"/>
          </a:xfrm>
          <a:custGeom>
            <a:avLst/>
            <a:gdLst>
              <a:gd name="connsiteX0" fmla="*/ 0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0 w 2676588"/>
              <a:gd name="connsiteY4" fmla="*/ 0 h 363338"/>
              <a:gd name="connsiteX0" fmla="*/ 888545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888545 w 2676588"/>
              <a:gd name="connsiteY4" fmla="*/ 0 h 363338"/>
              <a:gd name="connsiteX0" fmla="*/ 0 w 1788043"/>
              <a:gd name="connsiteY0" fmla="*/ 0 h 363338"/>
              <a:gd name="connsiteX1" fmla="*/ 1788043 w 1788043"/>
              <a:gd name="connsiteY1" fmla="*/ 0 h 363338"/>
              <a:gd name="connsiteX2" fmla="*/ 1600319 w 1788043"/>
              <a:gd name="connsiteY2" fmla="*/ 363338 h 363338"/>
              <a:gd name="connsiteX3" fmla="*/ 0 w 1788043"/>
              <a:gd name="connsiteY3" fmla="*/ 363338 h 363338"/>
              <a:gd name="connsiteX4" fmla="*/ 0 w 1788043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138221 w 1926264"/>
              <a:gd name="connsiteY3" fmla="*/ 363338 h 363338"/>
              <a:gd name="connsiteX4" fmla="*/ 0 w 1926264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6284 w 1926264"/>
              <a:gd name="connsiteY3" fmla="*/ 363338 h 363338"/>
              <a:gd name="connsiteX4" fmla="*/ 0 w 1926264"/>
              <a:gd name="connsiteY4" fmla="*/ 0 h 363338"/>
              <a:gd name="connsiteX0" fmla="*/ 43978 w 1970242"/>
              <a:gd name="connsiteY0" fmla="*/ 0 h 363338"/>
              <a:gd name="connsiteX1" fmla="*/ 1970242 w 1970242"/>
              <a:gd name="connsiteY1" fmla="*/ 0 h 363338"/>
              <a:gd name="connsiteX2" fmla="*/ 1782518 w 1970242"/>
              <a:gd name="connsiteY2" fmla="*/ 363338 h 363338"/>
              <a:gd name="connsiteX3" fmla="*/ 0 w 1970242"/>
              <a:gd name="connsiteY3" fmla="*/ 363338 h 363338"/>
              <a:gd name="connsiteX4" fmla="*/ 43978 w 1970242"/>
              <a:gd name="connsiteY4" fmla="*/ 0 h 363338"/>
              <a:gd name="connsiteX0" fmla="*/ 0 w 1926264"/>
              <a:gd name="connsiteY0" fmla="*/ 0 h 369620"/>
              <a:gd name="connsiteX1" fmla="*/ 1926264 w 1926264"/>
              <a:gd name="connsiteY1" fmla="*/ 0 h 369620"/>
              <a:gd name="connsiteX2" fmla="*/ 1738540 w 1926264"/>
              <a:gd name="connsiteY2" fmla="*/ 363338 h 369620"/>
              <a:gd name="connsiteX3" fmla="*/ 6284 w 1926264"/>
              <a:gd name="connsiteY3" fmla="*/ 369620 h 369620"/>
              <a:gd name="connsiteX4" fmla="*/ 0 w 1926264"/>
              <a:gd name="connsiteY4" fmla="*/ 0 h 369620"/>
              <a:gd name="connsiteX0" fmla="*/ 6281 w 1932545"/>
              <a:gd name="connsiteY0" fmla="*/ 0 h 369620"/>
              <a:gd name="connsiteX1" fmla="*/ 1932545 w 1932545"/>
              <a:gd name="connsiteY1" fmla="*/ 0 h 369620"/>
              <a:gd name="connsiteX2" fmla="*/ 1744821 w 1932545"/>
              <a:gd name="connsiteY2" fmla="*/ 363338 h 369620"/>
              <a:gd name="connsiteX3" fmla="*/ 0 w 1932545"/>
              <a:gd name="connsiteY3" fmla="*/ 369620 h 369620"/>
              <a:gd name="connsiteX4" fmla="*/ 6281 w 1932545"/>
              <a:gd name="connsiteY4" fmla="*/ 0 h 369620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25132 w 1926264"/>
              <a:gd name="connsiteY3" fmla="*/ 357055 h 363338"/>
              <a:gd name="connsiteX4" fmla="*/ 0 w 1926264"/>
              <a:gd name="connsiteY4" fmla="*/ 0 h 363338"/>
              <a:gd name="connsiteX0" fmla="*/ 12564 w 1938828"/>
              <a:gd name="connsiteY0" fmla="*/ 0 h 363338"/>
              <a:gd name="connsiteX1" fmla="*/ 1938828 w 1938828"/>
              <a:gd name="connsiteY1" fmla="*/ 0 h 363338"/>
              <a:gd name="connsiteX2" fmla="*/ 1751104 w 1938828"/>
              <a:gd name="connsiteY2" fmla="*/ 363338 h 363338"/>
              <a:gd name="connsiteX3" fmla="*/ 0 w 1938828"/>
              <a:gd name="connsiteY3" fmla="*/ 363338 h 363338"/>
              <a:gd name="connsiteX4" fmla="*/ 12564 w 1938828"/>
              <a:gd name="connsiteY4" fmla="*/ 0 h 363338"/>
              <a:gd name="connsiteX0" fmla="*/ 0 w 1926264"/>
              <a:gd name="connsiteY0" fmla="*/ 0 h 369621"/>
              <a:gd name="connsiteX1" fmla="*/ 1926264 w 1926264"/>
              <a:gd name="connsiteY1" fmla="*/ 0 h 369621"/>
              <a:gd name="connsiteX2" fmla="*/ 1738540 w 1926264"/>
              <a:gd name="connsiteY2" fmla="*/ 363338 h 369621"/>
              <a:gd name="connsiteX3" fmla="*/ 6284 w 1926264"/>
              <a:gd name="connsiteY3" fmla="*/ 369621 h 369621"/>
              <a:gd name="connsiteX4" fmla="*/ 0 w 1926264"/>
              <a:gd name="connsiteY4" fmla="*/ 0 h 369621"/>
              <a:gd name="connsiteX0" fmla="*/ 43978 w 1970242"/>
              <a:gd name="connsiteY0" fmla="*/ 0 h 363339"/>
              <a:gd name="connsiteX1" fmla="*/ 1970242 w 1970242"/>
              <a:gd name="connsiteY1" fmla="*/ 0 h 363339"/>
              <a:gd name="connsiteX2" fmla="*/ 1782518 w 1970242"/>
              <a:gd name="connsiteY2" fmla="*/ 363338 h 363339"/>
              <a:gd name="connsiteX3" fmla="*/ 0 w 1970242"/>
              <a:gd name="connsiteY3" fmla="*/ 363339 h 363339"/>
              <a:gd name="connsiteX4" fmla="*/ 43978 w 1970242"/>
              <a:gd name="connsiteY4" fmla="*/ 0 h 363339"/>
              <a:gd name="connsiteX0" fmla="*/ 0 w 1926264"/>
              <a:gd name="connsiteY0" fmla="*/ 0 h 363339"/>
              <a:gd name="connsiteX1" fmla="*/ 1926264 w 1926264"/>
              <a:gd name="connsiteY1" fmla="*/ 0 h 363339"/>
              <a:gd name="connsiteX2" fmla="*/ 1738540 w 1926264"/>
              <a:gd name="connsiteY2" fmla="*/ 363338 h 363339"/>
              <a:gd name="connsiteX3" fmla="*/ 1 w 1926264"/>
              <a:gd name="connsiteY3" fmla="*/ 363339 h 363339"/>
              <a:gd name="connsiteX4" fmla="*/ 0 w 1926264"/>
              <a:gd name="connsiteY4" fmla="*/ 0 h 3633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6264" h="363339">
                <a:moveTo>
                  <a:pt x="0" y="0"/>
                </a:moveTo>
                <a:lnTo>
                  <a:pt x="1926264" y="0"/>
                </a:lnTo>
                <a:lnTo>
                  <a:pt x="1738540" y="363338"/>
                </a:lnTo>
                <a:lnTo>
                  <a:pt x="1" y="363339"/>
                </a:lnTo>
                <a:cubicBezTo>
                  <a:pt x="1" y="242226"/>
                  <a:pt x="0" y="121113"/>
                  <a:pt x="0" y="0"/>
                </a:cubicBezTo>
                <a:close/>
              </a:path>
            </a:pathLst>
          </a:custGeom>
          <a:solidFill>
            <a:schemeClr val="bg2">
              <a:lumMod val="85000"/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 34">
            <a:extLst>
              <a:ext uri="{FF2B5EF4-FFF2-40B4-BE49-F238E27FC236}">
                <a16:creationId xmlns:a16="http://schemas.microsoft.com/office/drawing/2014/main" id="{4D2DE6CC-C648-1B40-AA87-E98CF9BA612E}"/>
              </a:ext>
            </a:extLst>
          </p:cNvPr>
          <p:cNvSpPr/>
          <p:nvPr/>
        </p:nvSpPr>
        <p:spPr>
          <a:xfrm>
            <a:off x="8613876" y="2653040"/>
            <a:ext cx="3200944" cy="369332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>
              <a:defRPr/>
            </a:pPr>
            <a:r>
              <a:rPr lang="en-US" dirty="0">
                <a:solidFill>
                  <a:schemeClr val="bg2">
                    <a:lumMod val="85000"/>
                  </a:schemeClr>
                </a:solidFill>
              </a:rPr>
              <a:t>Product lifetime</a:t>
            </a:r>
          </a:p>
        </p:txBody>
      </p:sp>
      <p:sp>
        <p:nvSpPr>
          <p:cNvPr id="42" name="Freeform 41">
            <a:extLst>
              <a:ext uri="{FF2B5EF4-FFF2-40B4-BE49-F238E27FC236}">
                <a16:creationId xmlns:a16="http://schemas.microsoft.com/office/drawing/2014/main" id="{98ADADA5-2ABC-514D-A300-0EBD299C0E4D}"/>
              </a:ext>
            </a:extLst>
          </p:cNvPr>
          <p:cNvSpPr/>
          <p:nvPr/>
        </p:nvSpPr>
        <p:spPr>
          <a:xfrm>
            <a:off x="1994810" y="2515681"/>
            <a:ext cx="6568898" cy="644051"/>
          </a:xfrm>
          <a:custGeom>
            <a:avLst/>
            <a:gdLst>
              <a:gd name="connsiteX0" fmla="*/ 0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0 w 2676588"/>
              <a:gd name="connsiteY4" fmla="*/ 0 h 363338"/>
              <a:gd name="connsiteX0" fmla="*/ 888545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888545 w 2676588"/>
              <a:gd name="connsiteY4" fmla="*/ 0 h 363338"/>
              <a:gd name="connsiteX0" fmla="*/ 0 w 1788043"/>
              <a:gd name="connsiteY0" fmla="*/ 0 h 363338"/>
              <a:gd name="connsiteX1" fmla="*/ 1788043 w 1788043"/>
              <a:gd name="connsiteY1" fmla="*/ 0 h 363338"/>
              <a:gd name="connsiteX2" fmla="*/ 1600319 w 1788043"/>
              <a:gd name="connsiteY2" fmla="*/ 363338 h 363338"/>
              <a:gd name="connsiteX3" fmla="*/ 0 w 1788043"/>
              <a:gd name="connsiteY3" fmla="*/ 363338 h 363338"/>
              <a:gd name="connsiteX4" fmla="*/ 0 w 1788043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138221 w 1926264"/>
              <a:gd name="connsiteY3" fmla="*/ 363338 h 363338"/>
              <a:gd name="connsiteX4" fmla="*/ 0 w 1926264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6284 w 1926264"/>
              <a:gd name="connsiteY3" fmla="*/ 363338 h 363338"/>
              <a:gd name="connsiteX4" fmla="*/ 0 w 1926264"/>
              <a:gd name="connsiteY4" fmla="*/ 0 h 363338"/>
              <a:gd name="connsiteX0" fmla="*/ 43978 w 1970242"/>
              <a:gd name="connsiteY0" fmla="*/ 0 h 363338"/>
              <a:gd name="connsiteX1" fmla="*/ 1970242 w 1970242"/>
              <a:gd name="connsiteY1" fmla="*/ 0 h 363338"/>
              <a:gd name="connsiteX2" fmla="*/ 1782518 w 1970242"/>
              <a:gd name="connsiteY2" fmla="*/ 363338 h 363338"/>
              <a:gd name="connsiteX3" fmla="*/ 0 w 1970242"/>
              <a:gd name="connsiteY3" fmla="*/ 363338 h 363338"/>
              <a:gd name="connsiteX4" fmla="*/ 43978 w 1970242"/>
              <a:gd name="connsiteY4" fmla="*/ 0 h 363338"/>
              <a:gd name="connsiteX0" fmla="*/ 0 w 1926264"/>
              <a:gd name="connsiteY0" fmla="*/ 0 h 369620"/>
              <a:gd name="connsiteX1" fmla="*/ 1926264 w 1926264"/>
              <a:gd name="connsiteY1" fmla="*/ 0 h 369620"/>
              <a:gd name="connsiteX2" fmla="*/ 1738540 w 1926264"/>
              <a:gd name="connsiteY2" fmla="*/ 363338 h 369620"/>
              <a:gd name="connsiteX3" fmla="*/ 6284 w 1926264"/>
              <a:gd name="connsiteY3" fmla="*/ 369620 h 369620"/>
              <a:gd name="connsiteX4" fmla="*/ 0 w 1926264"/>
              <a:gd name="connsiteY4" fmla="*/ 0 h 369620"/>
              <a:gd name="connsiteX0" fmla="*/ 6281 w 1932545"/>
              <a:gd name="connsiteY0" fmla="*/ 0 h 369620"/>
              <a:gd name="connsiteX1" fmla="*/ 1932545 w 1932545"/>
              <a:gd name="connsiteY1" fmla="*/ 0 h 369620"/>
              <a:gd name="connsiteX2" fmla="*/ 1744821 w 1932545"/>
              <a:gd name="connsiteY2" fmla="*/ 363338 h 369620"/>
              <a:gd name="connsiteX3" fmla="*/ 0 w 1932545"/>
              <a:gd name="connsiteY3" fmla="*/ 369620 h 369620"/>
              <a:gd name="connsiteX4" fmla="*/ 6281 w 1932545"/>
              <a:gd name="connsiteY4" fmla="*/ 0 h 369620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25132 w 1926264"/>
              <a:gd name="connsiteY3" fmla="*/ 357055 h 363338"/>
              <a:gd name="connsiteX4" fmla="*/ 0 w 1926264"/>
              <a:gd name="connsiteY4" fmla="*/ 0 h 363338"/>
              <a:gd name="connsiteX0" fmla="*/ 12564 w 1938828"/>
              <a:gd name="connsiteY0" fmla="*/ 0 h 363338"/>
              <a:gd name="connsiteX1" fmla="*/ 1938828 w 1938828"/>
              <a:gd name="connsiteY1" fmla="*/ 0 h 363338"/>
              <a:gd name="connsiteX2" fmla="*/ 1751104 w 1938828"/>
              <a:gd name="connsiteY2" fmla="*/ 363338 h 363338"/>
              <a:gd name="connsiteX3" fmla="*/ 0 w 1938828"/>
              <a:gd name="connsiteY3" fmla="*/ 363338 h 363338"/>
              <a:gd name="connsiteX4" fmla="*/ 12564 w 1938828"/>
              <a:gd name="connsiteY4" fmla="*/ 0 h 363338"/>
              <a:gd name="connsiteX0" fmla="*/ 0 w 1926264"/>
              <a:gd name="connsiteY0" fmla="*/ 0 h 369621"/>
              <a:gd name="connsiteX1" fmla="*/ 1926264 w 1926264"/>
              <a:gd name="connsiteY1" fmla="*/ 0 h 369621"/>
              <a:gd name="connsiteX2" fmla="*/ 1738540 w 1926264"/>
              <a:gd name="connsiteY2" fmla="*/ 363338 h 369621"/>
              <a:gd name="connsiteX3" fmla="*/ 6284 w 1926264"/>
              <a:gd name="connsiteY3" fmla="*/ 369621 h 369621"/>
              <a:gd name="connsiteX4" fmla="*/ 0 w 1926264"/>
              <a:gd name="connsiteY4" fmla="*/ 0 h 369621"/>
              <a:gd name="connsiteX0" fmla="*/ 43978 w 1970242"/>
              <a:gd name="connsiteY0" fmla="*/ 0 h 363339"/>
              <a:gd name="connsiteX1" fmla="*/ 1970242 w 1970242"/>
              <a:gd name="connsiteY1" fmla="*/ 0 h 363339"/>
              <a:gd name="connsiteX2" fmla="*/ 1782518 w 1970242"/>
              <a:gd name="connsiteY2" fmla="*/ 363338 h 363339"/>
              <a:gd name="connsiteX3" fmla="*/ 0 w 1970242"/>
              <a:gd name="connsiteY3" fmla="*/ 363339 h 363339"/>
              <a:gd name="connsiteX4" fmla="*/ 43978 w 1970242"/>
              <a:gd name="connsiteY4" fmla="*/ 0 h 363339"/>
              <a:gd name="connsiteX0" fmla="*/ 0 w 1926264"/>
              <a:gd name="connsiteY0" fmla="*/ 0 h 363339"/>
              <a:gd name="connsiteX1" fmla="*/ 1926264 w 1926264"/>
              <a:gd name="connsiteY1" fmla="*/ 0 h 363339"/>
              <a:gd name="connsiteX2" fmla="*/ 1738540 w 1926264"/>
              <a:gd name="connsiteY2" fmla="*/ 363338 h 363339"/>
              <a:gd name="connsiteX3" fmla="*/ 1 w 1926264"/>
              <a:gd name="connsiteY3" fmla="*/ 363339 h 363339"/>
              <a:gd name="connsiteX4" fmla="*/ 0 w 1926264"/>
              <a:gd name="connsiteY4" fmla="*/ 0 h 363339"/>
              <a:gd name="connsiteX0" fmla="*/ 0 w 3440015"/>
              <a:gd name="connsiteY0" fmla="*/ 0 h 363339"/>
              <a:gd name="connsiteX1" fmla="*/ 3440015 w 3440015"/>
              <a:gd name="connsiteY1" fmla="*/ 0 h 363339"/>
              <a:gd name="connsiteX2" fmla="*/ 3252291 w 3440015"/>
              <a:gd name="connsiteY2" fmla="*/ 363338 h 363339"/>
              <a:gd name="connsiteX3" fmla="*/ 1513752 w 3440015"/>
              <a:gd name="connsiteY3" fmla="*/ 363339 h 363339"/>
              <a:gd name="connsiteX4" fmla="*/ 0 w 3440015"/>
              <a:gd name="connsiteY4" fmla="*/ 0 h 363339"/>
              <a:gd name="connsiteX0" fmla="*/ 0 w 3440015"/>
              <a:gd name="connsiteY0" fmla="*/ 0 h 363339"/>
              <a:gd name="connsiteX1" fmla="*/ 3440015 w 3440015"/>
              <a:gd name="connsiteY1" fmla="*/ 0 h 363339"/>
              <a:gd name="connsiteX2" fmla="*/ 3252291 w 3440015"/>
              <a:gd name="connsiteY2" fmla="*/ 363338 h 363339"/>
              <a:gd name="connsiteX3" fmla="*/ 1 w 3440015"/>
              <a:gd name="connsiteY3" fmla="*/ 363339 h 363339"/>
              <a:gd name="connsiteX4" fmla="*/ 0 w 3440015"/>
              <a:gd name="connsiteY4" fmla="*/ 0 h 363339"/>
              <a:gd name="connsiteX0" fmla="*/ 0 w 3440015"/>
              <a:gd name="connsiteY0" fmla="*/ 0 h 363339"/>
              <a:gd name="connsiteX1" fmla="*/ 3440015 w 3440015"/>
              <a:gd name="connsiteY1" fmla="*/ 0 h 363339"/>
              <a:gd name="connsiteX2" fmla="*/ 3252291 w 3440015"/>
              <a:gd name="connsiteY2" fmla="*/ 363338 h 363339"/>
              <a:gd name="connsiteX3" fmla="*/ 192223 w 3440015"/>
              <a:gd name="connsiteY3" fmla="*/ 363339 h 363339"/>
              <a:gd name="connsiteX4" fmla="*/ 0 w 3440015"/>
              <a:gd name="connsiteY4" fmla="*/ 0 h 363339"/>
              <a:gd name="connsiteX0" fmla="*/ 0 w 3247793"/>
              <a:gd name="connsiteY0" fmla="*/ 0 h 363339"/>
              <a:gd name="connsiteX1" fmla="*/ 3247793 w 3247793"/>
              <a:gd name="connsiteY1" fmla="*/ 0 h 363339"/>
              <a:gd name="connsiteX2" fmla="*/ 3060069 w 3247793"/>
              <a:gd name="connsiteY2" fmla="*/ 363338 h 363339"/>
              <a:gd name="connsiteX3" fmla="*/ 1 w 3247793"/>
              <a:gd name="connsiteY3" fmla="*/ 363339 h 363339"/>
              <a:gd name="connsiteX4" fmla="*/ 0 w 3247793"/>
              <a:gd name="connsiteY4" fmla="*/ 0 h 363339"/>
              <a:gd name="connsiteX0" fmla="*/ 0 w 3247793"/>
              <a:gd name="connsiteY0" fmla="*/ 0 h 367713"/>
              <a:gd name="connsiteX1" fmla="*/ 3247793 w 3247793"/>
              <a:gd name="connsiteY1" fmla="*/ 0 h 367713"/>
              <a:gd name="connsiteX2" fmla="*/ 3060069 w 3247793"/>
              <a:gd name="connsiteY2" fmla="*/ 367713 h 367713"/>
              <a:gd name="connsiteX3" fmla="*/ 1 w 3247793"/>
              <a:gd name="connsiteY3" fmla="*/ 363339 h 367713"/>
              <a:gd name="connsiteX4" fmla="*/ 0 w 3247793"/>
              <a:gd name="connsiteY4" fmla="*/ 0 h 367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47793" h="367713">
                <a:moveTo>
                  <a:pt x="0" y="0"/>
                </a:moveTo>
                <a:lnTo>
                  <a:pt x="3247793" y="0"/>
                </a:lnTo>
                <a:lnTo>
                  <a:pt x="3060069" y="367713"/>
                </a:lnTo>
                <a:lnTo>
                  <a:pt x="1" y="363339"/>
                </a:lnTo>
                <a:cubicBezTo>
                  <a:pt x="1" y="242226"/>
                  <a:pt x="0" y="121113"/>
                  <a:pt x="0" y="0"/>
                </a:cubicBezTo>
                <a:close/>
              </a:path>
            </a:pathLst>
          </a:cu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Rectangle 29">
            <a:extLst>
              <a:ext uri="{FF2B5EF4-FFF2-40B4-BE49-F238E27FC236}">
                <a16:creationId xmlns:a16="http://schemas.microsoft.com/office/drawing/2014/main" id="{CCB92647-99EF-FF48-B6EC-0F866F4A17D0}"/>
              </a:ext>
            </a:extLst>
          </p:cNvPr>
          <p:cNvSpPr/>
          <p:nvPr/>
        </p:nvSpPr>
        <p:spPr>
          <a:xfrm>
            <a:off x="1995238" y="2653040"/>
            <a:ext cx="575656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NVIROCRON</a:t>
            </a:r>
            <a:r>
              <a:rPr kumimoji="0" lang="en-US" b="1" i="0" u="none" strike="noStrike" kern="120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®</a:t>
            </a: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XMR  </a:t>
            </a:r>
            <a:r>
              <a:rPr lang="en-US" dirty="0">
                <a:solidFill>
                  <a:prstClr val="white"/>
                </a:solidFill>
              </a:rPr>
              <a:t>Extreme Mar Resistance</a:t>
            </a:r>
          </a:p>
        </p:txBody>
      </p:sp>
      <p:pic>
        <p:nvPicPr>
          <p:cNvPr id="64" name="Picture Placeholder 8">
            <a:extLst>
              <a:ext uri="{FF2B5EF4-FFF2-40B4-BE49-F238E27FC236}">
                <a16:creationId xmlns:a16="http://schemas.microsoft.com/office/drawing/2014/main" id="{399BCE01-0E44-447D-AECE-AB4E47C58E13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9014" y="3265065"/>
            <a:ext cx="1640334" cy="643472"/>
          </a:xfrm>
          <a:prstGeom prst="rect">
            <a:avLst/>
          </a:prstGeom>
        </p:spPr>
      </p:pic>
      <p:sp>
        <p:nvSpPr>
          <p:cNvPr id="44" name="Freeform 43">
            <a:extLst>
              <a:ext uri="{FF2B5EF4-FFF2-40B4-BE49-F238E27FC236}">
                <a16:creationId xmlns:a16="http://schemas.microsoft.com/office/drawing/2014/main" id="{590ADAF2-2A29-694B-9989-F3EF8098643F}"/>
              </a:ext>
            </a:extLst>
          </p:cNvPr>
          <p:cNvSpPr/>
          <p:nvPr/>
        </p:nvSpPr>
        <p:spPr>
          <a:xfrm rot="10800000">
            <a:off x="7307714" y="3265065"/>
            <a:ext cx="3711684" cy="643471"/>
          </a:xfrm>
          <a:custGeom>
            <a:avLst/>
            <a:gdLst>
              <a:gd name="connsiteX0" fmla="*/ 0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0 w 2676588"/>
              <a:gd name="connsiteY4" fmla="*/ 0 h 363338"/>
              <a:gd name="connsiteX0" fmla="*/ 888545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888545 w 2676588"/>
              <a:gd name="connsiteY4" fmla="*/ 0 h 363338"/>
              <a:gd name="connsiteX0" fmla="*/ 0 w 1788043"/>
              <a:gd name="connsiteY0" fmla="*/ 0 h 363338"/>
              <a:gd name="connsiteX1" fmla="*/ 1788043 w 1788043"/>
              <a:gd name="connsiteY1" fmla="*/ 0 h 363338"/>
              <a:gd name="connsiteX2" fmla="*/ 1600319 w 1788043"/>
              <a:gd name="connsiteY2" fmla="*/ 363338 h 363338"/>
              <a:gd name="connsiteX3" fmla="*/ 0 w 1788043"/>
              <a:gd name="connsiteY3" fmla="*/ 363338 h 363338"/>
              <a:gd name="connsiteX4" fmla="*/ 0 w 1788043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138221 w 1926264"/>
              <a:gd name="connsiteY3" fmla="*/ 363338 h 363338"/>
              <a:gd name="connsiteX4" fmla="*/ 0 w 1926264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6284 w 1926264"/>
              <a:gd name="connsiteY3" fmla="*/ 363338 h 363338"/>
              <a:gd name="connsiteX4" fmla="*/ 0 w 1926264"/>
              <a:gd name="connsiteY4" fmla="*/ 0 h 363338"/>
              <a:gd name="connsiteX0" fmla="*/ 43978 w 1970242"/>
              <a:gd name="connsiteY0" fmla="*/ 0 h 363338"/>
              <a:gd name="connsiteX1" fmla="*/ 1970242 w 1970242"/>
              <a:gd name="connsiteY1" fmla="*/ 0 h 363338"/>
              <a:gd name="connsiteX2" fmla="*/ 1782518 w 1970242"/>
              <a:gd name="connsiteY2" fmla="*/ 363338 h 363338"/>
              <a:gd name="connsiteX3" fmla="*/ 0 w 1970242"/>
              <a:gd name="connsiteY3" fmla="*/ 363338 h 363338"/>
              <a:gd name="connsiteX4" fmla="*/ 43978 w 1970242"/>
              <a:gd name="connsiteY4" fmla="*/ 0 h 363338"/>
              <a:gd name="connsiteX0" fmla="*/ 0 w 1926264"/>
              <a:gd name="connsiteY0" fmla="*/ 0 h 369620"/>
              <a:gd name="connsiteX1" fmla="*/ 1926264 w 1926264"/>
              <a:gd name="connsiteY1" fmla="*/ 0 h 369620"/>
              <a:gd name="connsiteX2" fmla="*/ 1738540 w 1926264"/>
              <a:gd name="connsiteY2" fmla="*/ 363338 h 369620"/>
              <a:gd name="connsiteX3" fmla="*/ 6284 w 1926264"/>
              <a:gd name="connsiteY3" fmla="*/ 369620 h 369620"/>
              <a:gd name="connsiteX4" fmla="*/ 0 w 1926264"/>
              <a:gd name="connsiteY4" fmla="*/ 0 h 369620"/>
              <a:gd name="connsiteX0" fmla="*/ 6281 w 1932545"/>
              <a:gd name="connsiteY0" fmla="*/ 0 h 369620"/>
              <a:gd name="connsiteX1" fmla="*/ 1932545 w 1932545"/>
              <a:gd name="connsiteY1" fmla="*/ 0 h 369620"/>
              <a:gd name="connsiteX2" fmla="*/ 1744821 w 1932545"/>
              <a:gd name="connsiteY2" fmla="*/ 363338 h 369620"/>
              <a:gd name="connsiteX3" fmla="*/ 0 w 1932545"/>
              <a:gd name="connsiteY3" fmla="*/ 369620 h 369620"/>
              <a:gd name="connsiteX4" fmla="*/ 6281 w 1932545"/>
              <a:gd name="connsiteY4" fmla="*/ 0 h 369620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25132 w 1926264"/>
              <a:gd name="connsiteY3" fmla="*/ 357055 h 363338"/>
              <a:gd name="connsiteX4" fmla="*/ 0 w 1926264"/>
              <a:gd name="connsiteY4" fmla="*/ 0 h 363338"/>
              <a:gd name="connsiteX0" fmla="*/ 12564 w 1938828"/>
              <a:gd name="connsiteY0" fmla="*/ 0 h 363338"/>
              <a:gd name="connsiteX1" fmla="*/ 1938828 w 1938828"/>
              <a:gd name="connsiteY1" fmla="*/ 0 h 363338"/>
              <a:gd name="connsiteX2" fmla="*/ 1751104 w 1938828"/>
              <a:gd name="connsiteY2" fmla="*/ 363338 h 363338"/>
              <a:gd name="connsiteX3" fmla="*/ 0 w 1938828"/>
              <a:gd name="connsiteY3" fmla="*/ 363338 h 363338"/>
              <a:gd name="connsiteX4" fmla="*/ 12564 w 1938828"/>
              <a:gd name="connsiteY4" fmla="*/ 0 h 363338"/>
              <a:gd name="connsiteX0" fmla="*/ 0 w 1926264"/>
              <a:gd name="connsiteY0" fmla="*/ 0 h 369621"/>
              <a:gd name="connsiteX1" fmla="*/ 1926264 w 1926264"/>
              <a:gd name="connsiteY1" fmla="*/ 0 h 369621"/>
              <a:gd name="connsiteX2" fmla="*/ 1738540 w 1926264"/>
              <a:gd name="connsiteY2" fmla="*/ 363338 h 369621"/>
              <a:gd name="connsiteX3" fmla="*/ 6284 w 1926264"/>
              <a:gd name="connsiteY3" fmla="*/ 369621 h 369621"/>
              <a:gd name="connsiteX4" fmla="*/ 0 w 1926264"/>
              <a:gd name="connsiteY4" fmla="*/ 0 h 369621"/>
              <a:gd name="connsiteX0" fmla="*/ 43978 w 1970242"/>
              <a:gd name="connsiteY0" fmla="*/ 0 h 363339"/>
              <a:gd name="connsiteX1" fmla="*/ 1970242 w 1970242"/>
              <a:gd name="connsiteY1" fmla="*/ 0 h 363339"/>
              <a:gd name="connsiteX2" fmla="*/ 1782518 w 1970242"/>
              <a:gd name="connsiteY2" fmla="*/ 363338 h 363339"/>
              <a:gd name="connsiteX3" fmla="*/ 0 w 1970242"/>
              <a:gd name="connsiteY3" fmla="*/ 363339 h 363339"/>
              <a:gd name="connsiteX4" fmla="*/ 43978 w 1970242"/>
              <a:gd name="connsiteY4" fmla="*/ 0 h 363339"/>
              <a:gd name="connsiteX0" fmla="*/ 0 w 1926264"/>
              <a:gd name="connsiteY0" fmla="*/ 0 h 363339"/>
              <a:gd name="connsiteX1" fmla="*/ 1926264 w 1926264"/>
              <a:gd name="connsiteY1" fmla="*/ 0 h 363339"/>
              <a:gd name="connsiteX2" fmla="*/ 1738540 w 1926264"/>
              <a:gd name="connsiteY2" fmla="*/ 363338 h 363339"/>
              <a:gd name="connsiteX3" fmla="*/ 1 w 1926264"/>
              <a:gd name="connsiteY3" fmla="*/ 363339 h 363339"/>
              <a:gd name="connsiteX4" fmla="*/ 0 w 1926264"/>
              <a:gd name="connsiteY4" fmla="*/ 0 h 3633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6264" h="363339">
                <a:moveTo>
                  <a:pt x="0" y="0"/>
                </a:moveTo>
                <a:lnTo>
                  <a:pt x="1926264" y="0"/>
                </a:lnTo>
                <a:lnTo>
                  <a:pt x="1738540" y="363338"/>
                </a:lnTo>
                <a:lnTo>
                  <a:pt x="1" y="363339"/>
                </a:lnTo>
                <a:cubicBezTo>
                  <a:pt x="1" y="242226"/>
                  <a:pt x="0" y="121113"/>
                  <a:pt x="0" y="0"/>
                </a:cubicBezTo>
                <a:close/>
              </a:path>
            </a:pathLst>
          </a:custGeom>
          <a:solidFill>
            <a:schemeClr val="bg2">
              <a:lumMod val="85000"/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34">
            <a:extLst>
              <a:ext uri="{FF2B5EF4-FFF2-40B4-BE49-F238E27FC236}">
                <a16:creationId xmlns:a16="http://schemas.microsoft.com/office/drawing/2014/main" id="{E828F3B5-1F4C-4F42-9C2C-C5FC16372B51}"/>
              </a:ext>
            </a:extLst>
          </p:cNvPr>
          <p:cNvSpPr/>
          <p:nvPr/>
        </p:nvSpPr>
        <p:spPr>
          <a:xfrm>
            <a:off x="8613876" y="3402135"/>
            <a:ext cx="3200944" cy="369332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>
              <a:defRPr/>
            </a:pPr>
            <a:r>
              <a:rPr lang="en-US" dirty="0">
                <a:solidFill>
                  <a:schemeClr val="bg2">
                    <a:lumMod val="85000"/>
                  </a:schemeClr>
                </a:solidFill>
              </a:rPr>
              <a:t>Edge protection</a:t>
            </a:r>
          </a:p>
        </p:txBody>
      </p:sp>
      <p:sp>
        <p:nvSpPr>
          <p:cNvPr id="46" name="Freeform 45">
            <a:extLst>
              <a:ext uri="{FF2B5EF4-FFF2-40B4-BE49-F238E27FC236}">
                <a16:creationId xmlns:a16="http://schemas.microsoft.com/office/drawing/2014/main" id="{E5EE27BD-C5CB-D94B-B844-C4A59028EE71}"/>
              </a:ext>
            </a:extLst>
          </p:cNvPr>
          <p:cNvSpPr/>
          <p:nvPr/>
        </p:nvSpPr>
        <p:spPr>
          <a:xfrm>
            <a:off x="1994810" y="3264776"/>
            <a:ext cx="6568898" cy="644051"/>
          </a:xfrm>
          <a:custGeom>
            <a:avLst/>
            <a:gdLst>
              <a:gd name="connsiteX0" fmla="*/ 0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0 w 2676588"/>
              <a:gd name="connsiteY4" fmla="*/ 0 h 363338"/>
              <a:gd name="connsiteX0" fmla="*/ 888545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888545 w 2676588"/>
              <a:gd name="connsiteY4" fmla="*/ 0 h 363338"/>
              <a:gd name="connsiteX0" fmla="*/ 0 w 1788043"/>
              <a:gd name="connsiteY0" fmla="*/ 0 h 363338"/>
              <a:gd name="connsiteX1" fmla="*/ 1788043 w 1788043"/>
              <a:gd name="connsiteY1" fmla="*/ 0 h 363338"/>
              <a:gd name="connsiteX2" fmla="*/ 1600319 w 1788043"/>
              <a:gd name="connsiteY2" fmla="*/ 363338 h 363338"/>
              <a:gd name="connsiteX3" fmla="*/ 0 w 1788043"/>
              <a:gd name="connsiteY3" fmla="*/ 363338 h 363338"/>
              <a:gd name="connsiteX4" fmla="*/ 0 w 1788043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138221 w 1926264"/>
              <a:gd name="connsiteY3" fmla="*/ 363338 h 363338"/>
              <a:gd name="connsiteX4" fmla="*/ 0 w 1926264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6284 w 1926264"/>
              <a:gd name="connsiteY3" fmla="*/ 363338 h 363338"/>
              <a:gd name="connsiteX4" fmla="*/ 0 w 1926264"/>
              <a:gd name="connsiteY4" fmla="*/ 0 h 363338"/>
              <a:gd name="connsiteX0" fmla="*/ 43978 w 1970242"/>
              <a:gd name="connsiteY0" fmla="*/ 0 h 363338"/>
              <a:gd name="connsiteX1" fmla="*/ 1970242 w 1970242"/>
              <a:gd name="connsiteY1" fmla="*/ 0 h 363338"/>
              <a:gd name="connsiteX2" fmla="*/ 1782518 w 1970242"/>
              <a:gd name="connsiteY2" fmla="*/ 363338 h 363338"/>
              <a:gd name="connsiteX3" fmla="*/ 0 w 1970242"/>
              <a:gd name="connsiteY3" fmla="*/ 363338 h 363338"/>
              <a:gd name="connsiteX4" fmla="*/ 43978 w 1970242"/>
              <a:gd name="connsiteY4" fmla="*/ 0 h 363338"/>
              <a:gd name="connsiteX0" fmla="*/ 0 w 1926264"/>
              <a:gd name="connsiteY0" fmla="*/ 0 h 369620"/>
              <a:gd name="connsiteX1" fmla="*/ 1926264 w 1926264"/>
              <a:gd name="connsiteY1" fmla="*/ 0 h 369620"/>
              <a:gd name="connsiteX2" fmla="*/ 1738540 w 1926264"/>
              <a:gd name="connsiteY2" fmla="*/ 363338 h 369620"/>
              <a:gd name="connsiteX3" fmla="*/ 6284 w 1926264"/>
              <a:gd name="connsiteY3" fmla="*/ 369620 h 369620"/>
              <a:gd name="connsiteX4" fmla="*/ 0 w 1926264"/>
              <a:gd name="connsiteY4" fmla="*/ 0 h 369620"/>
              <a:gd name="connsiteX0" fmla="*/ 6281 w 1932545"/>
              <a:gd name="connsiteY0" fmla="*/ 0 h 369620"/>
              <a:gd name="connsiteX1" fmla="*/ 1932545 w 1932545"/>
              <a:gd name="connsiteY1" fmla="*/ 0 h 369620"/>
              <a:gd name="connsiteX2" fmla="*/ 1744821 w 1932545"/>
              <a:gd name="connsiteY2" fmla="*/ 363338 h 369620"/>
              <a:gd name="connsiteX3" fmla="*/ 0 w 1932545"/>
              <a:gd name="connsiteY3" fmla="*/ 369620 h 369620"/>
              <a:gd name="connsiteX4" fmla="*/ 6281 w 1932545"/>
              <a:gd name="connsiteY4" fmla="*/ 0 h 369620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25132 w 1926264"/>
              <a:gd name="connsiteY3" fmla="*/ 357055 h 363338"/>
              <a:gd name="connsiteX4" fmla="*/ 0 w 1926264"/>
              <a:gd name="connsiteY4" fmla="*/ 0 h 363338"/>
              <a:gd name="connsiteX0" fmla="*/ 12564 w 1938828"/>
              <a:gd name="connsiteY0" fmla="*/ 0 h 363338"/>
              <a:gd name="connsiteX1" fmla="*/ 1938828 w 1938828"/>
              <a:gd name="connsiteY1" fmla="*/ 0 h 363338"/>
              <a:gd name="connsiteX2" fmla="*/ 1751104 w 1938828"/>
              <a:gd name="connsiteY2" fmla="*/ 363338 h 363338"/>
              <a:gd name="connsiteX3" fmla="*/ 0 w 1938828"/>
              <a:gd name="connsiteY3" fmla="*/ 363338 h 363338"/>
              <a:gd name="connsiteX4" fmla="*/ 12564 w 1938828"/>
              <a:gd name="connsiteY4" fmla="*/ 0 h 363338"/>
              <a:gd name="connsiteX0" fmla="*/ 0 w 1926264"/>
              <a:gd name="connsiteY0" fmla="*/ 0 h 369621"/>
              <a:gd name="connsiteX1" fmla="*/ 1926264 w 1926264"/>
              <a:gd name="connsiteY1" fmla="*/ 0 h 369621"/>
              <a:gd name="connsiteX2" fmla="*/ 1738540 w 1926264"/>
              <a:gd name="connsiteY2" fmla="*/ 363338 h 369621"/>
              <a:gd name="connsiteX3" fmla="*/ 6284 w 1926264"/>
              <a:gd name="connsiteY3" fmla="*/ 369621 h 369621"/>
              <a:gd name="connsiteX4" fmla="*/ 0 w 1926264"/>
              <a:gd name="connsiteY4" fmla="*/ 0 h 369621"/>
              <a:gd name="connsiteX0" fmla="*/ 43978 w 1970242"/>
              <a:gd name="connsiteY0" fmla="*/ 0 h 363339"/>
              <a:gd name="connsiteX1" fmla="*/ 1970242 w 1970242"/>
              <a:gd name="connsiteY1" fmla="*/ 0 h 363339"/>
              <a:gd name="connsiteX2" fmla="*/ 1782518 w 1970242"/>
              <a:gd name="connsiteY2" fmla="*/ 363338 h 363339"/>
              <a:gd name="connsiteX3" fmla="*/ 0 w 1970242"/>
              <a:gd name="connsiteY3" fmla="*/ 363339 h 363339"/>
              <a:gd name="connsiteX4" fmla="*/ 43978 w 1970242"/>
              <a:gd name="connsiteY4" fmla="*/ 0 h 363339"/>
              <a:gd name="connsiteX0" fmla="*/ 0 w 1926264"/>
              <a:gd name="connsiteY0" fmla="*/ 0 h 363339"/>
              <a:gd name="connsiteX1" fmla="*/ 1926264 w 1926264"/>
              <a:gd name="connsiteY1" fmla="*/ 0 h 363339"/>
              <a:gd name="connsiteX2" fmla="*/ 1738540 w 1926264"/>
              <a:gd name="connsiteY2" fmla="*/ 363338 h 363339"/>
              <a:gd name="connsiteX3" fmla="*/ 1 w 1926264"/>
              <a:gd name="connsiteY3" fmla="*/ 363339 h 363339"/>
              <a:gd name="connsiteX4" fmla="*/ 0 w 1926264"/>
              <a:gd name="connsiteY4" fmla="*/ 0 h 363339"/>
              <a:gd name="connsiteX0" fmla="*/ 0 w 3440015"/>
              <a:gd name="connsiteY0" fmla="*/ 0 h 363339"/>
              <a:gd name="connsiteX1" fmla="*/ 3440015 w 3440015"/>
              <a:gd name="connsiteY1" fmla="*/ 0 h 363339"/>
              <a:gd name="connsiteX2" fmla="*/ 3252291 w 3440015"/>
              <a:gd name="connsiteY2" fmla="*/ 363338 h 363339"/>
              <a:gd name="connsiteX3" fmla="*/ 1513752 w 3440015"/>
              <a:gd name="connsiteY3" fmla="*/ 363339 h 363339"/>
              <a:gd name="connsiteX4" fmla="*/ 0 w 3440015"/>
              <a:gd name="connsiteY4" fmla="*/ 0 h 363339"/>
              <a:gd name="connsiteX0" fmla="*/ 0 w 3440015"/>
              <a:gd name="connsiteY0" fmla="*/ 0 h 363339"/>
              <a:gd name="connsiteX1" fmla="*/ 3440015 w 3440015"/>
              <a:gd name="connsiteY1" fmla="*/ 0 h 363339"/>
              <a:gd name="connsiteX2" fmla="*/ 3252291 w 3440015"/>
              <a:gd name="connsiteY2" fmla="*/ 363338 h 363339"/>
              <a:gd name="connsiteX3" fmla="*/ 1 w 3440015"/>
              <a:gd name="connsiteY3" fmla="*/ 363339 h 363339"/>
              <a:gd name="connsiteX4" fmla="*/ 0 w 3440015"/>
              <a:gd name="connsiteY4" fmla="*/ 0 h 363339"/>
              <a:gd name="connsiteX0" fmla="*/ 0 w 3440015"/>
              <a:gd name="connsiteY0" fmla="*/ 0 h 363339"/>
              <a:gd name="connsiteX1" fmla="*/ 3440015 w 3440015"/>
              <a:gd name="connsiteY1" fmla="*/ 0 h 363339"/>
              <a:gd name="connsiteX2" fmla="*/ 3252291 w 3440015"/>
              <a:gd name="connsiteY2" fmla="*/ 363338 h 363339"/>
              <a:gd name="connsiteX3" fmla="*/ 192223 w 3440015"/>
              <a:gd name="connsiteY3" fmla="*/ 363339 h 363339"/>
              <a:gd name="connsiteX4" fmla="*/ 0 w 3440015"/>
              <a:gd name="connsiteY4" fmla="*/ 0 h 363339"/>
              <a:gd name="connsiteX0" fmla="*/ 0 w 3247793"/>
              <a:gd name="connsiteY0" fmla="*/ 0 h 363339"/>
              <a:gd name="connsiteX1" fmla="*/ 3247793 w 3247793"/>
              <a:gd name="connsiteY1" fmla="*/ 0 h 363339"/>
              <a:gd name="connsiteX2" fmla="*/ 3060069 w 3247793"/>
              <a:gd name="connsiteY2" fmla="*/ 363338 h 363339"/>
              <a:gd name="connsiteX3" fmla="*/ 1 w 3247793"/>
              <a:gd name="connsiteY3" fmla="*/ 363339 h 363339"/>
              <a:gd name="connsiteX4" fmla="*/ 0 w 3247793"/>
              <a:gd name="connsiteY4" fmla="*/ 0 h 363339"/>
              <a:gd name="connsiteX0" fmla="*/ 0 w 3247793"/>
              <a:gd name="connsiteY0" fmla="*/ 0 h 367713"/>
              <a:gd name="connsiteX1" fmla="*/ 3247793 w 3247793"/>
              <a:gd name="connsiteY1" fmla="*/ 0 h 367713"/>
              <a:gd name="connsiteX2" fmla="*/ 3060069 w 3247793"/>
              <a:gd name="connsiteY2" fmla="*/ 367713 h 367713"/>
              <a:gd name="connsiteX3" fmla="*/ 1 w 3247793"/>
              <a:gd name="connsiteY3" fmla="*/ 363339 h 367713"/>
              <a:gd name="connsiteX4" fmla="*/ 0 w 3247793"/>
              <a:gd name="connsiteY4" fmla="*/ 0 h 367713"/>
              <a:gd name="connsiteX0" fmla="*/ 0 w 3247793"/>
              <a:gd name="connsiteY0" fmla="*/ 0 h 371190"/>
              <a:gd name="connsiteX1" fmla="*/ 3247793 w 3247793"/>
              <a:gd name="connsiteY1" fmla="*/ 0 h 371190"/>
              <a:gd name="connsiteX2" fmla="*/ 3060069 w 3247793"/>
              <a:gd name="connsiteY2" fmla="*/ 367713 h 371190"/>
              <a:gd name="connsiteX3" fmla="*/ 1 w 3247793"/>
              <a:gd name="connsiteY3" fmla="*/ 371190 h 371190"/>
              <a:gd name="connsiteX4" fmla="*/ 0 w 3247793"/>
              <a:gd name="connsiteY4" fmla="*/ 0 h 371190"/>
              <a:gd name="connsiteX0" fmla="*/ 0 w 3247793"/>
              <a:gd name="connsiteY0" fmla="*/ 0 h 367713"/>
              <a:gd name="connsiteX1" fmla="*/ 3247793 w 3247793"/>
              <a:gd name="connsiteY1" fmla="*/ 0 h 367713"/>
              <a:gd name="connsiteX2" fmla="*/ 3060069 w 3247793"/>
              <a:gd name="connsiteY2" fmla="*/ 367713 h 367713"/>
              <a:gd name="connsiteX3" fmla="*/ 1 w 3247793"/>
              <a:gd name="connsiteY3" fmla="*/ 347638 h 367713"/>
              <a:gd name="connsiteX4" fmla="*/ 0 w 3247793"/>
              <a:gd name="connsiteY4" fmla="*/ 0 h 367713"/>
              <a:gd name="connsiteX0" fmla="*/ 0 w 3247793"/>
              <a:gd name="connsiteY0" fmla="*/ 0 h 367713"/>
              <a:gd name="connsiteX1" fmla="*/ 3247793 w 3247793"/>
              <a:gd name="connsiteY1" fmla="*/ 0 h 367713"/>
              <a:gd name="connsiteX2" fmla="*/ 3060069 w 3247793"/>
              <a:gd name="connsiteY2" fmla="*/ 367713 h 367713"/>
              <a:gd name="connsiteX3" fmla="*/ 1 w 3247793"/>
              <a:gd name="connsiteY3" fmla="*/ 367265 h 367713"/>
              <a:gd name="connsiteX4" fmla="*/ 0 w 3247793"/>
              <a:gd name="connsiteY4" fmla="*/ 0 h 367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47793" h="367713">
                <a:moveTo>
                  <a:pt x="0" y="0"/>
                </a:moveTo>
                <a:lnTo>
                  <a:pt x="3247793" y="0"/>
                </a:lnTo>
                <a:lnTo>
                  <a:pt x="3060069" y="367713"/>
                </a:lnTo>
                <a:lnTo>
                  <a:pt x="1" y="367265"/>
                </a:lnTo>
                <a:cubicBezTo>
                  <a:pt x="1" y="246152"/>
                  <a:pt x="0" y="121113"/>
                  <a:pt x="0" y="0"/>
                </a:cubicBezTo>
                <a:close/>
              </a:path>
            </a:pathLst>
          </a:cu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29">
            <a:extLst>
              <a:ext uri="{FF2B5EF4-FFF2-40B4-BE49-F238E27FC236}">
                <a16:creationId xmlns:a16="http://schemas.microsoft.com/office/drawing/2014/main" id="{3F4E1DB4-80F1-D845-A5EB-E1EC0ED3EF47}"/>
              </a:ext>
            </a:extLst>
          </p:cNvPr>
          <p:cNvSpPr/>
          <p:nvPr/>
        </p:nvSpPr>
        <p:spPr>
          <a:xfrm>
            <a:off x="1995238" y="3402135"/>
            <a:ext cx="575656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NVIROCRON</a:t>
            </a:r>
            <a:r>
              <a:rPr kumimoji="0" lang="en-US" b="1" i="0" u="none" strike="noStrike" kern="120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®</a:t>
            </a: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EPE  </a:t>
            </a:r>
            <a:r>
              <a:rPr lang="en-US" dirty="0">
                <a:solidFill>
                  <a:prstClr val="white"/>
                </a:solidFill>
              </a:rPr>
              <a:t>Extreme Protection Edge</a:t>
            </a:r>
          </a:p>
        </p:txBody>
      </p:sp>
      <p:pic>
        <p:nvPicPr>
          <p:cNvPr id="65" name="Picture 8">
            <a:extLst>
              <a:ext uri="{FF2B5EF4-FFF2-40B4-BE49-F238E27FC236}">
                <a16:creationId xmlns:a16="http://schemas.microsoft.com/office/drawing/2014/main" id="{DD48C956-339F-4986-BBA2-86F50BE07449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9014" y="4021589"/>
            <a:ext cx="1640334" cy="635685"/>
          </a:xfrm>
          <a:prstGeom prst="rect">
            <a:avLst/>
          </a:prstGeom>
        </p:spPr>
      </p:pic>
      <p:sp>
        <p:nvSpPr>
          <p:cNvPr id="48" name="Freeform 47">
            <a:extLst>
              <a:ext uri="{FF2B5EF4-FFF2-40B4-BE49-F238E27FC236}">
                <a16:creationId xmlns:a16="http://schemas.microsoft.com/office/drawing/2014/main" id="{B1807E44-477A-CC45-ACE5-4EBC46A60B02}"/>
              </a:ext>
            </a:extLst>
          </p:cNvPr>
          <p:cNvSpPr/>
          <p:nvPr/>
        </p:nvSpPr>
        <p:spPr>
          <a:xfrm rot="10800000">
            <a:off x="7307714" y="4017695"/>
            <a:ext cx="3711684" cy="643471"/>
          </a:xfrm>
          <a:custGeom>
            <a:avLst/>
            <a:gdLst>
              <a:gd name="connsiteX0" fmla="*/ 0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0 w 2676588"/>
              <a:gd name="connsiteY4" fmla="*/ 0 h 363338"/>
              <a:gd name="connsiteX0" fmla="*/ 888545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888545 w 2676588"/>
              <a:gd name="connsiteY4" fmla="*/ 0 h 363338"/>
              <a:gd name="connsiteX0" fmla="*/ 0 w 1788043"/>
              <a:gd name="connsiteY0" fmla="*/ 0 h 363338"/>
              <a:gd name="connsiteX1" fmla="*/ 1788043 w 1788043"/>
              <a:gd name="connsiteY1" fmla="*/ 0 h 363338"/>
              <a:gd name="connsiteX2" fmla="*/ 1600319 w 1788043"/>
              <a:gd name="connsiteY2" fmla="*/ 363338 h 363338"/>
              <a:gd name="connsiteX3" fmla="*/ 0 w 1788043"/>
              <a:gd name="connsiteY3" fmla="*/ 363338 h 363338"/>
              <a:gd name="connsiteX4" fmla="*/ 0 w 1788043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138221 w 1926264"/>
              <a:gd name="connsiteY3" fmla="*/ 363338 h 363338"/>
              <a:gd name="connsiteX4" fmla="*/ 0 w 1926264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6284 w 1926264"/>
              <a:gd name="connsiteY3" fmla="*/ 363338 h 363338"/>
              <a:gd name="connsiteX4" fmla="*/ 0 w 1926264"/>
              <a:gd name="connsiteY4" fmla="*/ 0 h 363338"/>
              <a:gd name="connsiteX0" fmla="*/ 43978 w 1970242"/>
              <a:gd name="connsiteY0" fmla="*/ 0 h 363338"/>
              <a:gd name="connsiteX1" fmla="*/ 1970242 w 1970242"/>
              <a:gd name="connsiteY1" fmla="*/ 0 h 363338"/>
              <a:gd name="connsiteX2" fmla="*/ 1782518 w 1970242"/>
              <a:gd name="connsiteY2" fmla="*/ 363338 h 363338"/>
              <a:gd name="connsiteX3" fmla="*/ 0 w 1970242"/>
              <a:gd name="connsiteY3" fmla="*/ 363338 h 363338"/>
              <a:gd name="connsiteX4" fmla="*/ 43978 w 1970242"/>
              <a:gd name="connsiteY4" fmla="*/ 0 h 363338"/>
              <a:gd name="connsiteX0" fmla="*/ 0 w 1926264"/>
              <a:gd name="connsiteY0" fmla="*/ 0 h 369620"/>
              <a:gd name="connsiteX1" fmla="*/ 1926264 w 1926264"/>
              <a:gd name="connsiteY1" fmla="*/ 0 h 369620"/>
              <a:gd name="connsiteX2" fmla="*/ 1738540 w 1926264"/>
              <a:gd name="connsiteY2" fmla="*/ 363338 h 369620"/>
              <a:gd name="connsiteX3" fmla="*/ 6284 w 1926264"/>
              <a:gd name="connsiteY3" fmla="*/ 369620 h 369620"/>
              <a:gd name="connsiteX4" fmla="*/ 0 w 1926264"/>
              <a:gd name="connsiteY4" fmla="*/ 0 h 369620"/>
              <a:gd name="connsiteX0" fmla="*/ 6281 w 1932545"/>
              <a:gd name="connsiteY0" fmla="*/ 0 h 369620"/>
              <a:gd name="connsiteX1" fmla="*/ 1932545 w 1932545"/>
              <a:gd name="connsiteY1" fmla="*/ 0 h 369620"/>
              <a:gd name="connsiteX2" fmla="*/ 1744821 w 1932545"/>
              <a:gd name="connsiteY2" fmla="*/ 363338 h 369620"/>
              <a:gd name="connsiteX3" fmla="*/ 0 w 1932545"/>
              <a:gd name="connsiteY3" fmla="*/ 369620 h 369620"/>
              <a:gd name="connsiteX4" fmla="*/ 6281 w 1932545"/>
              <a:gd name="connsiteY4" fmla="*/ 0 h 369620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25132 w 1926264"/>
              <a:gd name="connsiteY3" fmla="*/ 357055 h 363338"/>
              <a:gd name="connsiteX4" fmla="*/ 0 w 1926264"/>
              <a:gd name="connsiteY4" fmla="*/ 0 h 363338"/>
              <a:gd name="connsiteX0" fmla="*/ 12564 w 1938828"/>
              <a:gd name="connsiteY0" fmla="*/ 0 h 363338"/>
              <a:gd name="connsiteX1" fmla="*/ 1938828 w 1938828"/>
              <a:gd name="connsiteY1" fmla="*/ 0 h 363338"/>
              <a:gd name="connsiteX2" fmla="*/ 1751104 w 1938828"/>
              <a:gd name="connsiteY2" fmla="*/ 363338 h 363338"/>
              <a:gd name="connsiteX3" fmla="*/ 0 w 1938828"/>
              <a:gd name="connsiteY3" fmla="*/ 363338 h 363338"/>
              <a:gd name="connsiteX4" fmla="*/ 12564 w 1938828"/>
              <a:gd name="connsiteY4" fmla="*/ 0 h 363338"/>
              <a:gd name="connsiteX0" fmla="*/ 0 w 1926264"/>
              <a:gd name="connsiteY0" fmla="*/ 0 h 369621"/>
              <a:gd name="connsiteX1" fmla="*/ 1926264 w 1926264"/>
              <a:gd name="connsiteY1" fmla="*/ 0 h 369621"/>
              <a:gd name="connsiteX2" fmla="*/ 1738540 w 1926264"/>
              <a:gd name="connsiteY2" fmla="*/ 363338 h 369621"/>
              <a:gd name="connsiteX3" fmla="*/ 6284 w 1926264"/>
              <a:gd name="connsiteY3" fmla="*/ 369621 h 369621"/>
              <a:gd name="connsiteX4" fmla="*/ 0 w 1926264"/>
              <a:gd name="connsiteY4" fmla="*/ 0 h 369621"/>
              <a:gd name="connsiteX0" fmla="*/ 43978 w 1970242"/>
              <a:gd name="connsiteY0" fmla="*/ 0 h 363339"/>
              <a:gd name="connsiteX1" fmla="*/ 1970242 w 1970242"/>
              <a:gd name="connsiteY1" fmla="*/ 0 h 363339"/>
              <a:gd name="connsiteX2" fmla="*/ 1782518 w 1970242"/>
              <a:gd name="connsiteY2" fmla="*/ 363338 h 363339"/>
              <a:gd name="connsiteX3" fmla="*/ 0 w 1970242"/>
              <a:gd name="connsiteY3" fmla="*/ 363339 h 363339"/>
              <a:gd name="connsiteX4" fmla="*/ 43978 w 1970242"/>
              <a:gd name="connsiteY4" fmla="*/ 0 h 363339"/>
              <a:gd name="connsiteX0" fmla="*/ 0 w 1926264"/>
              <a:gd name="connsiteY0" fmla="*/ 0 h 363339"/>
              <a:gd name="connsiteX1" fmla="*/ 1926264 w 1926264"/>
              <a:gd name="connsiteY1" fmla="*/ 0 h 363339"/>
              <a:gd name="connsiteX2" fmla="*/ 1738540 w 1926264"/>
              <a:gd name="connsiteY2" fmla="*/ 363338 h 363339"/>
              <a:gd name="connsiteX3" fmla="*/ 1 w 1926264"/>
              <a:gd name="connsiteY3" fmla="*/ 363339 h 363339"/>
              <a:gd name="connsiteX4" fmla="*/ 0 w 1926264"/>
              <a:gd name="connsiteY4" fmla="*/ 0 h 3633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6264" h="363339">
                <a:moveTo>
                  <a:pt x="0" y="0"/>
                </a:moveTo>
                <a:lnTo>
                  <a:pt x="1926264" y="0"/>
                </a:lnTo>
                <a:lnTo>
                  <a:pt x="1738540" y="363338"/>
                </a:lnTo>
                <a:lnTo>
                  <a:pt x="1" y="363339"/>
                </a:lnTo>
                <a:cubicBezTo>
                  <a:pt x="1" y="242226"/>
                  <a:pt x="0" y="121113"/>
                  <a:pt x="0" y="0"/>
                </a:cubicBezTo>
                <a:close/>
              </a:path>
            </a:pathLst>
          </a:custGeom>
          <a:solidFill>
            <a:schemeClr val="bg2">
              <a:lumMod val="85000"/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34">
            <a:extLst>
              <a:ext uri="{FF2B5EF4-FFF2-40B4-BE49-F238E27FC236}">
                <a16:creationId xmlns:a16="http://schemas.microsoft.com/office/drawing/2014/main" id="{360476A8-22CB-764E-9392-AA4038FE0807}"/>
              </a:ext>
            </a:extLst>
          </p:cNvPr>
          <p:cNvSpPr/>
          <p:nvPr/>
        </p:nvSpPr>
        <p:spPr>
          <a:xfrm>
            <a:off x="8613876" y="4154765"/>
            <a:ext cx="3200944" cy="369332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>
              <a:defRPr/>
            </a:pPr>
            <a:r>
              <a:rPr lang="en-US" dirty="0">
                <a:solidFill>
                  <a:schemeClr val="bg2">
                    <a:lumMod val="85000"/>
                  </a:schemeClr>
                </a:solidFill>
              </a:rPr>
              <a:t>Insulation</a:t>
            </a:r>
          </a:p>
        </p:txBody>
      </p:sp>
      <p:sp>
        <p:nvSpPr>
          <p:cNvPr id="50" name="Freeform 49">
            <a:extLst>
              <a:ext uri="{FF2B5EF4-FFF2-40B4-BE49-F238E27FC236}">
                <a16:creationId xmlns:a16="http://schemas.microsoft.com/office/drawing/2014/main" id="{6C4E0148-A6B7-A940-9816-A747DF1E90CE}"/>
              </a:ext>
            </a:extLst>
          </p:cNvPr>
          <p:cNvSpPr/>
          <p:nvPr/>
        </p:nvSpPr>
        <p:spPr>
          <a:xfrm>
            <a:off x="1989348" y="4017406"/>
            <a:ext cx="6568898" cy="644051"/>
          </a:xfrm>
          <a:custGeom>
            <a:avLst/>
            <a:gdLst>
              <a:gd name="connsiteX0" fmla="*/ 0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0 w 2676588"/>
              <a:gd name="connsiteY4" fmla="*/ 0 h 363338"/>
              <a:gd name="connsiteX0" fmla="*/ 888545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888545 w 2676588"/>
              <a:gd name="connsiteY4" fmla="*/ 0 h 363338"/>
              <a:gd name="connsiteX0" fmla="*/ 0 w 1788043"/>
              <a:gd name="connsiteY0" fmla="*/ 0 h 363338"/>
              <a:gd name="connsiteX1" fmla="*/ 1788043 w 1788043"/>
              <a:gd name="connsiteY1" fmla="*/ 0 h 363338"/>
              <a:gd name="connsiteX2" fmla="*/ 1600319 w 1788043"/>
              <a:gd name="connsiteY2" fmla="*/ 363338 h 363338"/>
              <a:gd name="connsiteX3" fmla="*/ 0 w 1788043"/>
              <a:gd name="connsiteY3" fmla="*/ 363338 h 363338"/>
              <a:gd name="connsiteX4" fmla="*/ 0 w 1788043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138221 w 1926264"/>
              <a:gd name="connsiteY3" fmla="*/ 363338 h 363338"/>
              <a:gd name="connsiteX4" fmla="*/ 0 w 1926264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6284 w 1926264"/>
              <a:gd name="connsiteY3" fmla="*/ 363338 h 363338"/>
              <a:gd name="connsiteX4" fmla="*/ 0 w 1926264"/>
              <a:gd name="connsiteY4" fmla="*/ 0 h 363338"/>
              <a:gd name="connsiteX0" fmla="*/ 43978 w 1970242"/>
              <a:gd name="connsiteY0" fmla="*/ 0 h 363338"/>
              <a:gd name="connsiteX1" fmla="*/ 1970242 w 1970242"/>
              <a:gd name="connsiteY1" fmla="*/ 0 h 363338"/>
              <a:gd name="connsiteX2" fmla="*/ 1782518 w 1970242"/>
              <a:gd name="connsiteY2" fmla="*/ 363338 h 363338"/>
              <a:gd name="connsiteX3" fmla="*/ 0 w 1970242"/>
              <a:gd name="connsiteY3" fmla="*/ 363338 h 363338"/>
              <a:gd name="connsiteX4" fmla="*/ 43978 w 1970242"/>
              <a:gd name="connsiteY4" fmla="*/ 0 h 363338"/>
              <a:gd name="connsiteX0" fmla="*/ 0 w 1926264"/>
              <a:gd name="connsiteY0" fmla="*/ 0 h 369620"/>
              <a:gd name="connsiteX1" fmla="*/ 1926264 w 1926264"/>
              <a:gd name="connsiteY1" fmla="*/ 0 h 369620"/>
              <a:gd name="connsiteX2" fmla="*/ 1738540 w 1926264"/>
              <a:gd name="connsiteY2" fmla="*/ 363338 h 369620"/>
              <a:gd name="connsiteX3" fmla="*/ 6284 w 1926264"/>
              <a:gd name="connsiteY3" fmla="*/ 369620 h 369620"/>
              <a:gd name="connsiteX4" fmla="*/ 0 w 1926264"/>
              <a:gd name="connsiteY4" fmla="*/ 0 h 369620"/>
              <a:gd name="connsiteX0" fmla="*/ 6281 w 1932545"/>
              <a:gd name="connsiteY0" fmla="*/ 0 h 369620"/>
              <a:gd name="connsiteX1" fmla="*/ 1932545 w 1932545"/>
              <a:gd name="connsiteY1" fmla="*/ 0 h 369620"/>
              <a:gd name="connsiteX2" fmla="*/ 1744821 w 1932545"/>
              <a:gd name="connsiteY2" fmla="*/ 363338 h 369620"/>
              <a:gd name="connsiteX3" fmla="*/ 0 w 1932545"/>
              <a:gd name="connsiteY3" fmla="*/ 369620 h 369620"/>
              <a:gd name="connsiteX4" fmla="*/ 6281 w 1932545"/>
              <a:gd name="connsiteY4" fmla="*/ 0 h 369620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25132 w 1926264"/>
              <a:gd name="connsiteY3" fmla="*/ 357055 h 363338"/>
              <a:gd name="connsiteX4" fmla="*/ 0 w 1926264"/>
              <a:gd name="connsiteY4" fmla="*/ 0 h 363338"/>
              <a:gd name="connsiteX0" fmla="*/ 12564 w 1938828"/>
              <a:gd name="connsiteY0" fmla="*/ 0 h 363338"/>
              <a:gd name="connsiteX1" fmla="*/ 1938828 w 1938828"/>
              <a:gd name="connsiteY1" fmla="*/ 0 h 363338"/>
              <a:gd name="connsiteX2" fmla="*/ 1751104 w 1938828"/>
              <a:gd name="connsiteY2" fmla="*/ 363338 h 363338"/>
              <a:gd name="connsiteX3" fmla="*/ 0 w 1938828"/>
              <a:gd name="connsiteY3" fmla="*/ 363338 h 363338"/>
              <a:gd name="connsiteX4" fmla="*/ 12564 w 1938828"/>
              <a:gd name="connsiteY4" fmla="*/ 0 h 363338"/>
              <a:gd name="connsiteX0" fmla="*/ 0 w 1926264"/>
              <a:gd name="connsiteY0" fmla="*/ 0 h 369621"/>
              <a:gd name="connsiteX1" fmla="*/ 1926264 w 1926264"/>
              <a:gd name="connsiteY1" fmla="*/ 0 h 369621"/>
              <a:gd name="connsiteX2" fmla="*/ 1738540 w 1926264"/>
              <a:gd name="connsiteY2" fmla="*/ 363338 h 369621"/>
              <a:gd name="connsiteX3" fmla="*/ 6284 w 1926264"/>
              <a:gd name="connsiteY3" fmla="*/ 369621 h 369621"/>
              <a:gd name="connsiteX4" fmla="*/ 0 w 1926264"/>
              <a:gd name="connsiteY4" fmla="*/ 0 h 369621"/>
              <a:gd name="connsiteX0" fmla="*/ 43978 w 1970242"/>
              <a:gd name="connsiteY0" fmla="*/ 0 h 363339"/>
              <a:gd name="connsiteX1" fmla="*/ 1970242 w 1970242"/>
              <a:gd name="connsiteY1" fmla="*/ 0 h 363339"/>
              <a:gd name="connsiteX2" fmla="*/ 1782518 w 1970242"/>
              <a:gd name="connsiteY2" fmla="*/ 363338 h 363339"/>
              <a:gd name="connsiteX3" fmla="*/ 0 w 1970242"/>
              <a:gd name="connsiteY3" fmla="*/ 363339 h 363339"/>
              <a:gd name="connsiteX4" fmla="*/ 43978 w 1970242"/>
              <a:gd name="connsiteY4" fmla="*/ 0 h 363339"/>
              <a:gd name="connsiteX0" fmla="*/ 0 w 1926264"/>
              <a:gd name="connsiteY0" fmla="*/ 0 h 363339"/>
              <a:gd name="connsiteX1" fmla="*/ 1926264 w 1926264"/>
              <a:gd name="connsiteY1" fmla="*/ 0 h 363339"/>
              <a:gd name="connsiteX2" fmla="*/ 1738540 w 1926264"/>
              <a:gd name="connsiteY2" fmla="*/ 363338 h 363339"/>
              <a:gd name="connsiteX3" fmla="*/ 1 w 1926264"/>
              <a:gd name="connsiteY3" fmla="*/ 363339 h 363339"/>
              <a:gd name="connsiteX4" fmla="*/ 0 w 1926264"/>
              <a:gd name="connsiteY4" fmla="*/ 0 h 363339"/>
              <a:gd name="connsiteX0" fmla="*/ 0 w 3440015"/>
              <a:gd name="connsiteY0" fmla="*/ 0 h 363339"/>
              <a:gd name="connsiteX1" fmla="*/ 3440015 w 3440015"/>
              <a:gd name="connsiteY1" fmla="*/ 0 h 363339"/>
              <a:gd name="connsiteX2" fmla="*/ 3252291 w 3440015"/>
              <a:gd name="connsiteY2" fmla="*/ 363338 h 363339"/>
              <a:gd name="connsiteX3" fmla="*/ 1513752 w 3440015"/>
              <a:gd name="connsiteY3" fmla="*/ 363339 h 363339"/>
              <a:gd name="connsiteX4" fmla="*/ 0 w 3440015"/>
              <a:gd name="connsiteY4" fmla="*/ 0 h 363339"/>
              <a:gd name="connsiteX0" fmla="*/ 0 w 3440015"/>
              <a:gd name="connsiteY0" fmla="*/ 0 h 363339"/>
              <a:gd name="connsiteX1" fmla="*/ 3440015 w 3440015"/>
              <a:gd name="connsiteY1" fmla="*/ 0 h 363339"/>
              <a:gd name="connsiteX2" fmla="*/ 3252291 w 3440015"/>
              <a:gd name="connsiteY2" fmla="*/ 363338 h 363339"/>
              <a:gd name="connsiteX3" fmla="*/ 1 w 3440015"/>
              <a:gd name="connsiteY3" fmla="*/ 363339 h 363339"/>
              <a:gd name="connsiteX4" fmla="*/ 0 w 3440015"/>
              <a:gd name="connsiteY4" fmla="*/ 0 h 363339"/>
              <a:gd name="connsiteX0" fmla="*/ 0 w 3440015"/>
              <a:gd name="connsiteY0" fmla="*/ 0 h 363339"/>
              <a:gd name="connsiteX1" fmla="*/ 3440015 w 3440015"/>
              <a:gd name="connsiteY1" fmla="*/ 0 h 363339"/>
              <a:gd name="connsiteX2" fmla="*/ 3252291 w 3440015"/>
              <a:gd name="connsiteY2" fmla="*/ 363338 h 363339"/>
              <a:gd name="connsiteX3" fmla="*/ 192223 w 3440015"/>
              <a:gd name="connsiteY3" fmla="*/ 363339 h 363339"/>
              <a:gd name="connsiteX4" fmla="*/ 0 w 3440015"/>
              <a:gd name="connsiteY4" fmla="*/ 0 h 363339"/>
              <a:gd name="connsiteX0" fmla="*/ 0 w 3247793"/>
              <a:gd name="connsiteY0" fmla="*/ 0 h 363339"/>
              <a:gd name="connsiteX1" fmla="*/ 3247793 w 3247793"/>
              <a:gd name="connsiteY1" fmla="*/ 0 h 363339"/>
              <a:gd name="connsiteX2" fmla="*/ 3060069 w 3247793"/>
              <a:gd name="connsiteY2" fmla="*/ 363338 h 363339"/>
              <a:gd name="connsiteX3" fmla="*/ 1 w 3247793"/>
              <a:gd name="connsiteY3" fmla="*/ 363339 h 363339"/>
              <a:gd name="connsiteX4" fmla="*/ 0 w 3247793"/>
              <a:gd name="connsiteY4" fmla="*/ 0 h 363339"/>
              <a:gd name="connsiteX0" fmla="*/ 0 w 3247793"/>
              <a:gd name="connsiteY0" fmla="*/ 0 h 367713"/>
              <a:gd name="connsiteX1" fmla="*/ 3247793 w 3247793"/>
              <a:gd name="connsiteY1" fmla="*/ 0 h 367713"/>
              <a:gd name="connsiteX2" fmla="*/ 3060069 w 3247793"/>
              <a:gd name="connsiteY2" fmla="*/ 367713 h 367713"/>
              <a:gd name="connsiteX3" fmla="*/ 1 w 3247793"/>
              <a:gd name="connsiteY3" fmla="*/ 363339 h 367713"/>
              <a:gd name="connsiteX4" fmla="*/ 0 w 3247793"/>
              <a:gd name="connsiteY4" fmla="*/ 0 h 367713"/>
              <a:gd name="connsiteX0" fmla="*/ 0 w 3247793"/>
              <a:gd name="connsiteY0" fmla="*/ 0 h 367713"/>
              <a:gd name="connsiteX1" fmla="*/ 3247793 w 3247793"/>
              <a:gd name="connsiteY1" fmla="*/ 0 h 367713"/>
              <a:gd name="connsiteX2" fmla="*/ 3060069 w 3247793"/>
              <a:gd name="connsiteY2" fmla="*/ 367713 h 367713"/>
              <a:gd name="connsiteX3" fmla="*/ 1 w 3247793"/>
              <a:gd name="connsiteY3" fmla="*/ 367264 h 367713"/>
              <a:gd name="connsiteX4" fmla="*/ 0 w 3247793"/>
              <a:gd name="connsiteY4" fmla="*/ 0 h 367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47793" h="367713">
                <a:moveTo>
                  <a:pt x="0" y="0"/>
                </a:moveTo>
                <a:lnTo>
                  <a:pt x="3247793" y="0"/>
                </a:lnTo>
                <a:lnTo>
                  <a:pt x="3060069" y="367713"/>
                </a:lnTo>
                <a:lnTo>
                  <a:pt x="1" y="367264"/>
                </a:lnTo>
                <a:cubicBezTo>
                  <a:pt x="1" y="246151"/>
                  <a:pt x="0" y="121113"/>
                  <a:pt x="0" y="0"/>
                </a:cubicBezTo>
                <a:close/>
              </a:path>
            </a:pathLst>
          </a:cu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Rectangle 29">
            <a:extLst>
              <a:ext uri="{FF2B5EF4-FFF2-40B4-BE49-F238E27FC236}">
                <a16:creationId xmlns:a16="http://schemas.microsoft.com/office/drawing/2014/main" id="{DEAB00C6-5F7B-1A48-A230-27CFF5F3E1CC}"/>
              </a:ext>
            </a:extLst>
          </p:cNvPr>
          <p:cNvSpPr/>
          <p:nvPr/>
        </p:nvSpPr>
        <p:spPr>
          <a:xfrm>
            <a:off x="1995238" y="4154765"/>
            <a:ext cx="575656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NVIROCRON</a:t>
            </a:r>
            <a:r>
              <a:rPr kumimoji="0" lang="en-US" b="1" i="0" u="none" strike="noStrike" kern="120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®</a:t>
            </a: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EPD  </a:t>
            </a:r>
            <a:r>
              <a:rPr lang="en-US" dirty="0">
                <a:solidFill>
                  <a:prstClr val="white"/>
                </a:solidFill>
              </a:rPr>
              <a:t>Extreme Protection Dielectric</a:t>
            </a:r>
          </a:p>
        </p:txBody>
      </p:sp>
      <p:pic>
        <p:nvPicPr>
          <p:cNvPr id="66" name="Picture 10">
            <a:extLst>
              <a:ext uri="{FF2B5EF4-FFF2-40B4-BE49-F238E27FC236}">
                <a16:creationId xmlns:a16="http://schemas.microsoft.com/office/drawing/2014/main" id="{89CD5DEF-9B93-4FBF-8DAD-E27229E6E10A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9015" y="4769362"/>
            <a:ext cx="1640334" cy="640482"/>
          </a:xfrm>
          <a:prstGeom prst="rect">
            <a:avLst/>
          </a:prstGeom>
        </p:spPr>
      </p:pic>
      <p:sp>
        <p:nvSpPr>
          <p:cNvPr id="52" name="Freeform 51">
            <a:extLst>
              <a:ext uri="{FF2B5EF4-FFF2-40B4-BE49-F238E27FC236}">
                <a16:creationId xmlns:a16="http://schemas.microsoft.com/office/drawing/2014/main" id="{C48720A7-5E06-A94D-B0A4-31D6FBB1C44F}"/>
              </a:ext>
            </a:extLst>
          </p:cNvPr>
          <p:cNvSpPr/>
          <p:nvPr/>
        </p:nvSpPr>
        <p:spPr>
          <a:xfrm rot="10800000">
            <a:off x="7307714" y="4767867"/>
            <a:ext cx="3711684" cy="643471"/>
          </a:xfrm>
          <a:custGeom>
            <a:avLst/>
            <a:gdLst>
              <a:gd name="connsiteX0" fmla="*/ 0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0 w 2676588"/>
              <a:gd name="connsiteY4" fmla="*/ 0 h 363338"/>
              <a:gd name="connsiteX0" fmla="*/ 888545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888545 w 2676588"/>
              <a:gd name="connsiteY4" fmla="*/ 0 h 363338"/>
              <a:gd name="connsiteX0" fmla="*/ 0 w 1788043"/>
              <a:gd name="connsiteY0" fmla="*/ 0 h 363338"/>
              <a:gd name="connsiteX1" fmla="*/ 1788043 w 1788043"/>
              <a:gd name="connsiteY1" fmla="*/ 0 h 363338"/>
              <a:gd name="connsiteX2" fmla="*/ 1600319 w 1788043"/>
              <a:gd name="connsiteY2" fmla="*/ 363338 h 363338"/>
              <a:gd name="connsiteX3" fmla="*/ 0 w 1788043"/>
              <a:gd name="connsiteY3" fmla="*/ 363338 h 363338"/>
              <a:gd name="connsiteX4" fmla="*/ 0 w 1788043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138221 w 1926264"/>
              <a:gd name="connsiteY3" fmla="*/ 363338 h 363338"/>
              <a:gd name="connsiteX4" fmla="*/ 0 w 1926264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6284 w 1926264"/>
              <a:gd name="connsiteY3" fmla="*/ 363338 h 363338"/>
              <a:gd name="connsiteX4" fmla="*/ 0 w 1926264"/>
              <a:gd name="connsiteY4" fmla="*/ 0 h 363338"/>
              <a:gd name="connsiteX0" fmla="*/ 43978 w 1970242"/>
              <a:gd name="connsiteY0" fmla="*/ 0 h 363338"/>
              <a:gd name="connsiteX1" fmla="*/ 1970242 w 1970242"/>
              <a:gd name="connsiteY1" fmla="*/ 0 h 363338"/>
              <a:gd name="connsiteX2" fmla="*/ 1782518 w 1970242"/>
              <a:gd name="connsiteY2" fmla="*/ 363338 h 363338"/>
              <a:gd name="connsiteX3" fmla="*/ 0 w 1970242"/>
              <a:gd name="connsiteY3" fmla="*/ 363338 h 363338"/>
              <a:gd name="connsiteX4" fmla="*/ 43978 w 1970242"/>
              <a:gd name="connsiteY4" fmla="*/ 0 h 363338"/>
              <a:gd name="connsiteX0" fmla="*/ 0 w 1926264"/>
              <a:gd name="connsiteY0" fmla="*/ 0 h 369620"/>
              <a:gd name="connsiteX1" fmla="*/ 1926264 w 1926264"/>
              <a:gd name="connsiteY1" fmla="*/ 0 h 369620"/>
              <a:gd name="connsiteX2" fmla="*/ 1738540 w 1926264"/>
              <a:gd name="connsiteY2" fmla="*/ 363338 h 369620"/>
              <a:gd name="connsiteX3" fmla="*/ 6284 w 1926264"/>
              <a:gd name="connsiteY3" fmla="*/ 369620 h 369620"/>
              <a:gd name="connsiteX4" fmla="*/ 0 w 1926264"/>
              <a:gd name="connsiteY4" fmla="*/ 0 h 369620"/>
              <a:gd name="connsiteX0" fmla="*/ 6281 w 1932545"/>
              <a:gd name="connsiteY0" fmla="*/ 0 h 369620"/>
              <a:gd name="connsiteX1" fmla="*/ 1932545 w 1932545"/>
              <a:gd name="connsiteY1" fmla="*/ 0 h 369620"/>
              <a:gd name="connsiteX2" fmla="*/ 1744821 w 1932545"/>
              <a:gd name="connsiteY2" fmla="*/ 363338 h 369620"/>
              <a:gd name="connsiteX3" fmla="*/ 0 w 1932545"/>
              <a:gd name="connsiteY3" fmla="*/ 369620 h 369620"/>
              <a:gd name="connsiteX4" fmla="*/ 6281 w 1932545"/>
              <a:gd name="connsiteY4" fmla="*/ 0 h 369620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25132 w 1926264"/>
              <a:gd name="connsiteY3" fmla="*/ 357055 h 363338"/>
              <a:gd name="connsiteX4" fmla="*/ 0 w 1926264"/>
              <a:gd name="connsiteY4" fmla="*/ 0 h 363338"/>
              <a:gd name="connsiteX0" fmla="*/ 12564 w 1938828"/>
              <a:gd name="connsiteY0" fmla="*/ 0 h 363338"/>
              <a:gd name="connsiteX1" fmla="*/ 1938828 w 1938828"/>
              <a:gd name="connsiteY1" fmla="*/ 0 h 363338"/>
              <a:gd name="connsiteX2" fmla="*/ 1751104 w 1938828"/>
              <a:gd name="connsiteY2" fmla="*/ 363338 h 363338"/>
              <a:gd name="connsiteX3" fmla="*/ 0 w 1938828"/>
              <a:gd name="connsiteY3" fmla="*/ 363338 h 363338"/>
              <a:gd name="connsiteX4" fmla="*/ 12564 w 1938828"/>
              <a:gd name="connsiteY4" fmla="*/ 0 h 363338"/>
              <a:gd name="connsiteX0" fmla="*/ 0 w 1926264"/>
              <a:gd name="connsiteY0" fmla="*/ 0 h 369621"/>
              <a:gd name="connsiteX1" fmla="*/ 1926264 w 1926264"/>
              <a:gd name="connsiteY1" fmla="*/ 0 h 369621"/>
              <a:gd name="connsiteX2" fmla="*/ 1738540 w 1926264"/>
              <a:gd name="connsiteY2" fmla="*/ 363338 h 369621"/>
              <a:gd name="connsiteX3" fmla="*/ 6284 w 1926264"/>
              <a:gd name="connsiteY3" fmla="*/ 369621 h 369621"/>
              <a:gd name="connsiteX4" fmla="*/ 0 w 1926264"/>
              <a:gd name="connsiteY4" fmla="*/ 0 h 369621"/>
              <a:gd name="connsiteX0" fmla="*/ 43978 w 1970242"/>
              <a:gd name="connsiteY0" fmla="*/ 0 h 363339"/>
              <a:gd name="connsiteX1" fmla="*/ 1970242 w 1970242"/>
              <a:gd name="connsiteY1" fmla="*/ 0 h 363339"/>
              <a:gd name="connsiteX2" fmla="*/ 1782518 w 1970242"/>
              <a:gd name="connsiteY2" fmla="*/ 363338 h 363339"/>
              <a:gd name="connsiteX3" fmla="*/ 0 w 1970242"/>
              <a:gd name="connsiteY3" fmla="*/ 363339 h 363339"/>
              <a:gd name="connsiteX4" fmla="*/ 43978 w 1970242"/>
              <a:gd name="connsiteY4" fmla="*/ 0 h 363339"/>
              <a:gd name="connsiteX0" fmla="*/ 0 w 1926264"/>
              <a:gd name="connsiteY0" fmla="*/ 0 h 363339"/>
              <a:gd name="connsiteX1" fmla="*/ 1926264 w 1926264"/>
              <a:gd name="connsiteY1" fmla="*/ 0 h 363339"/>
              <a:gd name="connsiteX2" fmla="*/ 1738540 w 1926264"/>
              <a:gd name="connsiteY2" fmla="*/ 363338 h 363339"/>
              <a:gd name="connsiteX3" fmla="*/ 1 w 1926264"/>
              <a:gd name="connsiteY3" fmla="*/ 363339 h 363339"/>
              <a:gd name="connsiteX4" fmla="*/ 0 w 1926264"/>
              <a:gd name="connsiteY4" fmla="*/ 0 h 3633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6264" h="363339">
                <a:moveTo>
                  <a:pt x="0" y="0"/>
                </a:moveTo>
                <a:lnTo>
                  <a:pt x="1926264" y="0"/>
                </a:lnTo>
                <a:lnTo>
                  <a:pt x="1738540" y="363338"/>
                </a:lnTo>
                <a:lnTo>
                  <a:pt x="1" y="363339"/>
                </a:lnTo>
                <a:cubicBezTo>
                  <a:pt x="1" y="242226"/>
                  <a:pt x="0" y="121113"/>
                  <a:pt x="0" y="0"/>
                </a:cubicBezTo>
                <a:close/>
              </a:path>
            </a:pathLst>
          </a:custGeom>
          <a:solidFill>
            <a:schemeClr val="bg2">
              <a:lumMod val="85000"/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Rectangle 34">
            <a:extLst>
              <a:ext uri="{FF2B5EF4-FFF2-40B4-BE49-F238E27FC236}">
                <a16:creationId xmlns:a16="http://schemas.microsoft.com/office/drawing/2014/main" id="{9AD1EBBE-D458-AB48-94B3-F05EAF70E5AB}"/>
              </a:ext>
            </a:extLst>
          </p:cNvPr>
          <p:cNvSpPr/>
          <p:nvPr/>
        </p:nvSpPr>
        <p:spPr>
          <a:xfrm>
            <a:off x="8613876" y="4904937"/>
            <a:ext cx="3200944" cy="369332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>
              <a:defRPr/>
            </a:pPr>
            <a:r>
              <a:rPr lang="en-US" dirty="0">
                <a:solidFill>
                  <a:schemeClr val="bg2">
                    <a:lumMod val="85000"/>
                  </a:schemeClr>
                </a:solidFill>
              </a:rPr>
              <a:t>Durability</a:t>
            </a:r>
          </a:p>
        </p:txBody>
      </p:sp>
      <p:sp>
        <p:nvSpPr>
          <p:cNvPr id="54" name="Freeform 53">
            <a:extLst>
              <a:ext uri="{FF2B5EF4-FFF2-40B4-BE49-F238E27FC236}">
                <a16:creationId xmlns:a16="http://schemas.microsoft.com/office/drawing/2014/main" id="{FEC45C5A-B610-404A-AFF6-4670ABE6C21E}"/>
              </a:ext>
            </a:extLst>
          </p:cNvPr>
          <p:cNvSpPr/>
          <p:nvPr/>
        </p:nvSpPr>
        <p:spPr>
          <a:xfrm>
            <a:off x="1989348" y="4767578"/>
            <a:ext cx="6568898" cy="644051"/>
          </a:xfrm>
          <a:custGeom>
            <a:avLst/>
            <a:gdLst>
              <a:gd name="connsiteX0" fmla="*/ 0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0 w 2676588"/>
              <a:gd name="connsiteY4" fmla="*/ 0 h 363338"/>
              <a:gd name="connsiteX0" fmla="*/ 888545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888545 w 2676588"/>
              <a:gd name="connsiteY4" fmla="*/ 0 h 363338"/>
              <a:gd name="connsiteX0" fmla="*/ 0 w 1788043"/>
              <a:gd name="connsiteY0" fmla="*/ 0 h 363338"/>
              <a:gd name="connsiteX1" fmla="*/ 1788043 w 1788043"/>
              <a:gd name="connsiteY1" fmla="*/ 0 h 363338"/>
              <a:gd name="connsiteX2" fmla="*/ 1600319 w 1788043"/>
              <a:gd name="connsiteY2" fmla="*/ 363338 h 363338"/>
              <a:gd name="connsiteX3" fmla="*/ 0 w 1788043"/>
              <a:gd name="connsiteY3" fmla="*/ 363338 h 363338"/>
              <a:gd name="connsiteX4" fmla="*/ 0 w 1788043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138221 w 1926264"/>
              <a:gd name="connsiteY3" fmla="*/ 363338 h 363338"/>
              <a:gd name="connsiteX4" fmla="*/ 0 w 1926264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6284 w 1926264"/>
              <a:gd name="connsiteY3" fmla="*/ 363338 h 363338"/>
              <a:gd name="connsiteX4" fmla="*/ 0 w 1926264"/>
              <a:gd name="connsiteY4" fmla="*/ 0 h 363338"/>
              <a:gd name="connsiteX0" fmla="*/ 43978 w 1970242"/>
              <a:gd name="connsiteY0" fmla="*/ 0 h 363338"/>
              <a:gd name="connsiteX1" fmla="*/ 1970242 w 1970242"/>
              <a:gd name="connsiteY1" fmla="*/ 0 h 363338"/>
              <a:gd name="connsiteX2" fmla="*/ 1782518 w 1970242"/>
              <a:gd name="connsiteY2" fmla="*/ 363338 h 363338"/>
              <a:gd name="connsiteX3" fmla="*/ 0 w 1970242"/>
              <a:gd name="connsiteY3" fmla="*/ 363338 h 363338"/>
              <a:gd name="connsiteX4" fmla="*/ 43978 w 1970242"/>
              <a:gd name="connsiteY4" fmla="*/ 0 h 363338"/>
              <a:gd name="connsiteX0" fmla="*/ 0 w 1926264"/>
              <a:gd name="connsiteY0" fmla="*/ 0 h 369620"/>
              <a:gd name="connsiteX1" fmla="*/ 1926264 w 1926264"/>
              <a:gd name="connsiteY1" fmla="*/ 0 h 369620"/>
              <a:gd name="connsiteX2" fmla="*/ 1738540 w 1926264"/>
              <a:gd name="connsiteY2" fmla="*/ 363338 h 369620"/>
              <a:gd name="connsiteX3" fmla="*/ 6284 w 1926264"/>
              <a:gd name="connsiteY3" fmla="*/ 369620 h 369620"/>
              <a:gd name="connsiteX4" fmla="*/ 0 w 1926264"/>
              <a:gd name="connsiteY4" fmla="*/ 0 h 369620"/>
              <a:gd name="connsiteX0" fmla="*/ 6281 w 1932545"/>
              <a:gd name="connsiteY0" fmla="*/ 0 h 369620"/>
              <a:gd name="connsiteX1" fmla="*/ 1932545 w 1932545"/>
              <a:gd name="connsiteY1" fmla="*/ 0 h 369620"/>
              <a:gd name="connsiteX2" fmla="*/ 1744821 w 1932545"/>
              <a:gd name="connsiteY2" fmla="*/ 363338 h 369620"/>
              <a:gd name="connsiteX3" fmla="*/ 0 w 1932545"/>
              <a:gd name="connsiteY3" fmla="*/ 369620 h 369620"/>
              <a:gd name="connsiteX4" fmla="*/ 6281 w 1932545"/>
              <a:gd name="connsiteY4" fmla="*/ 0 h 369620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25132 w 1926264"/>
              <a:gd name="connsiteY3" fmla="*/ 357055 h 363338"/>
              <a:gd name="connsiteX4" fmla="*/ 0 w 1926264"/>
              <a:gd name="connsiteY4" fmla="*/ 0 h 363338"/>
              <a:gd name="connsiteX0" fmla="*/ 12564 w 1938828"/>
              <a:gd name="connsiteY0" fmla="*/ 0 h 363338"/>
              <a:gd name="connsiteX1" fmla="*/ 1938828 w 1938828"/>
              <a:gd name="connsiteY1" fmla="*/ 0 h 363338"/>
              <a:gd name="connsiteX2" fmla="*/ 1751104 w 1938828"/>
              <a:gd name="connsiteY2" fmla="*/ 363338 h 363338"/>
              <a:gd name="connsiteX3" fmla="*/ 0 w 1938828"/>
              <a:gd name="connsiteY3" fmla="*/ 363338 h 363338"/>
              <a:gd name="connsiteX4" fmla="*/ 12564 w 1938828"/>
              <a:gd name="connsiteY4" fmla="*/ 0 h 363338"/>
              <a:gd name="connsiteX0" fmla="*/ 0 w 1926264"/>
              <a:gd name="connsiteY0" fmla="*/ 0 h 369621"/>
              <a:gd name="connsiteX1" fmla="*/ 1926264 w 1926264"/>
              <a:gd name="connsiteY1" fmla="*/ 0 h 369621"/>
              <a:gd name="connsiteX2" fmla="*/ 1738540 w 1926264"/>
              <a:gd name="connsiteY2" fmla="*/ 363338 h 369621"/>
              <a:gd name="connsiteX3" fmla="*/ 6284 w 1926264"/>
              <a:gd name="connsiteY3" fmla="*/ 369621 h 369621"/>
              <a:gd name="connsiteX4" fmla="*/ 0 w 1926264"/>
              <a:gd name="connsiteY4" fmla="*/ 0 h 369621"/>
              <a:gd name="connsiteX0" fmla="*/ 43978 w 1970242"/>
              <a:gd name="connsiteY0" fmla="*/ 0 h 363339"/>
              <a:gd name="connsiteX1" fmla="*/ 1970242 w 1970242"/>
              <a:gd name="connsiteY1" fmla="*/ 0 h 363339"/>
              <a:gd name="connsiteX2" fmla="*/ 1782518 w 1970242"/>
              <a:gd name="connsiteY2" fmla="*/ 363338 h 363339"/>
              <a:gd name="connsiteX3" fmla="*/ 0 w 1970242"/>
              <a:gd name="connsiteY3" fmla="*/ 363339 h 363339"/>
              <a:gd name="connsiteX4" fmla="*/ 43978 w 1970242"/>
              <a:gd name="connsiteY4" fmla="*/ 0 h 363339"/>
              <a:gd name="connsiteX0" fmla="*/ 0 w 1926264"/>
              <a:gd name="connsiteY0" fmla="*/ 0 h 363339"/>
              <a:gd name="connsiteX1" fmla="*/ 1926264 w 1926264"/>
              <a:gd name="connsiteY1" fmla="*/ 0 h 363339"/>
              <a:gd name="connsiteX2" fmla="*/ 1738540 w 1926264"/>
              <a:gd name="connsiteY2" fmla="*/ 363338 h 363339"/>
              <a:gd name="connsiteX3" fmla="*/ 1 w 1926264"/>
              <a:gd name="connsiteY3" fmla="*/ 363339 h 363339"/>
              <a:gd name="connsiteX4" fmla="*/ 0 w 1926264"/>
              <a:gd name="connsiteY4" fmla="*/ 0 h 363339"/>
              <a:gd name="connsiteX0" fmla="*/ 0 w 3440015"/>
              <a:gd name="connsiteY0" fmla="*/ 0 h 363339"/>
              <a:gd name="connsiteX1" fmla="*/ 3440015 w 3440015"/>
              <a:gd name="connsiteY1" fmla="*/ 0 h 363339"/>
              <a:gd name="connsiteX2" fmla="*/ 3252291 w 3440015"/>
              <a:gd name="connsiteY2" fmla="*/ 363338 h 363339"/>
              <a:gd name="connsiteX3" fmla="*/ 1513752 w 3440015"/>
              <a:gd name="connsiteY3" fmla="*/ 363339 h 363339"/>
              <a:gd name="connsiteX4" fmla="*/ 0 w 3440015"/>
              <a:gd name="connsiteY4" fmla="*/ 0 h 363339"/>
              <a:gd name="connsiteX0" fmla="*/ 0 w 3440015"/>
              <a:gd name="connsiteY0" fmla="*/ 0 h 363339"/>
              <a:gd name="connsiteX1" fmla="*/ 3440015 w 3440015"/>
              <a:gd name="connsiteY1" fmla="*/ 0 h 363339"/>
              <a:gd name="connsiteX2" fmla="*/ 3252291 w 3440015"/>
              <a:gd name="connsiteY2" fmla="*/ 363338 h 363339"/>
              <a:gd name="connsiteX3" fmla="*/ 1 w 3440015"/>
              <a:gd name="connsiteY3" fmla="*/ 363339 h 363339"/>
              <a:gd name="connsiteX4" fmla="*/ 0 w 3440015"/>
              <a:gd name="connsiteY4" fmla="*/ 0 h 363339"/>
              <a:gd name="connsiteX0" fmla="*/ 0 w 3440015"/>
              <a:gd name="connsiteY0" fmla="*/ 0 h 363339"/>
              <a:gd name="connsiteX1" fmla="*/ 3440015 w 3440015"/>
              <a:gd name="connsiteY1" fmla="*/ 0 h 363339"/>
              <a:gd name="connsiteX2" fmla="*/ 3252291 w 3440015"/>
              <a:gd name="connsiteY2" fmla="*/ 363338 h 363339"/>
              <a:gd name="connsiteX3" fmla="*/ 192223 w 3440015"/>
              <a:gd name="connsiteY3" fmla="*/ 363339 h 363339"/>
              <a:gd name="connsiteX4" fmla="*/ 0 w 3440015"/>
              <a:gd name="connsiteY4" fmla="*/ 0 h 363339"/>
              <a:gd name="connsiteX0" fmla="*/ 0 w 3247793"/>
              <a:gd name="connsiteY0" fmla="*/ 0 h 363339"/>
              <a:gd name="connsiteX1" fmla="*/ 3247793 w 3247793"/>
              <a:gd name="connsiteY1" fmla="*/ 0 h 363339"/>
              <a:gd name="connsiteX2" fmla="*/ 3060069 w 3247793"/>
              <a:gd name="connsiteY2" fmla="*/ 363338 h 363339"/>
              <a:gd name="connsiteX3" fmla="*/ 1 w 3247793"/>
              <a:gd name="connsiteY3" fmla="*/ 363339 h 363339"/>
              <a:gd name="connsiteX4" fmla="*/ 0 w 3247793"/>
              <a:gd name="connsiteY4" fmla="*/ 0 h 363339"/>
              <a:gd name="connsiteX0" fmla="*/ 0 w 3247793"/>
              <a:gd name="connsiteY0" fmla="*/ 0 h 367713"/>
              <a:gd name="connsiteX1" fmla="*/ 3247793 w 3247793"/>
              <a:gd name="connsiteY1" fmla="*/ 0 h 367713"/>
              <a:gd name="connsiteX2" fmla="*/ 3060069 w 3247793"/>
              <a:gd name="connsiteY2" fmla="*/ 367713 h 367713"/>
              <a:gd name="connsiteX3" fmla="*/ 1 w 3247793"/>
              <a:gd name="connsiteY3" fmla="*/ 363339 h 367713"/>
              <a:gd name="connsiteX4" fmla="*/ 0 w 3247793"/>
              <a:gd name="connsiteY4" fmla="*/ 0 h 367713"/>
              <a:gd name="connsiteX0" fmla="*/ 3567 w 3251360"/>
              <a:gd name="connsiteY0" fmla="*/ 0 h 398667"/>
              <a:gd name="connsiteX1" fmla="*/ 3251360 w 3251360"/>
              <a:gd name="connsiteY1" fmla="*/ 0 h 398667"/>
              <a:gd name="connsiteX2" fmla="*/ 3063636 w 3251360"/>
              <a:gd name="connsiteY2" fmla="*/ 367713 h 398667"/>
              <a:gd name="connsiteX3" fmla="*/ 0 w 3251360"/>
              <a:gd name="connsiteY3" fmla="*/ 398667 h 398667"/>
              <a:gd name="connsiteX4" fmla="*/ 3567 w 3251360"/>
              <a:gd name="connsiteY4" fmla="*/ 0 h 398667"/>
              <a:gd name="connsiteX0" fmla="*/ 3567 w 3251360"/>
              <a:gd name="connsiteY0" fmla="*/ 0 h 367713"/>
              <a:gd name="connsiteX1" fmla="*/ 3251360 w 3251360"/>
              <a:gd name="connsiteY1" fmla="*/ 0 h 367713"/>
              <a:gd name="connsiteX2" fmla="*/ 3063636 w 3251360"/>
              <a:gd name="connsiteY2" fmla="*/ 367713 h 367713"/>
              <a:gd name="connsiteX3" fmla="*/ 0 w 3251360"/>
              <a:gd name="connsiteY3" fmla="*/ 367264 h 367713"/>
              <a:gd name="connsiteX4" fmla="*/ 3567 w 3251360"/>
              <a:gd name="connsiteY4" fmla="*/ 0 h 367713"/>
              <a:gd name="connsiteX0" fmla="*/ 0 w 3247793"/>
              <a:gd name="connsiteY0" fmla="*/ 0 h 367713"/>
              <a:gd name="connsiteX1" fmla="*/ 3247793 w 3247793"/>
              <a:gd name="connsiteY1" fmla="*/ 0 h 367713"/>
              <a:gd name="connsiteX2" fmla="*/ 3060069 w 3247793"/>
              <a:gd name="connsiteY2" fmla="*/ 367713 h 367713"/>
              <a:gd name="connsiteX3" fmla="*/ 1 w 3247793"/>
              <a:gd name="connsiteY3" fmla="*/ 367264 h 367713"/>
              <a:gd name="connsiteX4" fmla="*/ 0 w 3247793"/>
              <a:gd name="connsiteY4" fmla="*/ 0 h 367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47793" h="367713">
                <a:moveTo>
                  <a:pt x="0" y="0"/>
                </a:moveTo>
                <a:lnTo>
                  <a:pt x="3247793" y="0"/>
                </a:lnTo>
                <a:lnTo>
                  <a:pt x="3060069" y="367713"/>
                </a:lnTo>
                <a:lnTo>
                  <a:pt x="1" y="367264"/>
                </a:lnTo>
                <a:cubicBezTo>
                  <a:pt x="1" y="246151"/>
                  <a:pt x="0" y="121113"/>
                  <a:pt x="0" y="0"/>
                </a:cubicBezTo>
                <a:close/>
              </a:path>
            </a:pathLst>
          </a:cu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29">
            <a:extLst>
              <a:ext uri="{FF2B5EF4-FFF2-40B4-BE49-F238E27FC236}">
                <a16:creationId xmlns:a16="http://schemas.microsoft.com/office/drawing/2014/main" id="{03CB55D6-803A-0242-B8E9-4EDE49C485BF}"/>
              </a:ext>
            </a:extLst>
          </p:cNvPr>
          <p:cNvSpPr/>
          <p:nvPr/>
        </p:nvSpPr>
        <p:spPr>
          <a:xfrm>
            <a:off x="1995238" y="4904937"/>
            <a:ext cx="575656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b="1" dirty="0">
                <a:solidFill>
                  <a:prstClr val="white"/>
                </a:solidFill>
              </a:rPr>
              <a:t>CORAFLON</a:t>
            </a:r>
            <a:r>
              <a:rPr kumimoji="0" lang="en-US" b="1" i="0" u="none" strike="noStrike" kern="120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®</a:t>
            </a:r>
            <a:r>
              <a:rPr lang="en-US" b="1" dirty="0">
                <a:solidFill>
                  <a:prstClr val="white"/>
                </a:solidFill>
              </a:rPr>
              <a:t> Platinum  </a:t>
            </a:r>
            <a:r>
              <a:rPr lang="en-US" dirty="0">
                <a:solidFill>
                  <a:prstClr val="white"/>
                </a:solidFill>
              </a:rPr>
              <a:t>Hyper Durable</a:t>
            </a:r>
          </a:p>
        </p:txBody>
      </p:sp>
      <p:sp>
        <p:nvSpPr>
          <p:cNvPr id="56" name="Slide Number Placeholder 2">
            <a:extLst>
              <a:ext uri="{FF2B5EF4-FFF2-40B4-BE49-F238E27FC236}">
                <a16:creationId xmlns:a16="http://schemas.microsoft.com/office/drawing/2014/main" id="{3D22FF41-A204-7C4D-975A-73CCCE20BD53}"/>
              </a:ext>
            </a:extLst>
          </p:cNvPr>
          <p:cNvSpPr txBox="1">
            <a:spLocks/>
          </p:cNvSpPr>
          <p:nvPr/>
        </p:nvSpPr>
        <p:spPr>
          <a:xfrm>
            <a:off x="308056" y="6496407"/>
            <a:ext cx="455756" cy="17222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chemeClr val="tx2"/>
                </a:solidFill>
                <a:latin typeface="+mn-lt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666666"/>
                </a:solidFill>
                <a:latin typeface="Arial" panose="020B0604020202020204"/>
              </a:rPr>
              <a:t>13</a:t>
            </a:r>
          </a:p>
        </p:txBody>
      </p:sp>
      <p:sp>
        <p:nvSpPr>
          <p:cNvPr id="57" name="Footer Placeholder 1">
            <a:extLst>
              <a:ext uri="{FF2B5EF4-FFF2-40B4-BE49-F238E27FC236}">
                <a16:creationId xmlns:a16="http://schemas.microsoft.com/office/drawing/2014/main" id="{CBBA1702-1927-2046-B853-4B2B33E5AA03}"/>
              </a:ext>
            </a:extLst>
          </p:cNvPr>
          <p:cNvSpPr txBox="1">
            <a:spLocks/>
          </p:cNvSpPr>
          <p:nvPr/>
        </p:nvSpPr>
        <p:spPr>
          <a:xfrm>
            <a:off x="763811" y="6496407"/>
            <a:ext cx="9460550" cy="17222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chemeClr val="tx2"/>
                </a:solidFill>
                <a:latin typeface="+mn-lt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666666"/>
                </a:solidFill>
                <a:latin typeface="Arial" panose="020B0604020202020204"/>
              </a:rPr>
              <a:t>Powder Coatings from PPG ©2023 PPG Industries, Inc. All rights reserved</a:t>
            </a:r>
          </a:p>
        </p:txBody>
      </p:sp>
      <p:pic>
        <p:nvPicPr>
          <p:cNvPr id="68" name="Picture 2" descr="https://files.constantcontact.com/6f7071db201/a223a3fc-88d4-401e-b6d3-bc1777c371c7.png">
            <a:extLst>
              <a:ext uri="{FF2B5EF4-FFF2-40B4-BE49-F238E27FC236}">
                <a16:creationId xmlns:a16="http://schemas.microsoft.com/office/drawing/2014/main" id="{78B9BD72-2950-4E67-84D7-547438D4B85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link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500" b="19499"/>
          <a:stretch>
            <a:fillRect/>
          </a:stretch>
        </p:blipFill>
        <p:spPr bwMode="auto">
          <a:xfrm>
            <a:off x="350095" y="5525646"/>
            <a:ext cx="1639253" cy="6404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8" name="Freeform 57">
            <a:extLst>
              <a:ext uri="{FF2B5EF4-FFF2-40B4-BE49-F238E27FC236}">
                <a16:creationId xmlns:a16="http://schemas.microsoft.com/office/drawing/2014/main" id="{50671C1F-288D-8544-846E-93987CE7754C}"/>
              </a:ext>
            </a:extLst>
          </p:cNvPr>
          <p:cNvSpPr/>
          <p:nvPr/>
        </p:nvSpPr>
        <p:spPr>
          <a:xfrm rot="10800000">
            <a:off x="7307714" y="5524151"/>
            <a:ext cx="3711684" cy="643471"/>
          </a:xfrm>
          <a:custGeom>
            <a:avLst/>
            <a:gdLst>
              <a:gd name="connsiteX0" fmla="*/ 0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0 w 2676588"/>
              <a:gd name="connsiteY4" fmla="*/ 0 h 363338"/>
              <a:gd name="connsiteX0" fmla="*/ 888545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888545 w 2676588"/>
              <a:gd name="connsiteY4" fmla="*/ 0 h 363338"/>
              <a:gd name="connsiteX0" fmla="*/ 0 w 1788043"/>
              <a:gd name="connsiteY0" fmla="*/ 0 h 363338"/>
              <a:gd name="connsiteX1" fmla="*/ 1788043 w 1788043"/>
              <a:gd name="connsiteY1" fmla="*/ 0 h 363338"/>
              <a:gd name="connsiteX2" fmla="*/ 1600319 w 1788043"/>
              <a:gd name="connsiteY2" fmla="*/ 363338 h 363338"/>
              <a:gd name="connsiteX3" fmla="*/ 0 w 1788043"/>
              <a:gd name="connsiteY3" fmla="*/ 363338 h 363338"/>
              <a:gd name="connsiteX4" fmla="*/ 0 w 1788043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138221 w 1926264"/>
              <a:gd name="connsiteY3" fmla="*/ 363338 h 363338"/>
              <a:gd name="connsiteX4" fmla="*/ 0 w 1926264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6284 w 1926264"/>
              <a:gd name="connsiteY3" fmla="*/ 363338 h 363338"/>
              <a:gd name="connsiteX4" fmla="*/ 0 w 1926264"/>
              <a:gd name="connsiteY4" fmla="*/ 0 h 363338"/>
              <a:gd name="connsiteX0" fmla="*/ 43978 w 1970242"/>
              <a:gd name="connsiteY0" fmla="*/ 0 h 363338"/>
              <a:gd name="connsiteX1" fmla="*/ 1970242 w 1970242"/>
              <a:gd name="connsiteY1" fmla="*/ 0 h 363338"/>
              <a:gd name="connsiteX2" fmla="*/ 1782518 w 1970242"/>
              <a:gd name="connsiteY2" fmla="*/ 363338 h 363338"/>
              <a:gd name="connsiteX3" fmla="*/ 0 w 1970242"/>
              <a:gd name="connsiteY3" fmla="*/ 363338 h 363338"/>
              <a:gd name="connsiteX4" fmla="*/ 43978 w 1970242"/>
              <a:gd name="connsiteY4" fmla="*/ 0 h 363338"/>
              <a:gd name="connsiteX0" fmla="*/ 0 w 1926264"/>
              <a:gd name="connsiteY0" fmla="*/ 0 h 369620"/>
              <a:gd name="connsiteX1" fmla="*/ 1926264 w 1926264"/>
              <a:gd name="connsiteY1" fmla="*/ 0 h 369620"/>
              <a:gd name="connsiteX2" fmla="*/ 1738540 w 1926264"/>
              <a:gd name="connsiteY2" fmla="*/ 363338 h 369620"/>
              <a:gd name="connsiteX3" fmla="*/ 6284 w 1926264"/>
              <a:gd name="connsiteY3" fmla="*/ 369620 h 369620"/>
              <a:gd name="connsiteX4" fmla="*/ 0 w 1926264"/>
              <a:gd name="connsiteY4" fmla="*/ 0 h 369620"/>
              <a:gd name="connsiteX0" fmla="*/ 6281 w 1932545"/>
              <a:gd name="connsiteY0" fmla="*/ 0 h 369620"/>
              <a:gd name="connsiteX1" fmla="*/ 1932545 w 1932545"/>
              <a:gd name="connsiteY1" fmla="*/ 0 h 369620"/>
              <a:gd name="connsiteX2" fmla="*/ 1744821 w 1932545"/>
              <a:gd name="connsiteY2" fmla="*/ 363338 h 369620"/>
              <a:gd name="connsiteX3" fmla="*/ 0 w 1932545"/>
              <a:gd name="connsiteY3" fmla="*/ 369620 h 369620"/>
              <a:gd name="connsiteX4" fmla="*/ 6281 w 1932545"/>
              <a:gd name="connsiteY4" fmla="*/ 0 h 369620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25132 w 1926264"/>
              <a:gd name="connsiteY3" fmla="*/ 357055 h 363338"/>
              <a:gd name="connsiteX4" fmla="*/ 0 w 1926264"/>
              <a:gd name="connsiteY4" fmla="*/ 0 h 363338"/>
              <a:gd name="connsiteX0" fmla="*/ 12564 w 1938828"/>
              <a:gd name="connsiteY0" fmla="*/ 0 h 363338"/>
              <a:gd name="connsiteX1" fmla="*/ 1938828 w 1938828"/>
              <a:gd name="connsiteY1" fmla="*/ 0 h 363338"/>
              <a:gd name="connsiteX2" fmla="*/ 1751104 w 1938828"/>
              <a:gd name="connsiteY2" fmla="*/ 363338 h 363338"/>
              <a:gd name="connsiteX3" fmla="*/ 0 w 1938828"/>
              <a:gd name="connsiteY3" fmla="*/ 363338 h 363338"/>
              <a:gd name="connsiteX4" fmla="*/ 12564 w 1938828"/>
              <a:gd name="connsiteY4" fmla="*/ 0 h 363338"/>
              <a:gd name="connsiteX0" fmla="*/ 0 w 1926264"/>
              <a:gd name="connsiteY0" fmla="*/ 0 h 369621"/>
              <a:gd name="connsiteX1" fmla="*/ 1926264 w 1926264"/>
              <a:gd name="connsiteY1" fmla="*/ 0 h 369621"/>
              <a:gd name="connsiteX2" fmla="*/ 1738540 w 1926264"/>
              <a:gd name="connsiteY2" fmla="*/ 363338 h 369621"/>
              <a:gd name="connsiteX3" fmla="*/ 6284 w 1926264"/>
              <a:gd name="connsiteY3" fmla="*/ 369621 h 369621"/>
              <a:gd name="connsiteX4" fmla="*/ 0 w 1926264"/>
              <a:gd name="connsiteY4" fmla="*/ 0 h 369621"/>
              <a:gd name="connsiteX0" fmla="*/ 43978 w 1970242"/>
              <a:gd name="connsiteY0" fmla="*/ 0 h 363339"/>
              <a:gd name="connsiteX1" fmla="*/ 1970242 w 1970242"/>
              <a:gd name="connsiteY1" fmla="*/ 0 h 363339"/>
              <a:gd name="connsiteX2" fmla="*/ 1782518 w 1970242"/>
              <a:gd name="connsiteY2" fmla="*/ 363338 h 363339"/>
              <a:gd name="connsiteX3" fmla="*/ 0 w 1970242"/>
              <a:gd name="connsiteY3" fmla="*/ 363339 h 363339"/>
              <a:gd name="connsiteX4" fmla="*/ 43978 w 1970242"/>
              <a:gd name="connsiteY4" fmla="*/ 0 h 363339"/>
              <a:gd name="connsiteX0" fmla="*/ 0 w 1926264"/>
              <a:gd name="connsiteY0" fmla="*/ 0 h 363339"/>
              <a:gd name="connsiteX1" fmla="*/ 1926264 w 1926264"/>
              <a:gd name="connsiteY1" fmla="*/ 0 h 363339"/>
              <a:gd name="connsiteX2" fmla="*/ 1738540 w 1926264"/>
              <a:gd name="connsiteY2" fmla="*/ 363338 h 363339"/>
              <a:gd name="connsiteX3" fmla="*/ 1 w 1926264"/>
              <a:gd name="connsiteY3" fmla="*/ 363339 h 363339"/>
              <a:gd name="connsiteX4" fmla="*/ 0 w 1926264"/>
              <a:gd name="connsiteY4" fmla="*/ 0 h 3633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6264" h="363339">
                <a:moveTo>
                  <a:pt x="0" y="0"/>
                </a:moveTo>
                <a:lnTo>
                  <a:pt x="1926264" y="0"/>
                </a:lnTo>
                <a:lnTo>
                  <a:pt x="1738540" y="363338"/>
                </a:lnTo>
                <a:lnTo>
                  <a:pt x="1" y="363339"/>
                </a:lnTo>
                <a:cubicBezTo>
                  <a:pt x="1" y="242226"/>
                  <a:pt x="0" y="121113"/>
                  <a:pt x="0" y="0"/>
                </a:cubicBezTo>
                <a:close/>
              </a:path>
            </a:pathLst>
          </a:custGeom>
          <a:solidFill>
            <a:schemeClr val="bg2">
              <a:lumMod val="85000"/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Rectangle 34">
            <a:extLst>
              <a:ext uri="{FF2B5EF4-FFF2-40B4-BE49-F238E27FC236}">
                <a16:creationId xmlns:a16="http://schemas.microsoft.com/office/drawing/2014/main" id="{DF0C3164-3194-C842-BB4A-8D22645E5E05}"/>
              </a:ext>
            </a:extLst>
          </p:cNvPr>
          <p:cNvSpPr/>
          <p:nvPr/>
        </p:nvSpPr>
        <p:spPr>
          <a:xfrm>
            <a:off x="8613876" y="5661221"/>
            <a:ext cx="3200944" cy="369332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>
              <a:defRPr/>
            </a:pPr>
            <a:r>
              <a:rPr lang="en-US" dirty="0">
                <a:solidFill>
                  <a:schemeClr val="bg2">
                    <a:lumMod val="85000"/>
                  </a:schemeClr>
                </a:solidFill>
              </a:rPr>
              <a:t>Substrate</a:t>
            </a:r>
          </a:p>
        </p:txBody>
      </p:sp>
      <p:sp>
        <p:nvSpPr>
          <p:cNvPr id="60" name="Freeform 59">
            <a:extLst>
              <a:ext uri="{FF2B5EF4-FFF2-40B4-BE49-F238E27FC236}">
                <a16:creationId xmlns:a16="http://schemas.microsoft.com/office/drawing/2014/main" id="{9C21FA9D-A5EA-434D-9948-5701A4EBA231}"/>
              </a:ext>
            </a:extLst>
          </p:cNvPr>
          <p:cNvSpPr/>
          <p:nvPr/>
        </p:nvSpPr>
        <p:spPr>
          <a:xfrm>
            <a:off x="1989348" y="5523069"/>
            <a:ext cx="6568898" cy="645637"/>
          </a:xfrm>
          <a:custGeom>
            <a:avLst/>
            <a:gdLst>
              <a:gd name="connsiteX0" fmla="*/ 0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0 w 2676588"/>
              <a:gd name="connsiteY4" fmla="*/ 0 h 363338"/>
              <a:gd name="connsiteX0" fmla="*/ 888545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888545 w 2676588"/>
              <a:gd name="connsiteY4" fmla="*/ 0 h 363338"/>
              <a:gd name="connsiteX0" fmla="*/ 0 w 1788043"/>
              <a:gd name="connsiteY0" fmla="*/ 0 h 363338"/>
              <a:gd name="connsiteX1" fmla="*/ 1788043 w 1788043"/>
              <a:gd name="connsiteY1" fmla="*/ 0 h 363338"/>
              <a:gd name="connsiteX2" fmla="*/ 1600319 w 1788043"/>
              <a:gd name="connsiteY2" fmla="*/ 363338 h 363338"/>
              <a:gd name="connsiteX3" fmla="*/ 0 w 1788043"/>
              <a:gd name="connsiteY3" fmla="*/ 363338 h 363338"/>
              <a:gd name="connsiteX4" fmla="*/ 0 w 1788043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138221 w 1926264"/>
              <a:gd name="connsiteY3" fmla="*/ 363338 h 363338"/>
              <a:gd name="connsiteX4" fmla="*/ 0 w 1926264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6284 w 1926264"/>
              <a:gd name="connsiteY3" fmla="*/ 363338 h 363338"/>
              <a:gd name="connsiteX4" fmla="*/ 0 w 1926264"/>
              <a:gd name="connsiteY4" fmla="*/ 0 h 363338"/>
              <a:gd name="connsiteX0" fmla="*/ 43978 w 1970242"/>
              <a:gd name="connsiteY0" fmla="*/ 0 h 363338"/>
              <a:gd name="connsiteX1" fmla="*/ 1970242 w 1970242"/>
              <a:gd name="connsiteY1" fmla="*/ 0 h 363338"/>
              <a:gd name="connsiteX2" fmla="*/ 1782518 w 1970242"/>
              <a:gd name="connsiteY2" fmla="*/ 363338 h 363338"/>
              <a:gd name="connsiteX3" fmla="*/ 0 w 1970242"/>
              <a:gd name="connsiteY3" fmla="*/ 363338 h 363338"/>
              <a:gd name="connsiteX4" fmla="*/ 43978 w 1970242"/>
              <a:gd name="connsiteY4" fmla="*/ 0 h 363338"/>
              <a:gd name="connsiteX0" fmla="*/ 0 w 1926264"/>
              <a:gd name="connsiteY0" fmla="*/ 0 h 369620"/>
              <a:gd name="connsiteX1" fmla="*/ 1926264 w 1926264"/>
              <a:gd name="connsiteY1" fmla="*/ 0 h 369620"/>
              <a:gd name="connsiteX2" fmla="*/ 1738540 w 1926264"/>
              <a:gd name="connsiteY2" fmla="*/ 363338 h 369620"/>
              <a:gd name="connsiteX3" fmla="*/ 6284 w 1926264"/>
              <a:gd name="connsiteY3" fmla="*/ 369620 h 369620"/>
              <a:gd name="connsiteX4" fmla="*/ 0 w 1926264"/>
              <a:gd name="connsiteY4" fmla="*/ 0 h 369620"/>
              <a:gd name="connsiteX0" fmla="*/ 6281 w 1932545"/>
              <a:gd name="connsiteY0" fmla="*/ 0 h 369620"/>
              <a:gd name="connsiteX1" fmla="*/ 1932545 w 1932545"/>
              <a:gd name="connsiteY1" fmla="*/ 0 h 369620"/>
              <a:gd name="connsiteX2" fmla="*/ 1744821 w 1932545"/>
              <a:gd name="connsiteY2" fmla="*/ 363338 h 369620"/>
              <a:gd name="connsiteX3" fmla="*/ 0 w 1932545"/>
              <a:gd name="connsiteY3" fmla="*/ 369620 h 369620"/>
              <a:gd name="connsiteX4" fmla="*/ 6281 w 1932545"/>
              <a:gd name="connsiteY4" fmla="*/ 0 h 369620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25132 w 1926264"/>
              <a:gd name="connsiteY3" fmla="*/ 357055 h 363338"/>
              <a:gd name="connsiteX4" fmla="*/ 0 w 1926264"/>
              <a:gd name="connsiteY4" fmla="*/ 0 h 363338"/>
              <a:gd name="connsiteX0" fmla="*/ 12564 w 1938828"/>
              <a:gd name="connsiteY0" fmla="*/ 0 h 363338"/>
              <a:gd name="connsiteX1" fmla="*/ 1938828 w 1938828"/>
              <a:gd name="connsiteY1" fmla="*/ 0 h 363338"/>
              <a:gd name="connsiteX2" fmla="*/ 1751104 w 1938828"/>
              <a:gd name="connsiteY2" fmla="*/ 363338 h 363338"/>
              <a:gd name="connsiteX3" fmla="*/ 0 w 1938828"/>
              <a:gd name="connsiteY3" fmla="*/ 363338 h 363338"/>
              <a:gd name="connsiteX4" fmla="*/ 12564 w 1938828"/>
              <a:gd name="connsiteY4" fmla="*/ 0 h 363338"/>
              <a:gd name="connsiteX0" fmla="*/ 0 w 1926264"/>
              <a:gd name="connsiteY0" fmla="*/ 0 h 369621"/>
              <a:gd name="connsiteX1" fmla="*/ 1926264 w 1926264"/>
              <a:gd name="connsiteY1" fmla="*/ 0 h 369621"/>
              <a:gd name="connsiteX2" fmla="*/ 1738540 w 1926264"/>
              <a:gd name="connsiteY2" fmla="*/ 363338 h 369621"/>
              <a:gd name="connsiteX3" fmla="*/ 6284 w 1926264"/>
              <a:gd name="connsiteY3" fmla="*/ 369621 h 369621"/>
              <a:gd name="connsiteX4" fmla="*/ 0 w 1926264"/>
              <a:gd name="connsiteY4" fmla="*/ 0 h 369621"/>
              <a:gd name="connsiteX0" fmla="*/ 43978 w 1970242"/>
              <a:gd name="connsiteY0" fmla="*/ 0 h 363339"/>
              <a:gd name="connsiteX1" fmla="*/ 1970242 w 1970242"/>
              <a:gd name="connsiteY1" fmla="*/ 0 h 363339"/>
              <a:gd name="connsiteX2" fmla="*/ 1782518 w 1970242"/>
              <a:gd name="connsiteY2" fmla="*/ 363338 h 363339"/>
              <a:gd name="connsiteX3" fmla="*/ 0 w 1970242"/>
              <a:gd name="connsiteY3" fmla="*/ 363339 h 363339"/>
              <a:gd name="connsiteX4" fmla="*/ 43978 w 1970242"/>
              <a:gd name="connsiteY4" fmla="*/ 0 h 363339"/>
              <a:gd name="connsiteX0" fmla="*/ 0 w 1926264"/>
              <a:gd name="connsiteY0" fmla="*/ 0 h 363339"/>
              <a:gd name="connsiteX1" fmla="*/ 1926264 w 1926264"/>
              <a:gd name="connsiteY1" fmla="*/ 0 h 363339"/>
              <a:gd name="connsiteX2" fmla="*/ 1738540 w 1926264"/>
              <a:gd name="connsiteY2" fmla="*/ 363338 h 363339"/>
              <a:gd name="connsiteX3" fmla="*/ 1 w 1926264"/>
              <a:gd name="connsiteY3" fmla="*/ 363339 h 363339"/>
              <a:gd name="connsiteX4" fmla="*/ 0 w 1926264"/>
              <a:gd name="connsiteY4" fmla="*/ 0 h 363339"/>
              <a:gd name="connsiteX0" fmla="*/ 0 w 3440015"/>
              <a:gd name="connsiteY0" fmla="*/ 0 h 363339"/>
              <a:gd name="connsiteX1" fmla="*/ 3440015 w 3440015"/>
              <a:gd name="connsiteY1" fmla="*/ 0 h 363339"/>
              <a:gd name="connsiteX2" fmla="*/ 3252291 w 3440015"/>
              <a:gd name="connsiteY2" fmla="*/ 363338 h 363339"/>
              <a:gd name="connsiteX3" fmla="*/ 1513752 w 3440015"/>
              <a:gd name="connsiteY3" fmla="*/ 363339 h 363339"/>
              <a:gd name="connsiteX4" fmla="*/ 0 w 3440015"/>
              <a:gd name="connsiteY4" fmla="*/ 0 h 363339"/>
              <a:gd name="connsiteX0" fmla="*/ 0 w 3440015"/>
              <a:gd name="connsiteY0" fmla="*/ 0 h 363339"/>
              <a:gd name="connsiteX1" fmla="*/ 3440015 w 3440015"/>
              <a:gd name="connsiteY1" fmla="*/ 0 h 363339"/>
              <a:gd name="connsiteX2" fmla="*/ 3252291 w 3440015"/>
              <a:gd name="connsiteY2" fmla="*/ 363338 h 363339"/>
              <a:gd name="connsiteX3" fmla="*/ 1 w 3440015"/>
              <a:gd name="connsiteY3" fmla="*/ 363339 h 363339"/>
              <a:gd name="connsiteX4" fmla="*/ 0 w 3440015"/>
              <a:gd name="connsiteY4" fmla="*/ 0 h 363339"/>
              <a:gd name="connsiteX0" fmla="*/ 0 w 3440015"/>
              <a:gd name="connsiteY0" fmla="*/ 0 h 363339"/>
              <a:gd name="connsiteX1" fmla="*/ 3440015 w 3440015"/>
              <a:gd name="connsiteY1" fmla="*/ 0 h 363339"/>
              <a:gd name="connsiteX2" fmla="*/ 3252291 w 3440015"/>
              <a:gd name="connsiteY2" fmla="*/ 363338 h 363339"/>
              <a:gd name="connsiteX3" fmla="*/ 192223 w 3440015"/>
              <a:gd name="connsiteY3" fmla="*/ 363339 h 363339"/>
              <a:gd name="connsiteX4" fmla="*/ 0 w 3440015"/>
              <a:gd name="connsiteY4" fmla="*/ 0 h 363339"/>
              <a:gd name="connsiteX0" fmla="*/ 0 w 3247793"/>
              <a:gd name="connsiteY0" fmla="*/ 0 h 363339"/>
              <a:gd name="connsiteX1" fmla="*/ 3247793 w 3247793"/>
              <a:gd name="connsiteY1" fmla="*/ 0 h 363339"/>
              <a:gd name="connsiteX2" fmla="*/ 3060069 w 3247793"/>
              <a:gd name="connsiteY2" fmla="*/ 363338 h 363339"/>
              <a:gd name="connsiteX3" fmla="*/ 1 w 3247793"/>
              <a:gd name="connsiteY3" fmla="*/ 363339 h 363339"/>
              <a:gd name="connsiteX4" fmla="*/ 0 w 3247793"/>
              <a:gd name="connsiteY4" fmla="*/ 0 h 363339"/>
              <a:gd name="connsiteX0" fmla="*/ 0 w 3247793"/>
              <a:gd name="connsiteY0" fmla="*/ 0 h 367713"/>
              <a:gd name="connsiteX1" fmla="*/ 3247793 w 3247793"/>
              <a:gd name="connsiteY1" fmla="*/ 0 h 367713"/>
              <a:gd name="connsiteX2" fmla="*/ 3060069 w 3247793"/>
              <a:gd name="connsiteY2" fmla="*/ 367713 h 367713"/>
              <a:gd name="connsiteX3" fmla="*/ 1 w 3247793"/>
              <a:gd name="connsiteY3" fmla="*/ 363339 h 367713"/>
              <a:gd name="connsiteX4" fmla="*/ 0 w 3247793"/>
              <a:gd name="connsiteY4" fmla="*/ 0 h 367713"/>
              <a:gd name="connsiteX0" fmla="*/ 5272 w 3253065"/>
              <a:gd name="connsiteY0" fmla="*/ 0 h 369148"/>
              <a:gd name="connsiteX1" fmla="*/ 3253065 w 3253065"/>
              <a:gd name="connsiteY1" fmla="*/ 0 h 369148"/>
              <a:gd name="connsiteX2" fmla="*/ 3065341 w 3253065"/>
              <a:gd name="connsiteY2" fmla="*/ 367713 h 369148"/>
              <a:gd name="connsiteX3" fmla="*/ 0 w 3253065"/>
              <a:gd name="connsiteY3" fmla="*/ 369148 h 369148"/>
              <a:gd name="connsiteX4" fmla="*/ 5272 w 3253065"/>
              <a:gd name="connsiteY4" fmla="*/ 0 h 369148"/>
              <a:gd name="connsiteX0" fmla="*/ 0 w 3247793"/>
              <a:gd name="connsiteY0" fmla="*/ 0 h 369148"/>
              <a:gd name="connsiteX1" fmla="*/ 3247793 w 3247793"/>
              <a:gd name="connsiteY1" fmla="*/ 0 h 369148"/>
              <a:gd name="connsiteX2" fmla="*/ 3060069 w 3247793"/>
              <a:gd name="connsiteY2" fmla="*/ 367713 h 369148"/>
              <a:gd name="connsiteX3" fmla="*/ 1864 w 3247793"/>
              <a:gd name="connsiteY3" fmla="*/ 369148 h 369148"/>
              <a:gd name="connsiteX4" fmla="*/ 0 w 3247793"/>
              <a:gd name="connsiteY4" fmla="*/ 0 h 3691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47793" h="369148">
                <a:moveTo>
                  <a:pt x="0" y="0"/>
                </a:moveTo>
                <a:lnTo>
                  <a:pt x="3247793" y="0"/>
                </a:lnTo>
                <a:lnTo>
                  <a:pt x="3060069" y="367713"/>
                </a:lnTo>
                <a:lnTo>
                  <a:pt x="1864" y="369148"/>
                </a:lnTo>
                <a:cubicBezTo>
                  <a:pt x="1864" y="248035"/>
                  <a:pt x="0" y="121113"/>
                  <a:pt x="0" y="0"/>
                </a:cubicBezTo>
                <a:close/>
              </a:path>
            </a:pathLst>
          </a:cu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29">
            <a:extLst>
              <a:ext uri="{FF2B5EF4-FFF2-40B4-BE49-F238E27FC236}">
                <a16:creationId xmlns:a16="http://schemas.microsoft.com/office/drawing/2014/main" id="{1118216C-AFF4-3D4C-A820-6C4ECEF800E6}"/>
              </a:ext>
            </a:extLst>
          </p:cNvPr>
          <p:cNvSpPr/>
          <p:nvPr/>
        </p:nvSpPr>
        <p:spPr>
          <a:xfrm>
            <a:off x="1995238" y="5661221"/>
            <a:ext cx="601580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NVIROCRON</a:t>
            </a:r>
            <a:r>
              <a:rPr kumimoji="0" lang="en-US" b="1" i="0" u="none" strike="noStrike" kern="120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® </a:t>
            </a:r>
            <a:r>
              <a:rPr lang="en-US" b="1" dirty="0" err="1">
                <a:solidFill>
                  <a:prstClr val="white"/>
                </a:solidFill>
              </a:rPr>
              <a:t>HeatSense</a:t>
            </a:r>
            <a:r>
              <a:rPr lang="en-US" b="1" dirty="0">
                <a:solidFill>
                  <a:prstClr val="white"/>
                </a:solidFill>
              </a:rPr>
              <a:t> </a:t>
            </a:r>
            <a:r>
              <a:rPr lang="en-US" dirty="0">
                <a:solidFill>
                  <a:prstClr val="white"/>
                </a:solidFill>
              </a:rPr>
              <a:t>Thermal Sensitive Substrate</a:t>
            </a:r>
          </a:p>
        </p:txBody>
      </p:sp>
      <p:sp>
        <p:nvSpPr>
          <p:cNvPr id="37" name="Rectangle 34">
            <a:extLst>
              <a:ext uri="{FF2B5EF4-FFF2-40B4-BE49-F238E27FC236}">
                <a16:creationId xmlns:a16="http://schemas.microsoft.com/office/drawing/2014/main" id="{14E7C558-47EA-6745-8113-F2C152948A37}"/>
              </a:ext>
            </a:extLst>
          </p:cNvPr>
          <p:cNvSpPr/>
          <p:nvPr/>
        </p:nvSpPr>
        <p:spPr>
          <a:xfrm>
            <a:off x="8613876" y="1907998"/>
            <a:ext cx="3200944" cy="369332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>
              <a:defRPr/>
            </a:pPr>
            <a:r>
              <a:rPr lang="en-US" dirty="0">
                <a:solidFill>
                  <a:schemeClr val="accent1"/>
                </a:solidFill>
              </a:rPr>
              <a:t>Sustainable efficiency</a:t>
            </a:r>
          </a:p>
        </p:txBody>
      </p:sp>
      <p:sp>
        <p:nvSpPr>
          <p:cNvPr id="38" name="Freeform 37">
            <a:extLst>
              <a:ext uri="{FF2B5EF4-FFF2-40B4-BE49-F238E27FC236}">
                <a16:creationId xmlns:a16="http://schemas.microsoft.com/office/drawing/2014/main" id="{E9B84428-9972-7E42-AAE8-AD22F8A85642}"/>
              </a:ext>
            </a:extLst>
          </p:cNvPr>
          <p:cNvSpPr/>
          <p:nvPr/>
        </p:nvSpPr>
        <p:spPr>
          <a:xfrm>
            <a:off x="1994810" y="1773020"/>
            <a:ext cx="6568898" cy="639289"/>
          </a:xfrm>
          <a:custGeom>
            <a:avLst/>
            <a:gdLst>
              <a:gd name="connsiteX0" fmla="*/ 0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0 w 2676588"/>
              <a:gd name="connsiteY4" fmla="*/ 0 h 363338"/>
              <a:gd name="connsiteX0" fmla="*/ 888545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888545 w 2676588"/>
              <a:gd name="connsiteY4" fmla="*/ 0 h 363338"/>
              <a:gd name="connsiteX0" fmla="*/ 0 w 1788043"/>
              <a:gd name="connsiteY0" fmla="*/ 0 h 363338"/>
              <a:gd name="connsiteX1" fmla="*/ 1788043 w 1788043"/>
              <a:gd name="connsiteY1" fmla="*/ 0 h 363338"/>
              <a:gd name="connsiteX2" fmla="*/ 1600319 w 1788043"/>
              <a:gd name="connsiteY2" fmla="*/ 363338 h 363338"/>
              <a:gd name="connsiteX3" fmla="*/ 0 w 1788043"/>
              <a:gd name="connsiteY3" fmla="*/ 363338 h 363338"/>
              <a:gd name="connsiteX4" fmla="*/ 0 w 1788043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138221 w 1926264"/>
              <a:gd name="connsiteY3" fmla="*/ 363338 h 363338"/>
              <a:gd name="connsiteX4" fmla="*/ 0 w 1926264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6284 w 1926264"/>
              <a:gd name="connsiteY3" fmla="*/ 363338 h 363338"/>
              <a:gd name="connsiteX4" fmla="*/ 0 w 1926264"/>
              <a:gd name="connsiteY4" fmla="*/ 0 h 363338"/>
              <a:gd name="connsiteX0" fmla="*/ 43978 w 1970242"/>
              <a:gd name="connsiteY0" fmla="*/ 0 h 363338"/>
              <a:gd name="connsiteX1" fmla="*/ 1970242 w 1970242"/>
              <a:gd name="connsiteY1" fmla="*/ 0 h 363338"/>
              <a:gd name="connsiteX2" fmla="*/ 1782518 w 1970242"/>
              <a:gd name="connsiteY2" fmla="*/ 363338 h 363338"/>
              <a:gd name="connsiteX3" fmla="*/ 0 w 1970242"/>
              <a:gd name="connsiteY3" fmla="*/ 363338 h 363338"/>
              <a:gd name="connsiteX4" fmla="*/ 43978 w 1970242"/>
              <a:gd name="connsiteY4" fmla="*/ 0 h 363338"/>
              <a:gd name="connsiteX0" fmla="*/ 0 w 1926264"/>
              <a:gd name="connsiteY0" fmla="*/ 0 h 369620"/>
              <a:gd name="connsiteX1" fmla="*/ 1926264 w 1926264"/>
              <a:gd name="connsiteY1" fmla="*/ 0 h 369620"/>
              <a:gd name="connsiteX2" fmla="*/ 1738540 w 1926264"/>
              <a:gd name="connsiteY2" fmla="*/ 363338 h 369620"/>
              <a:gd name="connsiteX3" fmla="*/ 6284 w 1926264"/>
              <a:gd name="connsiteY3" fmla="*/ 369620 h 369620"/>
              <a:gd name="connsiteX4" fmla="*/ 0 w 1926264"/>
              <a:gd name="connsiteY4" fmla="*/ 0 h 369620"/>
              <a:gd name="connsiteX0" fmla="*/ 6281 w 1932545"/>
              <a:gd name="connsiteY0" fmla="*/ 0 h 369620"/>
              <a:gd name="connsiteX1" fmla="*/ 1932545 w 1932545"/>
              <a:gd name="connsiteY1" fmla="*/ 0 h 369620"/>
              <a:gd name="connsiteX2" fmla="*/ 1744821 w 1932545"/>
              <a:gd name="connsiteY2" fmla="*/ 363338 h 369620"/>
              <a:gd name="connsiteX3" fmla="*/ 0 w 1932545"/>
              <a:gd name="connsiteY3" fmla="*/ 369620 h 369620"/>
              <a:gd name="connsiteX4" fmla="*/ 6281 w 1932545"/>
              <a:gd name="connsiteY4" fmla="*/ 0 h 369620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25132 w 1926264"/>
              <a:gd name="connsiteY3" fmla="*/ 357055 h 363338"/>
              <a:gd name="connsiteX4" fmla="*/ 0 w 1926264"/>
              <a:gd name="connsiteY4" fmla="*/ 0 h 363338"/>
              <a:gd name="connsiteX0" fmla="*/ 12564 w 1938828"/>
              <a:gd name="connsiteY0" fmla="*/ 0 h 363338"/>
              <a:gd name="connsiteX1" fmla="*/ 1938828 w 1938828"/>
              <a:gd name="connsiteY1" fmla="*/ 0 h 363338"/>
              <a:gd name="connsiteX2" fmla="*/ 1751104 w 1938828"/>
              <a:gd name="connsiteY2" fmla="*/ 363338 h 363338"/>
              <a:gd name="connsiteX3" fmla="*/ 0 w 1938828"/>
              <a:gd name="connsiteY3" fmla="*/ 363338 h 363338"/>
              <a:gd name="connsiteX4" fmla="*/ 12564 w 1938828"/>
              <a:gd name="connsiteY4" fmla="*/ 0 h 363338"/>
              <a:gd name="connsiteX0" fmla="*/ 0 w 1926264"/>
              <a:gd name="connsiteY0" fmla="*/ 0 h 369621"/>
              <a:gd name="connsiteX1" fmla="*/ 1926264 w 1926264"/>
              <a:gd name="connsiteY1" fmla="*/ 0 h 369621"/>
              <a:gd name="connsiteX2" fmla="*/ 1738540 w 1926264"/>
              <a:gd name="connsiteY2" fmla="*/ 363338 h 369621"/>
              <a:gd name="connsiteX3" fmla="*/ 6284 w 1926264"/>
              <a:gd name="connsiteY3" fmla="*/ 369621 h 369621"/>
              <a:gd name="connsiteX4" fmla="*/ 0 w 1926264"/>
              <a:gd name="connsiteY4" fmla="*/ 0 h 369621"/>
              <a:gd name="connsiteX0" fmla="*/ 43978 w 1970242"/>
              <a:gd name="connsiteY0" fmla="*/ 0 h 363339"/>
              <a:gd name="connsiteX1" fmla="*/ 1970242 w 1970242"/>
              <a:gd name="connsiteY1" fmla="*/ 0 h 363339"/>
              <a:gd name="connsiteX2" fmla="*/ 1782518 w 1970242"/>
              <a:gd name="connsiteY2" fmla="*/ 363338 h 363339"/>
              <a:gd name="connsiteX3" fmla="*/ 0 w 1970242"/>
              <a:gd name="connsiteY3" fmla="*/ 363339 h 363339"/>
              <a:gd name="connsiteX4" fmla="*/ 43978 w 1970242"/>
              <a:gd name="connsiteY4" fmla="*/ 0 h 363339"/>
              <a:gd name="connsiteX0" fmla="*/ 0 w 1926264"/>
              <a:gd name="connsiteY0" fmla="*/ 0 h 363339"/>
              <a:gd name="connsiteX1" fmla="*/ 1926264 w 1926264"/>
              <a:gd name="connsiteY1" fmla="*/ 0 h 363339"/>
              <a:gd name="connsiteX2" fmla="*/ 1738540 w 1926264"/>
              <a:gd name="connsiteY2" fmla="*/ 363338 h 363339"/>
              <a:gd name="connsiteX3" fmla="*/ 1 w 1926264"/>
              <a:gd name="connsiteY3" fmla="*/ 363339 h 363339"/>
              <a:gd name="connsiteX4" fmla="*/ 0 w 1926264"/>
              <a:gd name="connsiteY4" fmla="*/ 0 h 363339"/>
              <a:gd name="connsiteX0" fmla="*/ 0 w 3440015"/>
              <a:gd name="connsiteY0" fmla="*/ 0 h 363339"/>
              <a:gd name="connsiteX1" fmla="*/ 3440015 w 3440015"/>
              <a:gd name="connsiteY1" fmla="*/ 0 h 363339"/>
              <a:gd name="connsiteX2" fmla="*/ 3252291 w 3440015"/>
              <a:gd name="connsiteY2" fmla="*/ 363338 h 363339"/>
              <a:gd name="connsiteX3" fmla="*/ 1513752 w 3440015"/>
              <a:gd name="connsiteY3" fmla="*/ 363339 h 363339"/>
              <a:gd name="connsiteX4" fmla="*/ 0 w 3440015"/>
              <a:gd name="connsiteY4" fmla="*/ 0 h 363339"/>
              <a:gd name="connsiteX0" fmla="*/ 0 w 3440015"/>
              <a:gd name="connsiteY0" fmla="*/ 0 h 363339"/>
              <a:gd name="connsiteX1" fmla="*/ 3440015 w 3440015"/>
              <a:gd name="connsiteY1" fmla="*/ 0 h 363339"/>
              <a:gd name="connsiteX2" fmla="*/ 3252291 w 3440015"/>
              <a:gd name="connsiteY2" fmla="*/ 363338 h 363339"/>
              <a:gd name="connsiteX3" fmla="*/ 1 w 3440015"/>
              <a:gd name="connsiteY3" fmla="*/ 363339 h 363339"/>
              <a:gd name="connsiteX4" fmla="*/ 0 w 3440015"/>
              <a:gd name="connsiteY4" fmla="*/ 0 h 363339"/>
              <a:gd name="connsiteX0" fmla="*/ 0 w 3440015"/>
              <a:gd name="connsiteY0" fmla="*/ 0 h 363339"/>
              <a:gd name="connsiteX1" fmla="*/ 3440015 w 3440015"/>
              <a:gd name="connsiteY1" fmla="*/ 0 h 363339"/>
              <a:gd name="connsiteX2" fmla="*/ 3252291 w 3440015"/>
              <a:gd name="connsiteY2" fmla="*/ 363338 h 363339"/>
              <a:gd name="connsiteX3" fmla="*/ 192223 w 3440015"/>
              <a:gd name="connsiteY3" fmla="*/ 363339 h 363339"/>
              <a:gd name="connsiteX4" fmla="*/ 0 w 3440015"/>
              <a:gd name="connsiteY4" fmla="*/ 0 h 363339"/>
              <a:gd name="connsiteX0" fmla="*/ 0 w 3247793"/>
              <a:gd name="connsiteY0" fmla="*/ 0 h 363339"/>
              <a:gd name="connsiteX1" fmla="*/ 3247793 w 3247793"/>
              <a:gd name="connsiteY1" fmla="*/ 0 h 363339"/>
              <a:gd name="connsiteX2" fmla="*/ 3060069 w 3247793"/>
              <a:gd name="connsiteY2" fmla="*/ 363338 h 363339"/>
              <a:gd name="connsiteX3" fmla="*/ 1 w 3247793"/>
              <a:gd name="connsiteY3" fmla="*/ 363339 h 363339"/>
              <a:gd name="connsiteX4" fmla="*/ 0 w 3247793"/>
              <a:gd name="connsiteY4" fmla="*/ 0 h 3633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47793" h="363339">
                <a:moveTo>
                  <a:pt x="0" y="0"/>
                </a:moveTo>
                <a:lnTo>
                  <a:pt x="3247793" y="0"/>
                </a:lnTo>
                <a:lnTo>
                  <a:pt x="3060069" y="363338"/>
                </a:lnTo>
                <a:lnTo>
                  <a:pt x="1" y="363339"/>
                </a:lnTo>
                <a:cubicBezTo>
                  <a:pt x="1" y="242226"/>
                  <a:pt x="0" y="121113"/>
                  <a:pt x="0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 29">
            <a:extLst>
              <a:ext uri="{FF2B5EF4-FFF2-40B4-BE49-F238E27FC236}">
                <a16:creationId xmlns:a16="http://schemas.microsoft.com/office/drawing/2014/main" id="{32275BAE-FBD2-734D-88BB-272872820975}"/>
              </a:ext>
            </a:extLst>
          </p:cNvPr>
          <p:cNvSpPr/>
          <p:nvPr/>
        </p:nvSpPr>
        <p:spPr>
          <a:xfrm>
            <a:off x="1995238" y="1907998"/>
            <a:ext cx="638050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NVIROCRON</a:t>
            </a:r>
            <a:r>
              <a:rPr kumimoji="0" lang="en-GB" sz="1800" b="0" i="0" u="none" strike="noStrike" kern="1200" cap="none" spc="0" normalizeH="0" baseline="3000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®</a:t>
            </a: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lang="en-US" b="1" dirty="0">
                <a:solidFill>
                  <a:prstClr val="white"/>
                </a:solidFill>
              </a:rPr>
              <a:t>ENERGX</a:t>
            </a:r>
            <a:r>
              <a:rPr lang="en-US" b="1" baseline="30000" dirty="0">
                <a:solidFill>
                  <a:prstClr val="white"/>
                </a:solidFill>
              </a:rPr>
              <a:t>TM</a:t>
            </a:r>
            <a:r>
              <a:rPr lang="en-US" b="1" dirty="0">
                <a:solidFill>
                  <a:prstClr val="white"/>
                </a:solidFill>
              </a:rPr>
              <a:t> ULTRA </a:t>
            </a:r>
            <a:r>
              <a:rPr lang="en-US" dirty="0">
                <a:solidFill>
                  <a:prstClr val="white"/>
                </a:solidFill>
              </a:rPr>
              <a:t>Ultradurable Low Bake</a:t>
            </a:r>
          </a:p>
        </p:txBody>
      </p:sp>
      <p:pic>
        <p:nvPicPr>
          <p:cNvPr id="69" name="Grafik 66">
            <a:extLst>
              <a:ext uri="{FF2B5EF4-FFF2-40B4-BE49-F238E27FC236}">
                <a16:creationId xmlns:a16="http://schemas.microsoft.com/office/drawing/2014/main" id="{889574D4-5C56-8A4D-BFF0-CD5F6A3CC835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9014" y="1773560"/>
            <a:ext cx="1640334" cy="638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556518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tractor in a field&#10;&#10;Description automatically generated with low confidence">
            <a:extLst>
              <a:ext uri="{FF2B5EF4-FFF2-40B4-BE49-F238E27FC236}">
                <a16:creationId xmlns:a16="http://schemas.microsoft.com/office/drawing/2014/main" id="{A069FD1D-931A-CD46-84E9-B6957890A8B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56569" y="1458131"/>
            <a:ext cx="6235431" cy="415544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A5907E3-7F21-42B2-9B1D-0764D62CA20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457063">
              <a:defRPr/>
            </a:pPr>
            <a:fld id="{FD9C4343-C115-504A-8D4F-0B17318D4A48}" type="slidenum">
              <a:rPr lang="en-US">
                <a:solidFill>
                  <a:prstClr val="white"/>
                </a:solidFill>
                <a:latin typeface="Arial" panose="020B0604020202020204"/>
              </a:rPr>
              <a:pPr defTabSz="457063">
                <a:defRPr/>
              </a:pPr>
              <a:t>16</a:t>
            </a:fld>
            <a:endParaRPr lang="en-US" dirty="0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1502770-C4EB-764F-ACBF-6D502E7E3A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sz="3100" dirty="0"/>
              <a:t>ENVIROCRON</a:t>
            </a:r>
            <a:r>
              <a:rPr lang="en-US" sz="3100" baseline="30000" dirty="0"/>
              <a:t> </a:t>
            </a:r>
            <a:r>
              <a:rPr lang="en-US" sz="3100" dirty="0"/>
              <a:t>ENERGX</a:t>
            </a:r>
            <a:r>
              <a:rPr lang="en-US" sz="2800" baseline="30000" dirty="0"/>
              <a:t>TM </a:t>
            </a:r>
            <a:r>
              <a:rPr lang="en-US" sz="2800" dirty="0"/>
              <a:t>ULTRA</a:t>
            </a:r>
            <a:r>
              <a:rPr lang="en-US" sz="2800" baseline="30000" dirty="0"/>
              <a:t> </a:t>
            </a:r>
            <a:br>
              <a:rPr lang="en-US" dirty="0">
                <a:solidFill>
                  <a:prstClr val="black"/>
                </a:solidFill>
              </a:rPr>
            </a:br>
            <a:r>
              <a:rPr lang="en-US" dirty="0">
                <a:solidFill>
                  <a:srgbClr val="00B050"/>
                </a:solidFill>
              </a:rPr>
              <a:t>Ultradurable low bake powder topcoat - efficient and sustainable</a:t>
            </a:r>
          </a:p>
        </p:txBody>
      </p: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B824575A-A2C6-4E0A-90A3-725F1ED7F0BA}"/>
              </a:ext>
            </a:extLst>
          </p:cNvPr>
          <p:cNvGrpSpPr/>
          <p:nvPr/>
        </p:nvGrpSpPr>
        <p:grpSpPr>
          <a:xfrm>
            <a:off x="11251341" y="6140172"/>
            <a:ext cx="697906" cy="551833"/>
            <a:chOff x="9440863" y="5832475"/>
            <a:chExt cx="1092200" cy="863600"/>
          </a:xfrm>
        </p:grpSpPr>
        <p:sp>
          <p:nvSpPr>
            <p:cNvPr id="104" name="AutoShape 3">
              <a:extLst>
                <a:ext uri="{FF2B5EF4-FFF2-40B4-BE49-F238E27FC236}">
                  <a16:creationId xmlns:a16="http://schemas.microsoft.com/office/drawing/2014/main" id="{7AEBBCD9-4B54-45B4-BD1B-DB95C428D69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9440863" y="5832475"/>
              <a:ext cx="1092200" cy="863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457063">
                <a:defRPr/>
              </a:pPr>
              <a:endParaRPr lang="en-US" sz="1798" dirty="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106" name="Freeform 6">
              <a:extLst>
                <a:ext uri="{FF2B5EF4-FFF2-40B4-BE49-F238E27FC236}">
                  <a16:creationId xmlns:a16="http://schemas.microsoft.com/office/drawing/2014/main" id="{0677B869-AFC9-427F-8752-E8CD9F569BFB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5788" y="5870575"/>
              <a:ext cx="1019175" cy="790575"/>
            </a:xfrm>
            <a:custGeom>
              <a:avLst/>
              <a:gdLst>
                <a:gd name="T0" fmla="*/ 536 w 642"/>
                <a:gd name="T1" fmla="*/ 498 h 498"/>
                <a:gd name="T2" fmla="*/ 108 w 642"/>
                <a:gd name="T3" fmla="*/ 498 h 498"/>
                <a:gd name="T4" fmla="*/ 108 w 642"/>
                <a:gd name="T5" fmla="*/ 498 h 498"/>
                <a:gd name="T6" fmla="*/ 86 w 642"/>
                <a:gd name="T7" fmla="*/ 496 h 498"/>
                <a:gd name="T8" fmla="*/ 66 w 642"/>
                <a:gd name="T9" fmla="*/ 490 h 498"/>
                <a:gd name="T10" fmla="*/ 48 w 642"/>
                <a:gd name="T11" fmla="*/ 480 h 498"/>
                <a:gd name="T12" fmla="*/ 32 w 642"/>
                <a:gd name="T13" fmla="*/ 466 h 498"/>
                <a:gd name="T14" fmla="*/ 18 w 642"/>
                <a:gd name="T15" fmla="*/ 450 h 498"/>
                <a:gd name="T16" fmla="*/ 8 w 642"/>
                <a:gd name="T17" fmla="*/ 432 h 498"/>
                <a:gd name="T18" fmla="*/ 2 w 642"/>
                <a:gd name="T19" fmla="*/ 412 h 498"/>
                <a:gd name="T20" fmla="*/ 0 w 642"/>
                <a:gd name="T21" fmla="*/ 390 h 498"/>
                <a:gd name="T22" fmla="*/ 0 w 642"/>
                <a:gd name="T23" fmla="*/ 106 h 498"/>
                <a:gd name="T24" fmla="*/ 0 w 642"/>
                <a:gd name="T25" fmla="*/ 106 h 498"/>
                <a:gd name="T26" fmla="*/ 2 w 642"/>
                <a:gd name="T27" fmla="*/ 84 h 498"/>
                <a:gd name="T28" fmla="*/ 8 w 642"/>
                <a:gd name="T29" fmla="*/ 64 h 498"/>
                <a:gd name="T30" fmla="*/ 18 w 642"/>
                <a:gd name="T31" fmla="*/ 46 h 498"/>
                <a:gd name="T32" fmla="*/ 32 w 642"/>
                <a:gd name="T33" fmla="*/ 30 h 498"/>
                <a:gd name="T34" fmla="*/ 48 w 642"/>
                <a:gd name="T35" fmla="*/ 18 h 498"/>
                <a:gd name="T36" fmla="*/ 66 w 642"/>
                <a:gd name="T37" fmla="*/ 8 h 498"/>
                <a:gd name="T38" fmla="*/ 86 w 642"/>
                <a:gd name="T39" fmla="*/ 2 h 498"/>
                <a:gd name="T40" fmla="*/ 108 w 642"/>
                <a:gd name="T41" fmla="*/ 0 h 498"/>
                <a:gd name="T42" fmla="*/ 536 w 642"/>
                <a:gd name="T43" fmla="*/ 0 h 498"/>
                <a:gd name="T44" fmla="*/ 536 w 642"/>
                <a:gd name="T45" fmla="*/ 0 h 498"/>
                <a:gd name="T46" fmla="*/ 558 w 642"/>
                <a:gd name="T47" fmla="*/ 2 h 498"/>
                <a:gd name="T48" fmla="*/ 578 w 642"/>
                <a:gd name="T49" fmla="*/ 8 h 498"/>
                <a:gd name="T50" fmla="*/ 596 w 642"/>
                <a:gd name="T51" fmla="*/ 18 h 498"/>
                <a:gd name="T52" fmla="*/ 612 w 642"/>
                <a:gd name="T53" fmla="*/ 30 h 498"/>
                <a:gd name="T54" fmla="*/ 624 w 642"/>
                <a:gd name="T55" fmla="*/ 46 h 498"/>
                <a:gd name="T56" fmla="*/ 634 w 642"/>
                <a:gd name="T57" fmla="*/ 64 h 498"/>
                <a:gd name="T58" fmla="*/ 640 w 642"/>
                <a:gd name="T59" fmla="*/ 84 h 498"/>
                <a:gd name="T60" fmla="*/ 642 w 642"/>
                <a:gd name="T61" fmla="*/ 106 h 498"/>
                <a:gd name="T62" fmla="*/ 642 w 642"/>
                <a:gd name="T63" fmla="*/ 390 h 498"/>
                <a:gd name="T64" fmla="*/ 642 w 642"/>
                <a:gd name="T65" fmla="*/ 390 h 498"/>
                <a:gd name="T66" fmla="*/ 640 w 642"/>
                <a:gd name="T67" fmla="*/ 412 h 498"/>
                <a:gd name="T68" fmla="*/ 634 w 642"/>
                <a:gd name="T69" fmla="*/ 432 h 498"/>
                <a:gd name="T70" fmla="*/ 624 w 642"/>
                <a:gd name="T71" fmla="*/ 450 h 498"/>
                <a:gd name="T72" fmla="*/ 612 w 642"/>
                <a:gd name="T73" fmla="*/ 466 h 498"/>
                <a:gd name="T74" fmla="*/ 596 w 642"/>
                <a:gd name="T75" fmla="*/ 480 h 498"/>
                <a:gd name="T76" fmla="*/ 578 w 642"/>
                <a:gd name="T77" fmla="*/ 490 h 498"/>
                <a:gd name="T78" fmla="*/ 558 w 642"/>
                <a:gd name="T79" fmla="*/ 496 h 498"/>
                <a:gd name="T80" fmla="*/ 536 w 642"/>
                <a:gd name="T81" fmla="*/ 498 h 498"/>
                <a:gd name="T82" fmla="*/ 536 w 642"/>
                <a:gd name="T83" fmla="*/ 498 h 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42" h="498">
                  <a:moveTo>
                    <a:pt x="536" y="498"/>
                  </a:moveTo>
                  <a:lnTo>
                    <a:pt x="108" y="498"/>
                  </a:lnTo>
                  <a:lnTo>
                    <a:pt x="108" y="498"/>
                  </a:lnTo>
                  <a:lnTo>
                    <a:pt x="86" y="496"/>
                  </a:lnTo>
                  <a:lnTo>
                    <a:pt x="66" y="490"/>
                  </a:lnTo>
                  <a:lnTo>
                    <a:pt x="48" y="480"/>
                  </a:lnTo>
                  <a:lnTo>
                    <a:pt x="32" y="466"/>
                  </a:lnTo>
                  <a:lnTo>
                    <a:pt x="18" y="450"/>
                  </a:lnTo>
                  <a:lnTo>
                    <a:pt x="8" y="432"/>
                  </a:lnTo>
                  <a:lnTo>
                    <a:pt x="2" y="412"/>
                  </a:lnTo>
                  <a:lnTo>
                    <a:pt x="0" y="390"/>
                  </a:lnTo>
                  <a:lnTo>
                    <a:pt x="0" y="106"/>
                  </a:lnTo>
                  <a:lnTo>
                    <a:pt x="0" y="106"/>
                  </a:lnTo>
                  <a:lnTo>
                    <a:pt x="2" y="84"/>
                  </a:lnTo>
                  <a:lnTo>
                    <a:pt x="8" y="64"/>
                  </a:lnTo>
                  <a:lnTo>
                    <a:pt x="18" y="46"/>
                  </a:lnTo>
                  <a:lnTo>
                    <a:pt x="32" y="30"/>
                  </a:lnTo>
                  <a:lnTo>
                    <a:pt x="48" y="18"/>
                  </a:lnTo>
                  <a:lnTo>
                    <a:pt x="66" y="8"/>
                  </a:lnTo>
                  <a:lnTo>
                    <a:pt x="86" y="2"/>
                  </a:lnTo>
                  <a:lnTo>
                    <a:pt x="108" y="0"/>
                  </a:lnTo>
                  <a:lnTo>
                    <a:pt x="536" y="0"/>
                  </a:lnTo>
                  <a:lnTo>
                    <a:pt x="536" y="0"/>
                  </a:lnTo>
                  <a:lnTo>
                    <a:pt x="558" y="2"/>
                  </a:lnTo>
                  <a:lnTo>
                    <a:pt x="578" y="8"/>
                  </a:lnTo>
                  <a:lnTo>
                    <a:pt x="596" y="18"/>
                  </a:lnTo>
                  <a:lnTo>
                    <a:pt x="612" y="30"/>
                  </a:lnTo>
                  <a:lnTo>
                    <a:pt x="624" y="46"/>
                  </a:lnTo>
                  <a:lnTo>
                    <a:pt x="634" y="64"/>
                  </a:lnTo>
                  <a:lnTo>
                    <a:pt x="640" y="84"/>
                  </a:lnTo>
                  <a:lnTo>
                    <a:pt x="642" y="106"/>
                  </a:lnTo>
                  <a:lnTo>
                    <a:pt x="642" y="390"/>
                  </a:lnTo>
                  <a:lnTo>
                    <a:pt x="642" y="390"/>
                  </a:lnTo>
                  <a:lnTo>
                    <a:pt x="640" y="412"/>
                  </a:lnTo>
                  <a:lnTo>
                    <a:pt x="634" y="432"/>
                  </a:lnTo>
                  <a:lnTo>
                    <a:pt x="624" y="450"/>
                  </a:lnTo>
                  <a:lnTo>
                    <a:pt x="612" y="466"/>
                  </a:lnTo>
                  <a:lnTo>
                    <a:pt x="596" y="480"/>
                  </a:lnTo>
                  <a:lnTo>
                    <a:pt x="578" y="490"/>
                  </a:lnTo>
                  <a:lnTo>
                    <a:pt x="558" y="496"/>
                  </a:lnTo>
                  <a:lnTo>
                    <a:pt x="536" y="498"/>
                  </a:lnTo>
                  <a:lnTo>
                    <a:pt x="536" y="498"/>
                  </a:lnTo>
                  <a:close/>
                </a:path>
              </a:pathLst>
            </a:custGeom>
            <a:solidFill>
              <a:srgbClr val="0078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457063">
                <a:defRPr/>
              </a:pPr>
              <a:endParaRPr lang="en-US" sz="1798" dirty="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107" name="Freeform 7">
              <a:extLst>
                <a:ext uri="{FF2B5EF4-FFF2-40B4-BE49-F238E27FC236}">
                  <a16:creationId xmlns:a16="http://schemas.microsoft.com/office/drawing/2014/main" id="{7077E0DB-5714-4EA8-9213-DAD27FE942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23413" y="5940425"/>
              <a:ext cx="923925" cy="647700"/>
            </a:xfrm>
            <a:custGeom>
              <a:avLst/>
              <a:gdLst>
                <a:gd name="T0" fmla="*/ 530 w 582"/>
                <a:gd name="T1" fmla="*/ 115 h 408"/>
                <a:gd name="T2" fmla="*/ 582 w 582"/>
                <a:gd name="T3" fmla="*/ 135 h 408"/>
                <a:gd name="T4" fmla="*/ 538 w 582"/>
                <a:gd name="T5" fmla="*/ 75 h 408"/>
                <a:gd name="T6" fmla="*/ 476 w 582"/>
                <a:gd name="T7" fmla="*/ 83 h 408"/>
                <a:gd name="T8" fmla="*/ 439 w 582"/>
                <a:gd name="T9" fmla="*/ 105 h 408"/>
                <a:gd name="T10" fmla="*/ 421 w 582"/>
                <a:gd name="T11" fmla="*/ 129 h 408"/>
                <a:gd name="T12" fmla="*/ 411 w 582"/>
                <a:gd name="T13" fmla="*/ 64 h 408"/>
                <a:gd name="T14" fmla="*/ 375 w 582"/>
                <a:gd name="T15" fmla="*/ 18 h 408"/>
                <a:gd name="T16" fmla="*/ 303 w 582"/>
                <a:gd name="T17" fmla="*/ 2 h 408"/>
                <a:gd name="T18" fmla="*/ 173 w 582"/>
                <a:gd name="T19" fmla="*/ 0 h 408"/>
                <a:gd name="T20" fmla="*/ 165 w 582"/>
                <a:gd name="T21" fmla="*/ 105 h 408"/>
                <a:gd name="T22" fmla="*/ 125 w 582"/>
                <a:gd name="T23" fmla="*/ 81 h 408"/>
                <a:gd name="T24" fmla="*/ 48 w 582"/>
                <a:gd name="T25" fmla="*/ 77 h 408"/>
                <a:gd name="T26" fmla="*/ 78 w 582"/>
                <a:gd name="T27" fmla="*/ 331 h 408"/>
                <a:gd name="T28" fmla="*/ 58 w 582"/>
                <a:gd name="T29" fmla="*/ 299 h 408"/>
                <a:gd name="T30" fmla="*/ 94 w 582"/>
                <a:gd name="T31" fmla="*/ 255 h 408"/>
                <a:gd name="T32" fmla="*/ 129 w 582"/>
                <a:gd name="T33" fmla="*/ 249 h 408"/>
                <a:gd name="T34" fmla="*/ 167 w 582"/>
                <a:gd name="T35" fmla="*/ 217 h 408"/>
                <a:gd name="T36" fmla="*/ 265 w 582"/>
                <a:gd name="T37" fmla="*/ 408 h 408"/>
                <a:gd name="T38" fmla="*/ 245 w 582"/>
                <a:gd name="T39" fmla="*/ 376 h 408"/>
                <a:gd name="T40" fmla="*/ 295 w 582"/>
                <a:gd name="T41" fmla="*/ 277 h 408"/>
                <a:gd name="T42" fmla="*/ 345 w 582"/>
                <a:gd name="T43" fmla="*/ 269 h 408"/>
                <a:gd name="T44" fmla="*/ 395 w 582"/>
                <a:gd name="T45" fmla="*/ 231 h 408"/>
                <a:gd name="T46" fmla="*/ 409 w 582"/>
                <a:gd name="T47" fmla="*/ 249 h 408"/>
                <a:gd name="T48" fmla="*/ 439 w 582"/>
                <a:gd name="T49" fmla="*/ 307 h 408"/>
                <a:gd name="T50" fmla="*/ 486 w 582"/>
                <a:gd name="T51" fmla="*/ 329 h 408"/>
                <a:gd name="T52" fmla="*/ 536 w 582"/>
                <a:gd name="T53" fmla="*/ 333 h 408"/>
                <a:gd name="T54" fmla="*/ 512 w 582"/>
                <a:gd name="T55" fmla="*/ 205 h 408"/>
                <a:gd name="T56" fmla="*/ 530 w 582"/>
                <a:gd name="T57" fmla="*/ 225 h 408"/>
                <a:gd name="T58" fmla="*/ 520 w 582"/>
                <a:gd name="T59" fmla="*/ 293 h 408"/>
                <a:gd name="T60" fmla="*/ 482 w 582"/>
                <a:gd name="T61" fmla="*/ 277 h 408"/>
                <a:gd name="T62" fmla="*/ 470 w 582"/>
                <a:gd name="T63" fmla="*/ 241 h 408"/>
                <a:gd name="T64" fmla="*/ 470 w 582"/>
                <a:gd name="T65" fmla="*/ 163 h 408"/>
                <a:gd name="T66" fmla="*/ 504 w 582"/>
                <a:gd name="T67" fmla="*/ 121 h 408"/>
                <a:gd name="T68" fmla="*/ 84 w 582"/>
                <a:gd name="T69" fmla="*/ 221 h 408"/>
                <a:gd name="T70" fmla="*/ 58 w 582"/>
                <a:gd name="T71" fmla="*/ 121 h 408"/>
                <a:gd name="T72" fmla="*/ 66 w 582"/>
                <a:gd name="T73" fmla="*/ 109 h 408"/>
                <a:gd name="T74" fmla="*/ 92 w 582"/>
                <a:gd name="T75" fmla="*/ 107 h 408"/>
                <a:gd name="T76" fmla="*/ 121 w 582"/>
                <a:gd name="T77" fmla="*/ 141 h 408"/>
                <a:gd name="T78" fmla="*/ 118 w 582"/>
                <a:gd name="T79" fmla="*/ 193 h 408"/>
                <a:gd name="T80" fmla="*/ 96 w 582"/>
                <a:gd name="T81" fmla="*/ 219 h 408"/>
                <a:gd name="T82" fmla="*/ 291 w 582"/>
                <a:gd name="T83" fmla="*/ 229 h 408"/>
                <a:gd name="T84" fmla="*/ 245 w 582"/>
                <a:gd name="T85" fmla="*/ 217 h 408"/>
                <a:gd name="T86" fmla="*/ 249 w 582"/>
                <a:gd name="T87" fmla="*/ 56 h 408"/>
                <a:gd name="T88" fmla="*/ 273 w 582"/>
                <a:gd name="T89" fmla="*/ 42 h 408"/>
                <a:gd name="T90" fmla="*/ 317 w 582"/>
                <a:gd name="T91" fmla="*/ 48 h 408"/>
                <a:gd name="T92" fmla="*/ 341 w 582"/>
                <a:gd name="T93" fmla="*/ 75 h 408"/>
                <a:gd name="T94" fmla="*/ 351 w 582"/>
                <a:gd name="T95" fmla="*/ 131 h 408"/>
                <a:gd name="T96" fmla="*/ 335 w 582"/>
                <a:gd name="T97" fmla="*/ 201 h 408"/>
                <a:gd name="T98" fmla="*/ 299 w 582"/>
                <a:gd name="T99" fmla="*/ 229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82" h="408">
                  <a:moveTo>
                    <a:pt x="510" y="117"/>
                  </a:moveTo>
                  <a:lnTo>
                    <a:pt x="510" y="117"/>
                  </a:lnTo>
                  <a:lnTo>
                    <a:pt x="520" y="115"/>
                  </a:lnTo>
                  <a:lnTo>
                    <a:pt x="530" y="115"/>
                  </a:lnTo>
                  <a:lnTo>
                    <a:pt x="540" y="115"/>
                  </a:lnTo>
                  <a:lnTo>
                    <a:pt x="548" y="117"/>
                  </a:lnTo>
                  <a:lnTo>
                    <a:pt x="566" y="125"/>
                  </a:lnTo>
                  <a:lnTo>
                    <a:pt x="582" y="135"/>
                  </a:lnTo>
                  <a:lnTo>
                    <a:pt x="582" y="81"/>
                  </a:lnTo>
                  <a:lnTo>
                    <a:pt x="582" y="81"/>
                  </a:lnTo>
                  <a:lnTo>
                    <a:pt x="560" y="77"/>
                  </a:lnTo>
                  <a:lnTo>
                    <a:pt x="538" y="75"/>
                  </a:lnTo>
                  <a:lnTo>
                    <a:pt x="520" y="75"/>
                  </a:lnTo>
                  <a:lnTo>
                    <a:pt x="504" y="77"/>
                  </a:lnTo>
                  <a:lnTo>
                    <a:pt x="490" y="79"/>
                  </a:lnTo>
                  <a:lnTo>
                    <a:pt x="476" y="83"/>
                  </a:lnTo>
                  <a:lnTo>
                    <a:pt x="463" y="87"/>
                  </a:lnTo>
                  <a:lnTo>
                    <a:pt x="453" y="93"/>
                  </a:lnTo>
                  <a:lnTo>
                    <a:pt x="453" y="93"/>
                  </a:lnTo>
                  <a:lnTo>
                    <a:pt x="439" y="105"/>
                  </a:lnTo>
                  <a:lnTo>
                    <a:pt x="429" y="115"/>
                  </a:lnTo>
                  <a:lnTo>
                    <a:pt x="423" y="127"/>
                  </a:lnTo>
                  <a:lnTo>
                    <a:pt x="423" y="127"/>
                  </a:lnTo>
                  <a:lnTo>
                    <a:pt x="421" y="129"/>
                  </a:lnTo>
                  <a:lnTo>
                    <a:pt x="421" y="129"/>
                  </a:lnTo>
                  <a:lnTo>
                    <a:pt x="419" y="105"/>
                  </a:lnTo>
                  <a:lnTo>
                    <a:pt x="417" y="83"/>
                  </a:lnTo>
                  <a:lnTo>
                    <a:pt x="411" y="64"/>
                  </a:lnTo>
                  <a:lnTo>
                    <a:pt x="405" y="50"/>
                  </a:lnTo>
                  <a:lnTo>
                    <a:pt x="395" y="36"/>
                  </a:lnTo>
                  <a:lnTo>
                    <a:pt x="387" y="26"/>
                  </a:lnTo>
                  <a:lnTo>
                    <a:pt x="375" y="18"/>
                  </a:lnTo>
                  <a:lnTo>
                    <a:pt x="363" y="12"/>
                  </a:lnTo>
                  <a:lnTo>
                    <a:pt x="349" y="8"/>
                  </a:lnTo>
                  <a:lnTo>
                    <a:pt x="335" y="4"/>
                  </a:lnTo>
                  <a:lnTo>
                    <a:pt x="303" y="2"/>
                  </a:lnTo>
                  <a:lnTo>
                    <a:pt x="267" y="0"/>
                  </a:lnTo>
                  <a:lnTo>
                    <a:pt x="231" y="0"/>
                  </a:lnTo>
                  <a:lnTo>
                    <a:pt x="231" y="0"/>
                  </a:lnTo>
                  <a:lnTo>
                    <a:pt x="173" y="0"/>
                  </a:lnTo>
                  <a:lnTo>
                    <a:pt x="173" y="121"/>
                  </a:lnTo>
                  <a:lnTo>
                    <a:pt x="173" y="121"/>
                  </a:lnTo>
                  <a:lnTo>
                    <a:pt x="169" y="113"/>
                  </a:lnTo>
                  <a:lnTo>
                    <a:pt x="165" y="105"/>
                  </a:lnTo>
                  <a:lnTo>
                    <a:pt x="161" y="99"/>
                  </a:lnTo>
                  <a:lnTo>
                    <a:pt x="155" y="95"/>
                  </a:lnTo>
                  <a:lnTo>
                    <a:pt x="141" y="87"/>
                  </a:lnTo>
                  <a:lnTo>
                    <a:pt x="125" y="81"/>
                  </a:lnTo>
                  <a:lnTo>
                    <a:pt x="108" y="79"/>
                  </a:lnTo>
                  <a:lnTo>
                    <a:pt x="88" y="77"/>
                  </a:lnTo>
                  <a:lnTo>
                    <a:pt x="48" y="77"/>
                  </a:lnTo>
                  <a:lnTo>
                    <a:pt x="48" y="77"/>
                  </a:lnTo>
                  <a:lnTo>
                    <a:pt x="0" y="77"/>
                  </a:lnTo>
                  <a:lnTo>
                    <a:pt x="0" y="331"/>
                  </a:lnTo>
                  <a:lnTo>
                    <a:pt x="78" y="331"/>
                  </a:lnTo>
                  <a:lnTo>
                    <a:pt x="78" y="331"/>
                  </a:lnTo>
                  <a:lnTo>
                    <a:pt x="70" y="327"/>
                  </a:lnTo>
                  <a:lnTo>
                    <a:pt x="64" y="319"/>
                  </a:lnTo>
                  <a:lnTo>
                    <a:pt x="60" y="311"/>
                  </a:lnTo>
                  <a:lnTo>
                    <a:pt x="58" y="299"/>
                  </a:lnTo>
                  <a:lnTo>
                    <a:pt x="58" y="229"/>
                  </a:lnTo>
                  <a:lnTo>
                    <a:pt x="80" y="253"/>
                  </a:lnTo>
                  <a:lnTo>
                    <a:pt x="80" y="253"/>
                  </a:lnTo>
                  <a:lnTo>
                    <a:pt x="94" y="255"/>
                  </a:lnTo>
                  <a:lnTo>
                    <a:pt x="98" y="255"/>
                  </a:lnTo>
                  <a:lnTo>
                    <a:pt x="98" y="255"/>
                  </a:lnTo>
                  <a:lnTo>
                    <a:pt x="118" y="251"/>
                  </a:lnTo>
                  <a:lnTo>
                    <a:pt x="129" y="249"/>
                  </a:lnTo>
                  <a:lnTo>
                    <a:pt x="139" y="243"/>
                  </a:lnTo>
                  <a:lnTo>
                    <a:pt x="149" y="237"/>
                  </a:lnTo>
                  <a:lnTo>
                    <a:pt x="159" y="229"/>
                  </a:lnTo>
                  <a:lnTo>
                    <a:pt x="167" y="217"/>
                  </a:lnTo>
                  <a:lnTo>
                    <a:pt x="173" y="201"/>
                  </a:lnTo>
                  <a:lnTo>
                    <a:pt x="173" y="408"/>
                  </a:lnTo>
                  <a:lnTo>
                    <a:pt x="265" y="408"/>
                  </a:lnTo>
                  <a:lnTo>
                    <a:pt x="265" y="408"/>
                  </a:lnTo>
                  <a:lnTo>
                    <a:pt x="257" y="404"/>
                  </a:lnTo>
                  <a:lnTo>
                    <a:pt x="251" y="396"/>
                  </a:lnTo>
                  <a:lnTo>
                    <a:pt x="247" y="388"/>
                  </a:lnTo>
                  <a:lnTo>
                    <a:pt x="245" y="376"/>
                  </a:lnTo>
                  <a:lnTo>
                    <a:pt x="245" y="237"/>
                  </a:lnTo>
                  <a:lnTo>
                    <a:pt x="281" y="273"/>
                  </a:lnTo>
                  <a:lnTo>
                    <a:pt x="281" y="273"/>
                  </a:lnTo>
                  <a:lnTo>
                    <a:pt x="295" y="277"/>
                  </a:lnTo>
                  <a:lnTo>
                    <a:pt x="309" y="277"/>
                  </a:lnTo>
                  <a:lnTo>
                    <a:pt x="309" y="277"/>
                  </a:lnTo>
                  <a:lnTo>
                    <a:pt x="333" y="273"/>
                  </a:lnTo>
                  <a:lnTo>
                    <a:pt x="345" y="269"/>
                  </a:lnTo>
                  <a:lnTo>
                    <a:pt x="359" y="263"/>
                  </a:lnTo>
                  <a:lnTo>
                    <a:pt x="371" y="255"/>
                  </a:lnTo>
                  <a:lnTo>
                    <a:pt x="385" y="245"/>
                  </a:lnTo>
                  <a:lnTo>
                    <a:pt x="395" y="231"/>
                  </a:lnTo>
                  <a:lnTo>
                    <a:pt x="405" y="215"/>
                  </a:lnTo>
                  <a:lnTo>
                    <a:pt x="405" y="215"/>
                  </a:lnTo>
                  <a:lnTo>
                    <a:pt x="407" y="233"/>
                  </a:lnTo>
                  <a:lnTo>
                    <a:pt x="409" y="249"/>
                  </a:lnTo>
                  <a:lnTo>
                    <a:pt x="415" y="265"/>
                  </a:lnTo>
                  <a:lnTo>
                    <a:pt x="421" y="281"/>
                  </a:lnTo>
                  <a:lnTo>
                    <a:pt x="429" y="293"/>
                  </a:lnTo>
                  <a:lnTo>
                    <a:pt x="439" y="307"/>
                  </a:lnTo>
                  <a:lnTo>
                    <a:pt x="453" y="317"/>
                  </a:lnTo>
                  <a:lnTo>
                    <a:pt x="470" y="325"/>
                  </a:lnTo>
                  <a:lnTo>
                    <a:pt x="470" y="325"/>
                  </a:lnTo>
                  <a:lnTo>
                    <a:pt x="486" y="329"/>
                  </a:lnTo>
                  <a:lnTo>
                    <a:pt x="502" y="333"/>
                  </a:lnTo>
                  <a:lnTo>
                    <a:pt x="518" y="333"/>
                  </a:lnTo>
                  <a:lnTo>
                    <a:pt x="536" y="333"/>
                  </a:lnTo>
                  <a:lnTo>
                    <a:pt x="536" y="333"/>
                  </a:lnTo>
                  <a:lnTo>
                    <a:pt x="560" y="331"/>
                  </a:lnTo>
                  <a:lnTo>
                    <a:pt x="582" y="329"/>
                  </a:lnTo>
                  <a:lnTo>
                    <a:pt x="582" y="203"/>
                  </a:lnTo>
                  <a:lnTo>
                    <a:pt x="512" y="205"/>
                  </a:lnTo>
                  <a:lnTo>
                    <a:pt x="512" y="205"/>
                  </a:lnTo>
                  <a:lnTo>
                    <a:pt x="522" y="209"/>
                  </a:lnTo>
                  <a:lnTo>
                    <a:pt x="528" y="215"/>
                  </a:lnTo>
                  <a:lnTo>
                    <a:pt x="530" y="225"/>
                  </a:lnTo>
                  <a:lnTo>
                    <a:pt x="532" y="235"/>
                  </a:lnTo>
                  <a:lnTo>
                    <a:pt x="532" y="291"/>
                  </a:lnTo>
                  <a:lnTo>
                    <a:pt x="532" y="291"/>
                  </a:lnTo>
                  <a:lnTo>
                    <a:pt x="520" y="293"/>
                  </a:lnTo>
                  <a:lnTo>
                    <a:pt x="506" y="291"/>
                  </a:lnTo>
                  <a:lnTo>
                    <a:pt x="492" y="287"/>
                  </a:lnTo>
                  <a:lnTo>
                    <a:pt x="488" y="281"/>
                  </a:lnTo>
                  <a:lnTo>
                    <a:pt x="482" y="277"/>
                  </a:lnTo>
                  <a:lnTo>
                    <a:pt x="482" y="277"/>
                  </a:lnTo>
                  <a:lnTo>
                    <a:pt x="478" y="267"/>
                  </a:lnTo>
                  <a:lnTo>
                    <a:pt x="474" y="255"/>
                  </a:lnTo>
                  <a:lnTo>
                    <a:pt x="470" y="241"/>
                  </a:lnTo>
                  <a:lnTo>
                    <a:pt x="468" y="227"/>
                  </a:lnTo>
                  <a:lnTo>
                    <a:pt x="468" y="195"/>
                  </a:lnTo>
                  <a:lnTo>
                    <a:pt x="470" y="163"/>
                  </a:lnTo>
                  <a:lnTo>
                    <a:pt x="470" y="163"/>
                  </a:lnTo>
                  <a:lnTo>
                    <a:pt x="476" y="149"/>
                  </a:lnTo>
                  <a:lnTo>
                    <a:pt x="484" y="135"/>
                  </a:lnTo>
                  <a:lnTo>
                    <a:pt x="496" y="125"/>
                  </a:lnTo>
                  <a:lnTo>
                    <a:pt x="504" y="121"/>
                  </a:lnTo>
                  <a:lnTo>
                    <a:pt x="510" y="117"/>
                  </a:lnTo>
                  <a:lnTo>
                    <a:pt x="510" y="117"/>
                  </a:lnTo>
                  <a:close/>
                  <a:moveTo>
                    <a:pt x="84" y="221"/>
                  </a:moveTo>
                  <a:lnTo>
                    <a:pt x="84" y="221"/>
                  </a:lnTo>
                  <a:lnTo>
                    <a:pt x="72" y="219"/>
                  </a:lnTo>
                  <a:lnTo>
                    <a:pt x="64" y="217"/>
                  </a:lnTo>
                  <a:lnTo>
                    <a:pt x="58" y="211"/>
                  </a:lnTo>
                  <a:lnTo>
                    <a:pt x="58" y="121"/>
                  </a:lnTo>
                  <a:lnTo>
                    <a:pt x="58" y="121"/>
                  </a:lnTo>
                  <a:lnTo>
                    <a:pt x="60" y="115"/>
                  </a:lnTo>
                  <a:lnTo>
                    <a:pt x="62" y="111"/>
                  </a:lnTo>
                  <a:lnTo>
                    <a:pt x="66" y="109"/>
                  </a:lnTo>
                  <a:lnTo>
                    <a:pt x="72" y="107"/>
                  </a:lnTo>
                  <a:lnTo>
                    <a:pt x="72" y="107"/>
                  </a:lnTo>
                  <a:lnTo>
                    <a:pt x="84" y="105"/>
                  </a:lnTo>
                  <a:lnTo>
                    <a:pt x="92" y="107"/>
                  </a:lnTo>
                  <a:lnTo>
                    <a:pt x="100" y="111"/>
                  </a:lnTo>
                  <a:lnTo>
                    <a:pt x="110" y="117"/>
                  </a:lnTo>
                  <a:lnTo>
                    <a:pt x="116" y="125"/>
                  </a:lnTo>
                  <a:lnTo>
                    <a:pt x="121" y="141"/>
                  </a:lnTo>
                  <a:lnTo>
                    <a:pt x="123" y="161"/>
                  </a:lnTo>
                  <a:lnTo>
                    <a:pt x="123" y="161"/>
                  </a:lnTo>
                  <a:lnTo>
                    <a:pt x="123" y="179"/>
                  </a:lnTo>
                  <a:lnTo>
                    <a:pt x="118" y="193"/>
                  </a:lnTo>
                  <a:lnTo>
                    <a:pt x="114" y="205"/>
                  </a:lnTo>
                  <a:lnTo>
                    <a:pt x="108" y="211"/>
                  </a:lnTo>
                  <a:lnTo>
                    <a:pt x="102" y="217"/>
                  </a:lnTo>
                  <a:lnTo>
                    <a:pt x="96" y="219"/>
                  </a:lnTo>
                  <a:lnTo>
                    <a:pt x="84" y="221"/>
                  </a:lnTo>
                  <a:lnTo>
                    <a:pt x="84" y="221"/>
                  </a:lnTo>
                  <a:close/>
                  <a:moveTo>
                    <a:pt x="291" y="229"/>
                  </a:moveTo>
                  <a:lnTo>
                    <a:pt x="291" y="229"/>
                  </a:lnTo>
                  <a:lnTo>
                    <a:pt x="273" y="227"/>
                  </a:lnTo>
                  <a:lnTo>
                    <a:pt x="259" y="223"/>
                  </a:lnTo>
                  <a:lnTo>
                    <a:pt x="249" y="219"/>
                  </a:lnTo>
                  <a:lnTo>
                    <a:pt x="245" y="217"/>
                  </a:lnTo>
                  <a:lnTo>
                    <a:pt x="245" y="64"/>
                  </a:lnTo>
                  <a:lnTo>
                    <a:pt x="245" y="64"/>
                  </a:lnTo>
                  <a:lnTo>
                    <a:pt x="247" y="60"/>
                  </a:lnTo>
                  <a:lnTo>
                    <a:pt x="249" y="56"/>
                  </a:lnTo>
                  <a:lnTo>
                    <a:pt x="255" y="48"/>
                  </a:lnTo>
                  <a:lnTo>
                    <a:pt x="263" y="44"/>
                  </a:lnTo>
                  <a:lnTo>
                    <a:pt x="273" y="42"/>
                  </a:lnTo>
                  <a:lnTo>
                    <a:pt x="273" y="42"/>
                  </a:lnTo>
                  <a:lnTo>
                    <a:pt x="281" y="40"/>
                  </a:lnTo>
                  <a:lnTo>
                    <a:pt x="291" y="40"/>
                  </a:lnTo>
                  <a:lnTo>
                    <a:pt x="303" y="42"/>
                  </a:lnTo>
                  <a:lnTo>
                    <a:pt x="317" y="48"/>
                  </a:lnTo>
                  <a:lnTo>
                    <a:pt x="323" y="52"/>
                  </a:lnTo>
                  <a:lnTo>
                    <a:pt x="329" y="58"/>
                  </a:lnTo>
                  <a:lnTo>
                    <a:pt x="335" y="64"/>
                  </a:lnTo>
                  <a:lnTo>
                    <a:pt x="341" y="75"/>
                  </a:lnTo>
                  <a:lnTo>
                    <a:pt x="345" y="85"/>
                  </a:lnTo>
                  <a:lnTo>
                    <a:pt x="347" y="97"/>
                  </a:lnTo>
                  <a:lnTo>
                    <a:pt x="349" y="113"/>
                  </a:lnTo>
                  <a:lnTo>
                    <a:pt x="351" y="131"/>
                  </a:lnTo>
                  <a:lnTo>
                    <a:pt x="351" y="131"/>
                  </a:lnTo>
                  <a:lnTo>
                    <a:pt x="349" y="159"/>
                  </a:lnTo>
                  <a:lnTo>
                    <a:pt x="343" y="183"/>
                  </a:lnTo>
                  <a:lnTo>
                    <a:pt x="335" y="201"/>
                  </a:lnTo>
                  <a:lnTo>
                    <a:pt x="327" y="213"/>
                  </a:lnTo>
                  <a:lnTo>
                    <a:pt x="317" y="221"/>
                  </a:lnTo>
                  <a:lnTo>
                    <a:pt x="307" y="227"/>
                  </a:lnTo>
                  <a:lnTo>
                    <a:pt x="299" y="229"/>
                  </a:lnTo>
                  <a:lnTo>
                    <a:pt x="291" y="229"/>
                  </a:lnTo>
                  <a:lnTo>
                    <a:pt x="291" y="2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457063">
                <a:defRPr/>
              </a:pPr>
              <a:endParaRPr lang="en-US" sz="1798" dirty="0">
                <a:solidFill>
                  <a:prstClr val="black"/>
                </a:solidFill>
                <a:latin typeface="Arial" panose="020B0604020202020204"/>
              </a:endParaRPr>
            </a:p>
          </p:txBody>
        </p:sp>
      </p:grpSp>
      <p:sp>
        <p:nvSpPr>
          <p:cNvPr id="26" name="Slide Number Placeholder 2">
            <a:extLst>
              <a:ext uri="{FF2B5EF4-FFF2-40B4-BE49-F238E27FC236}">
                <a16:creationId xmlns:a16="http://schemas.microsoft.com/office/drawing/2014/main" id="{E23949B5-46C0-9D4B-B445-7E97B1192128}"/>
              </a:ext>
            </a:extLst>
          </p:cNvPr>
          <p:cNvSpPr txBox="1">
            <a:spLocks/>
          </p:cNvSpPr>
          <p:nvPr/>
        </p:nvSpPr>
        <p:spPr>
          <a:xfrm>
            <a:off x="308056" y="6496407"/>
            <a:ext cx="455756" cy="17222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chemeClr val="tx2"/>
                </a:solidFill>
                <a:latin typeface="+mn-lt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666666"/>
                </a:solidFill>
                <a:latin typeface="Arial" panose="020B0604020202020204"/>
              </a:rPr>
              <a:t>14</a:t>
            </a:r>
          </a:p>
        </p:txBody>
      </p:sp>
      <p:sp>
        <p:nvSpPr>
          <p:cNvPr id="27" name="Footer Placeholder 1">
            <a:extLst>
              <a:ext uri="{FF2B5EF4-FFF2-40B4-BE49-F238E27FC236}">
                <a16:creationId xmlns:a16="http://schemas.microsoft.com/office/drawing/2014/main" id="{6E5CEC5A-0292-2C4E-9FBC-70E90691188F}"/>
              </a:ext>
            </a:extLst>
          </p:cNvPr>
          <p:cNvSpPr txBox="1">
            <a:spLocks/>
          </p:cNvSpPr>
          <p:nvPr/>
        </p:nvSpPr>
        <p:spPr>
          <a:xfrm>
            <a:off x="763811" y="6496407"/>
            <a:ext cx="9460550" cy="17222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chemeClr val="tx2"/>
                </a:solidFill>
                <a:latin typeface="+mn-lt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666666"/>
                </a:solidFill>
                <a:latin typeface="Arial" panose="020B0604020202020204"/>
              </a:rPr>
              <a:t>Powder Coatings from PPG ©2023 PPG Industries, Inc. All rights reserved</a:t>
            </a:r>
          </a:p>
        </p:txBody>
      </p:sp>
      <p:sp>
        <p:nvSpPr>
          <p:cNvPr id="30" name="Freeform 29">
            <a:extLst>
              <a:ext uri="{FF2B5EF4-FFF2-40B4-BE49-F238E27FC236}">
                <a16:creationId xmlns:a16="http://schemas.microsoft.com/office/drawing/2014/main" id="{5A4D2359-6E1A-E84A-8371-3E57C47E0304}"/>
              </a:ext>
            </a:extLst>
          </p:cNvPr>
          <p:cNvSpPr/>
          <p:nvPr/>
        </p:nvSpPr>
        <p:spPr>
          <a:xfrm>
            <a:off x="-20320" y="1463040"/>
            <a:ext cx="8046720" cy="4155440"/>
          </a:xfrm>
          <a:custGeom>
            <a:avLst/>
            <a:gdLst>
              <a:gd name="connsiteX0" fmla="*/ 8046720 w 8046720"/>
              <a:gd name="connsiteY0" fmla="*/ 0 h 4155440"/>
              <a:gd name="connsiteX1" fmla="*/ 0 w 8046720"/>
              <a:gd name="connsiteY1" fmla="*/ 0 h 4155440"/>
              <a:gd name="connsiteX2" fmla="*/ 0 w 8046720"/>
              <a:gd name="connsiteY2" fmla="*/ 243840 h 4155440"/>
              <a:gd name="connsiteX3" fmla="*/ 0 w 8046720"/>
              <a:gd name="connsiteY3" fmla="*/ 4155440 h 4155440"/>
              <a:gd name="connsiteX4" fmla="*/ 193040 w 8046720"/>
              <a:gd name="connsiteY4" fmla="*/ 4155440 h 4155440"/>
              <a:gd name="connsiteX5" fmla="*/ 5933440 w 8046720"/>
              <a:gd name="connsiteY5" fmla="*/ 4155440 h 4155440"/>
              <a:gd name="connsiteX6" fmla="*/ 8046720 w 8046720"/>
              <a:gd name="connsiteY6" fmla="*/ 0 h 41554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046720" h="4155440">
                <a:moveTo>
                  <a:pt x="8046720" y="0"/>
                </a:moveTo>
                <a:lnTo>
                  <a:pt x="0" y="0"/>
                </a:lnTo>
                <a:lnTo>
                  <a:pt x="0" y="243840"/>
                </a:lnTo>
                <a:lnTo>
                  <a:pt x="0" y="4155440"/>
                </a:lnTo>
                <a:lnTo>
                  <a:pt x="193040" y="4155440"/>
                </a:lnTo>
                <a:lnTo>
                  <a:pt x="5933440" y="4155440"/>
                </a:lnTo>
                <a:lnTo>
                  <a:pt x="804672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1E36184B-F144-5747-B459-4DAB432609E7}"/>
              </a:ext>
            </a:extLst>
          </p:cNvPr>
          <p:cNvSpPr txBox="1"/>
          <p:nvPr/>
        </p:nvSpPr>
        <p:spPr>
          <a:xfrm>
            <a:off x="296769" y="1685109"/>
            <a:ext cx="5799231" cy="3709851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wrap="square" lIns="0" tIns="0" rIns="0" bIns="0" rtlCol="0" anchor="t">
            <a:noAutofit/>
          </a:bodyPr>
          <a:lstStyle/>
          <a:p>
            <a:pPr marL="285750" indent="-285750"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bg2"/>
                </a:solidFill>
              </a:rPr>
              <a:t>Ultradurable</a:t>
            </a:r>
            <a:r>
              <a:rPr lang="en-US" sz="1600" dirty="0">
                <a:solidFill>
                  <a:schemeClr val="bg2"/>
                </a:solidFill>
              </a:rPr>
              <a:t> polyester with very good weathering and chemical resistance</a:t>
            </a:r>
          </a:p>
          <a:p>
            <a:pPr marL="285750" indent="-285750"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2"/>
                </a:solidFill>
              </a:rPr>
              <a:t>Low bake system with </a:t>
            </a:r>
            <a:r>
              <a:rPr lang="en-US" sz="1600" b="1" dirty="0">
                <a:solidFill>
                  <a:schemeClr val="bg2"/>
                </a:solidFill>
              </a:rPr>
              <a:t>reduced energy consumption</a:t>
            </a:r>
            <a:r>
              <a:rPr lang="en-US" sz="1600" dirty="0">
                <a:solidFill>
                  <a:schemeClr val="bg2"/>
                </a:solidFill>
              </a:rPr>
              <a:t> and carbon footprint</a:t>
            </a:r>
          </a:p>
          <a:p>
            <a:pPr marL="285750" indent="-285750"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schemeClr val="bg2"/>
                </a:solidFill>
              </a:rPr>
              <a:t>Speedcure</a:t>
            </a:r>
            <a:r>
              <a:rPr lang="en-US" sz="1600" dirty="0">
                <a:solidFill>
                  <a:schemeClr val="bg2"/>
                </a:solidFill>
              </a:rPr>
              <a:t> option for line speed and manufacturing </a:t>
            </a:r>
            <a:r>
              <a:rPr lang="en-US" sz="1600" b="1" dirty="0">
                <a:solidFill>
                  <a:schemeClr val="bg2"/>
                </a:solidFill>
              </a:rPr>
              <a:t>capacity increase</a:t>
            </a:r>
          </a:p>
          <a:p>
            <a:pPr marL="285750" indent="-285750"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2"/>
                </a:solidFill>
              </a:rPr>
              <a:t>Wide processing window with </a:t>
            </a:r>
            <a:r>
              <a:rPr lang="en-US" sz="1600" b="1" dirty="0">
                <a:solidFill>
                  <a:schemeClr val="bg2"/>
                </a:solidFill>
              </a:rPr>
              <a:t>high process stability</a:t>
            </a:r>
            <a:r>
              <a:rPr lang="en-US" sz="1600" dirty="0">
                <a:solidFill>
                  <a:schemeClr val="bg2"/>
                </a:solidFill>
              </a:rPr>
              <a:t> for thin- and thick-walled components</a:t>
            </a:r>
          </a:p>
          <a:p>
            <a:pPr marL="285750" indent="-285750"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2"/>
                </a:solidFill>
              </a:rPr>
              <a:t>Good storage stability</a:t>
            </a:r>
          </a:p>
          <a:p>
            <a:pPr marL="285750" indent="-285750"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2"/>
                </a:solidFill>
              </a:rPr>
              <a:t>Blooming-resistant</a:t>
            </a:r>
          </a:p>
          <a:p>
            <a:pPr marL="285750" indent="-285750"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2"/>
                </a:solidFill>
              </a:rPr>
              <a:t>Specifically formulated without CMR NIA*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66F9DD7-7546-4D98-B727-E9818A277155}"/>
              </a:ext>
            </a:extLst>
          </p:cNvPr>
          <p:cNvSpPr txBox="1"/>
          <p:nvPr/>
        </p:nvSpPr>
        <p:spPr>
          <a:xfrm>
            <a:off x="613458" y="5914663"/>
            <a:ext cx="38775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*CMR: </a:t>
            </a:r>
            <a:r>
              <a:rPr lang="en-US" sz="900" dirty="0">
                <a:solidFill>
                  <a:srgbClr val="242424"/>
                </a:solidFill>
              </a:rPr>
              <a:t>C</a:t>
            </a:r>
            <a:r>
              <a:rPr lang="en-US" sz="900" b="0" i="0" dirty="0">
                <a:solidFill>
                  <a:srgbClr val="242424"/>
                </a:solidFill>
                <a:effectLst/>
              </a:rPr>
              <a:t>ancerogenic, Mutagenic and Reprotoxic</a:t>
            </a:r>
            <a:endParaRPr lang="en-US" sz="900" dirty="0"/>
          </a:p>
          <a:p>
            <a:r>
              <a:rPr lang="en-US" sz="900" dirty="0"/>
              <a:t>  NIA: Not Intentionally Added</a:t>
            </a:r>
          </a:p>
        </p:txBody>
      </p:sp>
    </p:spTree>
    <p:extLst>
      <p:ext uri="{BB962C8B-B14F-4D97-AF65-F5344CB8AC3E}">
        <p14:creationId xmlns:p14="http://schemas.microsoft.com/office/powerpoint/2010/main" val="2399693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12884" y="323849"/>
            <a:ext cx="9047123" cy="859536"/>
          </a:xfrm>
        </p:spPr>
        <p:txBody>
          <a:bodyPr/>
          <a:lstStyle/>
          <a:p>
            <a:r>
              <a:rPr lang="en-US" dirty="0"/>
              <a:t>How </a:t>
            </a:r>
            <a:r>
              <a:rPr lang="en-US" dirty="0" err="1"/>
              <a:t>EnergX</a:t>
            </a:r>
            <a:r>
              <a:rPr lang="en-US" dirty="0"/>
              <a:t> ULTRA can help you?</a:t>
            </a:r>
            <a:endParaRPr lang="pl-PL" dirty="0"/>
          </a:p>
        </p:txBody>
      </p:sp>
      <p:sp>
        <p:nvSpPr>
          <p:cNvPr id="22" name="Slide Number Placeholder 2">
            <a:extLst>
              <a:ext uri="{FF2B5EF4-FFF2-40B4-BE49-F238E27FC236}">
                <a16:creationId xmlns:a16="http://schemas.microsoft.com/office/drawing/2014/main" id="{59E46AD2-831B-AE4A-9700-3D50445A5216}"/>
              </a:ext>
            </a:extLst>
          </p:cNvPr>
          <p:cNvSpPr txBox="1">
            <a:spLocks/>
          </p:cNvSpPr>
          <p:nvPr/>
        </p:nvSpPr>
        <p:spPr>
          <a:xfrm>
            <a:off x="308056" y="6496407"/>
            <a:ext cx="455756" cy="17222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chemeClr val="tx2"/>
                </a:solidFill>
                <a:latin typeface="+mn-lt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666666"/>
                </a:solidFill>
                <a:latin typeface="Arial" panose="020B0604020202020204"/>
              </a:rPr>
              <a:t>14</a:t>
            </a:r>
          </a:p>
        </p:txBody>
      </p:sp>
      <p:sp>
        <p:nvSpPr>
          <p:cNvPr id="23" name="Footer Placeholder 1">
            <a:extLst>
              <a:ext uri="{FF2B5EF4-FFF2-40B4-BE49-F238E27FC236}">
                <a16:creationId xmlns:a16="http://schemas.microsoft.com/office/drawing/2014/main" id="{EC84BA78-81D6-8041-94B9-D2B990288557}"/>
              </a:ext>
            </a:extLst>
          </p:cNvPr>
          <p:cNvSpPr txBox="1">
            <a:spLocks/>
          </p:cNvSpPr>
          <p:nvPr/>
        </p:nvSpPr>
        <p:spPr>
          <a:xfrm>
            <a:off x="763811" y="6496407"/>
            <a:ext cx="9460550" cy="17222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chemeClr val="tx2"/>
                </a:solidFill>
                <a:latin typeface="+mn-lt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666666"/>
                </a:solidFill>
                <a:latin typeface="Arial" panose="020B0604020202020204"/>
              </a:rPr>
              <a:t>Powder Coatings from PPG ©2023 PPG Industries, Inc. All rights reserved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5A40E00D-8ADC-5448-A897-48FAF796F656}"/>
              </a:ext>
            </a:extLst>
          </p:cNvPr>
          <p:cNvSpPr txBox="1"/>
          <p:nvPr/>
        </p:nvSpPr>
        <p:spPr>
          <a:xfrm>
            <a:off x="308055" y="1045989"/>
            <a:ext cx="2709702" cy="1162010"/>
          </a:xfrm>
          <a:prstGeom prst="rect">
            <a:avLst/>
          </a:prstGeom>
          <a:solidFill>
            <a:schemeClr val="accent6"/>
          </a:solidFill>
        </p:spPr>
        <p:txBody>
          <a:bodyPr wrap="square" bIns="72000" rtlCol="0" anchor="b">
            <a:noAutofit/>
          </a:bodyPr>
          <a:lstStyle/>
          <a:p>
            <a:endParaRPr lang="en-US" sz="1600" dirty="0">
              <a:solidFill>
                <a:schemeClr val="bg1"/>
              </a:solidFill>
            </a:endParaRP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0D7FAB78-22C9-5440-862B-778C693E872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2280" y="1179752"/>
            <a:ext cx="907412" cy="907412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C54554EF-3D56-A749-A403-3C7D759EE4D6}"/>
              </a:ext>
            </a:extLst>
          </p:cNvPr>
          <p:cNvSpPr txBox="1"/>
          <p:nvPr/>
        </p:nvSpPr>
        <p:spPr>
          <a:xfrm>
            <a:off x="310228" y="2288914"/>
            <a:ext cx="2707226" cy="1380115"/>
          </a:xfrm>
          <a:prstGeom prst="rect">
            <a:avLst/>
          </a:prstGeom>
          <a:solidFill>
            <a:schemeClr val="accent6">
              <a:alpha val="10000"/>
            </a:schemeClr>
          </a:solidFill>
        </p:spPr>
        <p:txBody>
          <a:bodyPr wrap="square" bIns="72000" rtlCol="0" anchor="t">
            <a:noAutofit/>
          </a:bodyPr>
          <a:lstStyle/>
          <a:p>
            <a:r>
              <a:rPr lang="en-US" sz="1600" dirty="0">
                <a:solidFill>
                  <a:schemeClr val="accent6"/>
                </a:solidFill>
              </a:rPr>
              <a:t>You are currently using accelerated PT910 systems? 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0E4A1A7-EB52-A546-A3BA-380BF72429B5}"/>
              </a:ext>
            </a:extLst>
          </p:cNvPr>
          <p:cNvSpPr txBox="1"/>
          <p:nvPr/>
        </p:nvSpPr>
        <p:spPr>
          <a:xfrm>
            <a:off x="310228" y="3749945"/>
            <a:ext cx="2707225" cy="1962103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wrap="square" bIns="72000" rtlCol="0" anchor="t">
            <a:noAutofit/>
          </a:bodyPr>
          <a:lstStyle/>
          <a:p>
            <a:r>
              <a:rPr lang="en-US" sz="1600" dirty="0"/>
              <a:t>Replace them by </a:t>
            </a:r>
            <a:r>
              <a:rPr lang="en-US" sz="1600" b="1" dirty="0" err="1"/>
              <a:t>EnergX</a:t>
            </a:r>
            <a:r>
              <a:rPr lang="en-US" sz="1600" b="1" dirty="0"/>
              <a:t> ULTRA</a:t>
            </a:r>
            <a:r>
              <a:rPr lang="en-US" sz="1600" dirty="0"/>
              <a:t> and use a </a:t>
            </a:r>
            <a:r>
              <a:rPr lang="en-US" sz="1600" b="1" dirty="0"/>
              <a:t>product formulated without CMR</a:t>
            </a:r>
            <a:r>
              <a:rPr lang="en-US" sz="1600" dirty="0"/>
              <a:t>. Safe for health and applicator. 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51B79C6-0651-FD4A-BC89-833C90114F41}"/>
              </a:ext>
            </a:extLst>
          </p:cNvPr>
          <p:cNvSpPr txBox="1"/>
          <p:nvPr/>
        </p:nvSpPr>
        <p:spPr>
          <a:xfrm>
            <a:off x="3124676" y="1045989"/>
            <a:ext cx="2709702" cy="1162010"/>
          </a:xfrm>
          <a:prstGeom prst="rect">
            <a:avLst/>
          </a:prstGeom>
          <a:solidFill>
            <a:schemeClr val="accent5"/>
          </a:solidFill>
        </p:spPr>
        <p:txBody>
          <a:bodyPr wrap="square" bIns="72000" rtlCol="0" anchor="b">
            <a:noAutofit/>
          </a:bodyPr>
          <a:lstStyle/>
          <a:p>
            <a:endParaRPr lang="en-US" sz="1600" dirty="0">
              <a:solidFill>
                <a:schemeClr val="bg1"/>
              </a:solidFill>
            </a:endParaRPr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37BCD91A-F0F9-2F45-8791-DE05897BF49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38901" y="1179752"/>
            <a:ext cx="907412" cy="907412"/>
          </a:xfrm>
          <a:prstGeom prst="rect">
            <a:avLst/>
          </a:prstGeom>
        </p:spPr>
      </p:pic>
      <p:sp>
        <p:nvSpPr>
          <p:cNvPr id="39" name="TextBox 38">
            <a:extLst>
              <a:ext uri="{FF2B5EF4-FFF2-40B4-BE49-F238E27FC236}">
                <a16:creationId xmlns:a16="http://schemas.microsoft.com/office/drawing/2014/main" id="{FE7745D5-2815-1449-B6F8-2CAB59E3BB8E}"/>
              </a:ext>
            </a:extLst>
          </p:cNvPr>
          <p:cNvSpPr txBox="1"/>
          <p:nvPr/>
        </p:nvSpPr>
        <p:spPr>
          <a:xfrm>
            <a:off x="3126849" y="2288914"/>
            <a:ext cx="2707226" cy="1380115"/>
          </a:xfrm>
          <a:prstGeom prst="rect">
            <a:avLst/>
          </a:prstGeom>
          <a:solidFill>
            <a:schemeClr val="accent5">
              <a:alpha val="10000"/>
            </a:schemeClr>
          </a:solidFill>
        </p:spPr>
        <p:txBody>
          <a:bodyPr wrap="square" bIns="72000" rtlCol="0" anchor="t">
            <a:noAutofit/>
          </a:bodyPr>
          <a:lstStyle/>
          <a:p>
            <a:r>
              <a:rPr lang="en-US" sz="1600" dirty="0">
                <a:solidFill>
                  <a:schemeClr val="accent5"/>
                </a:solidFill>
              </a:rPr>
              <a:t>You are currently using standard durable systems? 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2D0DCD26-B182-F740-B8FD-24CDBDEA4712}"/>
              </a:ext>
            </a:extLst>
          </p:cNvPr>
          <p:cNvSpPr txBox="1"/>
          <p:nvPr/>
        </p:nvSpPr>
        <p:spPr>
          <a:xfrm>
            <a:off x="3126849" y="3749945"/>
            <a:ext cx="2707225" cy="1962103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wrap="square" bIns="72000" rtlCol="0" anchor="t">
            <a:noAutofit/>
          </a:bodyPr>
          <a:lstStyle/>
          <a:p>
            <a:r>
              <a:rPr lang="en-US" sz="1600" dirty="0"/>
              <a:t>Grade your performance up to </a:t>
            </a:r>
            <a:r>
              <a:rPr lang="en-US" sz="1600" b="1" dirty="0" err="1"/>
              <a:t>EnergX</a:t>
            </a:r>
            <a:r>
              <a:rPr lang="en-US" sz="1600" b="1" dirty="0"/>
              <a:t> ULTRA</a:t>
            </a:r>
            <a:r>
              <a:rPr lang="en-US" sz="1600" dirty="0"/>
              <a:t>, an </a:t>
            </a:r>
            <a:r>
              <a:rPr lang="en-US" sz="1600" b="1" dirty="0"/>
              <a:t>ultradurable</a:t>
            </a:r>
            <a:r>
              <a:rPr lang="en-US" sz="1600" dirty="0"/>
              <a:t> polyester system. 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713ED4C3-F8D4-9D4F-AC6A-7E8CD5D72D1C}"/>
              </a:ext>
            </a:extLst>
          </p:cNvPr>
          <p:cNvSpPr txBox="1"/>
          <p:nvPr/>
        </p:nvSpPr>
        <p:spPr>
          <a:xfrm>
            <a:off x="5941297" y="1045989"/>
            <a:ext cx="2709702" cy="1162010"/>
          </a:xfrm>
          <a:prstGeom prst="rect">
            <a:avLst/>
          </a:prstGeom>
          <a:solidFill>
            <a:schemeClr val="accent2"/>
          </a:solidFill>
        </p:spPr>
        <p:txBody>
          <a:bodyPr wrap="square" bIns="72000" rtlCol="0" anchor="b">
            <a:noAutofit/>
          </a:bodyPr>
          <a:lstStyle/>
          <a:p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57FBF0B2-003A-3A4E-A352-23C83BB7068A}"/>
              </a:ext>
            </a:extLst>
          </p:cNvPr>
          <p:cNvSpPr txBox="1"/>
          <p:nvPr/>
        </p:nvSpPr>
        <p:spPr>
          <a:xfrm>
            <a:off x="5943470" y="2288914"/>
            <a:ext cx="2707226" cy="1380115"/>
          </a:xfrm>
          <a:prstGeom prst="rect">
            <a:avLst/>
          </a:prstGeom>
          <a:solidFill>
            <a:schemeClr val="accent2">
              <a:alpha val="10000"/>
            </a:schemeClr>
          </a:solidFill>
        </p:spPr>
        <p:txBody>
          <a:bodyPr wrap="square" bIns="72000" rtlCol="0" anchor="t">
            <a:noAutofit/>
          </a:bodyPr>
          <a:lstStyle/>
          <a:p>
            <a:r>
              <a:rPr lang="en-US" sz="1600" dirty="0">
                <a:solidFill>
                  <a:schemeClr val="accent2"/>
                </a:solidFill>
              </a:rPr>
              <a:t>You are using already ultradurable polyester systems, but have issues in terms of capacity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CFE6821B-8574-4347-B50D-046F8037473E}"/>
              </a:ext>
            </a:extLst>
          </p:cNvPr>
          <p:cNvSpPr txBox="1"/>
          <p:nvPr/>
        </p:nvSpPr>
        <p:spPr>
          <a:xfrm>
            <a:off x="5943470" y="3749945"/>
            <a:ext cx="2707225" cy="1962103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wrap="square" bIns="72000" rtlCol="0" anchor="t">
            <a:noAutofit/>
          </a:bodyPr>
          <a:lstStyle/>
          <a:p>
            <a:r>
              <a:rPr lang="en-US" sz="1600" dirty="0"/>
              <a:t>Get rid of your bottleneck and </a:t>
            </a:r>
            <a:r>
              <a:rPr lang="en-US" sz="1600" b="1" dirty="0"/>
              <a:t>increase your capacity</a:t>
            </a:r>
            <a:r>
              <a:rPr lang="en-US" sz="1600" dirty="0"/>
              <a:t> by using the speedcure option of </a:t>
            </a:r>
            <a:r>
              <a:rPr lang="en-US" sz="1600" b="1" dirty="0" err="1"/>
              <a:t>EnergX</a:t>
            </a:r>
            <a:r>
              <a:rPr lang="en-US" sz="1600" b="1" dirty="0"/>
              <a:t> ULTRA</a:t>
            </a:r>
            <a:r>
              <a:rPr lang="en-US" sz="1600" dirty="0"/>
              <a:t>.</a:t>
            </a: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8EC499BF-D68B-F646-AACC-4446430B75F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50585" y="1182317"/>
            <a:ext cx="904542" cy="904542"/>
          </a:xfrm>
          <a:prstGeom prst="rect">
            <a:avLst/>
          </a:prstGeom>
        </p:spPr>
      </p:pic>
      <p:sp>
        <p:nvSpPr>
          <p:cNvPr id="49" name="TextBox 48">
            <a:extLst>
              <a:ext uri="{FF2B5EF4-FFF2-40B4-BE49-F238E27FC236}">
                <a16:creationId xmlns:a16="http://schemas.microsoft.com/office/drawing/2014/main" id="{7F32099F-4F85-8C4A-9D64-40BEDDDA4AB2}"/>
              </a:ext>
            </a:extLst>
          </p:cNvPr>
          <p:cNvSpPr txBox="1"/>
          <p:nvPr/>
        </p:nvSpPr>
        <p:spPr>
          <a:xfrm>
            <a:off x="8757918" y="1045989"/>
            <a:ext cx="2709702" cy="1162010"/>
          </a:xfrm>
          <a:prstGeom prst="rect">
            <a:avLst/>
          </a:prstGeom>
          <a:solidFill>
            <a:schemeClr val="accent4"/>
          </a:solidFill>
        </p:spPr>
        <p:txBody>
          <a:bodyPr wrap="square" bIns="72000" rtlCol="0" anchor="b">
            <a:noAutofit/>
          </a:bodyPr>
          <a:lstStyle/>
          <a:p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CE860266-A335-BC4B-A5B5-145B1A31A6D6}"/>
              </a:ext>
            </a:extLst>
          </p:cNvPr>
          <p:cNvSpPr txBox="1"/>
          <p:nvPr/>
        </p:nvSpPr>
        <p:spPr>
          <a:xfrm>
            <a:off x="8760091" y="2288914"/>
            <a:ext cx="2707226" cy="1380115"/>
          </a:xfrm>
          <a:prstGeom prst="rect">
            <a:avLst/>
          </a:prstGeom>
          <a:solidFill>
            <a:schemeClr val="accent4">
              <a:alpha val="10000"/>
            </a:schemeClr>
          </a:solidFill>
        </p:spPr>
        <p:txBody>
          <a:bodyPr wrap="square" bIns="72000" rtlCol="0" anchor="t">
            <a:noAutofit/>
          </a:bodyPr>
          <a:lstStyle/>
          <a:p>
            <a:r>
              <a:rPr lang="en-US" sz="1600" dirty="0">
                <a:solidFill>
                  <a:schemeClr val="accent4"/>
                </a:solidFill>
              </a:rPr>
              <a:t>Today you are using ultradurable standard polyester systems?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340836D6-BC53-A342-9972-15BAC70CC921}"/>
              </a:ext>
            </a:extLst>
          </p:cNvPr>
          <p:cNvSpPr txBox="1"/>
          <p:nvPr/>
        </p:nvSpPr>
        <p:spPr>
          <a:xfrm>
            <a:off x="8760091" y="3749945"/>
            <a:ext cx="2707225" cy="1962103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wrap="square" bIns="72000" rtlCol="0" anchor="t">
            <a:noAutofit/>
          </a:bodyPr>
          <a:lstStyle/>
          <a:p>
            <a:r>
              <a:rPr lang="en-US" sz="1600" dirty="0"/>
              <a:t>Switch to </a:t>
            </a:r>
            <a:r>
              <a:rPr lang="en-US" sz="1600" b="1" dirty="0" err="1"/>
              <a:t>EnergX</a:t>
            </a:r>
            <a:r>
              <a:rPr lang="en-US" sz="1600" b="1" dirty="0"/>
              <a:t> ULTRA</a:t>
            </a:r>
            <a:r>
              <a:rPr lang="en-US" sz="1600" dirty="0"/>
              <a:t> </a:t>
            </a:r>
            <a:br>
              <a:rPr lang="en-US" sz="1600" dirty="0"/>
            </a:br>
            <a:r>
              <a:rPr lang="en-US" sz="1600" dirty="0"/>
              <a:t>and take advantage of the low bake property to </a:t>
            </a:r>
            <a:r>
              <a:rPr lang="en-US" sz="1600" b="1" dirty="0"/>
              <a:t>save energy </a:t>
            </a:r>
            <a:r>
              <a:rPr lang="en-US" sz="1600" dirty="0"/>
              <a:t>and to reduce your </a:t>
            </a:r>
            <a:br>
              <a:rPr lang="en-US" sz="1600" dirty="0"/>
            </a:br>
            <a:r>
              <a:rPr lang="en-US" sz="1600" b="1" dirty="0"/>
              <a:t>CO</a:t>
            </a:r>
            <a:r>
              <a:rPr lang="en-US" sz="1600" b="1" baseline="-25000" dirty="0"/>
              <a:t>2</a:t>
            </a:r>
            <a:r>
              <a:rPr lang="en-US" sz="1600" b="1" dirty="0"/>
              <a:t> footprint</a:t>
            </a:r>
            <a:r>
              <a:rPr lang="en-US" sz="1600" dirty="0"/>
              <a:t>.</a:t>
            </a:r>
            <a:r>
              <a:rPr lang="en-US" sz="1600" b="1" dirty="0"/>
              <a:t> </a:t>
            </a: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7CC8F549-A987-C343-982C-80AB6F5993F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880010" y="1179752"/>
            <a:ext cx="904542" cy="90454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B72620E-82AB-7345-A42E-4C7803FD836F}"/>
              </a:ext>
            </a:extLst>
          </p:cNvPr>
          <p:cNvSpPr txBox="1"/>
          <p:nvPr/>
        </p:nvSpPr>
        <p:spPr>
          <a:xfrm>
            <a:off x="1329692" y="1308857"/>
            <a:ext cx="133125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Become safer!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73159F5F-AD90-FD43-85DE-B815BF96BDF6}"/>
              </a:ext>
            </a:extLst>
          </p:cNvPr>
          <p:cNvSpPr txBox="1"/>
          <p:nvPr/>
        </p:nvSpPr>
        <p:spPr>
          <a:xfrm>
            <a:off x="4170815" y="1308857"/>
            <a:ext cx="133125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Become stronger!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8354C557-92A4-C741-8F22-28320D153524}"/>
              </a:ext>
            </a:extLst>
          </p:cNvPr>
          <p:cNvSpPr txBox="1"/>
          <p:nvPr/>
        </p:nvSpPr>
        <p:spPr>
          <a:xfrm>
            <a:off x="6955127" y="1311562"/>
            <a:ext cx="169556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Become more efficient!</a:t>
            </a:r>
          </a:p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5884AA91-0196-5248-A60C-FCC3EA2A1FA3}"/>
              </a:ext>
            </a:extLst>
          </p:cNvPr>
          <p:cNvSpPr txBox="1"/>
          <p:nvPr/>
        </p:nvSpPr>
        <p:spPr>
          <a:xfrm>
            <a:off x="9791749" y="1317149"/>
            <a:ext cx="169556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Become more sustainable!</a:t>
            </a:r>
          </a:p>
        </p:txBody>
      </p:sp>
    </p:spTree>
    <p:extLst>
      <p:ext uri="{BB962C8B-B14F-4D97-AF65-F5344CB8AC3E}">
        <p14:creationId xmlns:p14="http://schemas.microsoft.com/office/powerpoint/2010/main" val="254630274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eform 22">
            <a:extLst>
              <a:ext uri="{FF2B5EF4-FFF2-40B4-BE49-F238E27FC236}">
                <a16:creationId xmlns:a16="http://schemas.microsoft.com/office/drawing/2014/main" id="{8028E994-98EF-7D45-BFD6-7C5AB116E794}"/>
              </a:ext>
            </a:extLst>
          </p:cNvPr>
          <p:cNvSpPr/>
          <p:nvPr/>
        </p:nvSpPr>
        <p:spPr>
          <a:xfrm rot="10800000">
            <a:off x="1559700" y="1456024"/>
            <a:ext cx="4197036" cy="1046930"/>
          </a:xfrm>
          <a:custGeom>
            <a:avLst/>
            <a:gdLst>
              <a:gd name="connsiteX0" fmla="*/ 0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0 w 2676588"/>
              <a:gd name="connsiteY4" fmla="*/ 0 h 363338"/>
              <a:gd name="connsiteX0" fmla="*/ 888545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888545 w 2676588"/>
              <a:gd name="connsiteY4" fmla="*/ 0 h 363338"/>
              <a:gd name="connsiteX0" fmla="*/ 0 w 1788043"/>
              <a:gd name="connsiteY0" fmla="*/ 0 h 363338"/>
              <a:gd name="connsiteX1" fmla="*/ 1788043 w 1788043"/>
              <a:gd name="connsiteY1" fmla="*/ 0 h 363338"/>
              <a:gd name="connsiteX2" fmla="*/ 1600319 w 1788043"/>
              <a:gd name="connsiteY2" fmla="*/ 363338 h 363338"/>
              <a:gd name="connsiteX3" fmla="*/ 0 w 1788043"/>
              <a:gd name="connsiteY3" fmla="*/ 363338 h 363338"/>
              <a:gd name="connsiteX4" fmla="*/ 0 w 1788043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138221 w 1926264"/>
              <a:gd name="connsiteY3" fmla="*/ 363338 h 363338"/>
              <a:gd name="connsiteX4" fmla="*/ 0 w 1926264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6284 w 1926264"/>
              <a:gd name="connsiteY3" fmla="*/ 363338 h 363338"/>
              <a:gd name="connsiteX4" fmla="*/ 0 w 1926264"/>
              <a:gd name="connsiteY4" fmla="*/ 0 h 363338"/>
              <a:gd name="connsiteX0" fmla="*/ 43978 w 1970242"/>
              <a:gd name="connsiteY0" fmla="*/ 0 h 363338"/>
              <a:gd name="connsiteX1" fmla="*/ 1970242 w 1970242"/>
              <a:gd name="connsiteY1" fmla="*/ 0 h 363338"/>
              <a:gd name="connsiteX2" fmla="*/ 1782518 w 1970242"/>
              <a:gd name="connsiteY2" fmla="*/ 363338 h 363338"/>
              <a:gd name="connsiteX3" fmla="*/ 0 w 1970242"/>
              <a:gd name="connsiteY3" fmla="*/ 363338 h 363338"/>
              <a:gd name="connsiteX4" fmla="*/ 43978 w 1970242"/>
              <a:gd name="connsiteY4" fmla="*/ 0 h 363338"/>
              <a:gd name="connsiteX0" fmla="*/ 0 w 1926264"/>
              <a:gd name="connsiteY0" fmla="*/ 0 h 369620"/>
              <a:gd name="connsiteX1" fmla="*/ 1926264 w 1926264"/>
              <a:gd name="connsiteY1" fmla="*/ 0 h 369620"/>
              <a:gd name="connsiteX2" fmla="*/ 1738540 w 1926264"/>
              <a:gd name="connsiteY2" fmla="*/ 363338 h 369620"/>
              <a:gd name="connsiteX3" fmla="*/ 6284 w 1926264"/>
              <a:gd name="connsiteY3" fmla="*/ 369620 h 369620"/>
              <a:gd name="connsiteX4" fmla="*/ 0 w 1926264"/>
              <a:gd name="connsiteY4" fmla="*/ 0 h 369620"/>
              <a:gd name="connsiteX0" fmla="*/ 6281 w 1932545"/>
              <a:gd name="connsiteY0" fmla="*/ 0 h 369620"/>
              <a:gd name="connsiteX1" fmla="*/ 1932545 w 1932545"/>
              <a:gd name="connsiteY1" fmla="*/ 0 h 369620"/>
              <a:gd name="connsiteX2" fmla="*/ 1744821 w 1932545"/>
              <a:gd name="connsiteY2" fmla="*/ 363338 h 369620"/>
              <a:gd name="connsiteX3" fmla="*/ 0 w 1932545"/>
              <a:gd name="connsiteY3" fmla="*/ 369620 h 369620"/>
              <a:gd name="connsiteX4" fmla="*/ 6281 w 1932545"/>
              <a:gd name="connsiteY4" fmla="*/ 0 h 369620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25132 w 1926264"/>
              <a:gd name="connsiteY3" fmla="*/ 357055 h 363338"/>
              <a:gd name="connsiteX4" fmla="*/ 0 w 1926264"/>
              <a:gd name="connsiteY4" fmla="*/ 0 h 363338"/>
              <a:gd name="connsiteX0" fmla="*/ 12564 w 1938828"/>
              <a:gd name="connsiteY0" fmla="*/ 0 h 363338"/>
              <a:gd name="connsiteX1" fmla="*/ 1938828 w 1938828"/>
              <a:gd name="connsiteY1" fmla="*/ 0 h 363338"/>
              <a:gd name="connsiteX2" fmla="*/ 1751104 w 1938828"/>
              <a:gd name="connsiteY2" fmla="*/ 363338 h 363338"/>
              <a:gd name="connsiteX3" fmla="*/ 0 w 1938828"/>
              <a:gd name="connsiteY3" fmla="*/ 363338 h 363338"/>
              <a:gd name="connsiteX4" fmla="*/ 12564 w 1938828"/>
              <a:gd name="connsiteY4" fmla="*/ 0 h 363338"/>
              <a:gd name="connsiteX0" fmla="*/ 0 w 1926264"/>
              <a:gd name="connsiteY0" fmla="*/ 0 h 369621"/>
              <a:gd name="connsiteX1" fmla="*/ 1926264 w 1926264"/>
              <a:gd name="connsiteY1" fmla="*/ 0 h 369621"/>
              <a:gd name="connsiteX2" fmla="*/ 1738540 w 1926264"/>
              <a:gd name="connsiteY2" fmla="*/ 363338 h 369621"/>
              <a:gd name="connsiteX3" fmla="*/ 6284 w 1926264"/>
              <a:gd name="connsiteY3" fmla="*/ 369621 h 369621"/>
              <a:gd name="connsiteX4" fmla="*/ 0 w 1926264"/>
              <a:gd name="connsiteY4" fmla="*/ 0 h 369621"/>
              <a:gd name="connsiteX0" fmla="*/ 43978 w 1970242"/>
              <a:gd name="connsiteY0" fmla="*/ 0 h 363339"/>
              <a:gd name="connsiteX1" fmla="*/ 1970242 w 1970242"/>
              <a:gd name="connsiteY1" fmla="*/ 0 h 363339"/>
              <a:gd name="connsiteX2" fmla="*/ 1782518 w 1970242"/>
              <a:gd name="connsiteY2" fmla="*/ 363338 h 363339"/>
              <a:gd name="connsiteX3" fmla="*/ 0 w 1970242"/>
              <a:gd name="connsiteY3" fmla="*/ 363339 h 363339"/>
              <a:gd name="connsiteX4" fmla="*/ 43978 w 1970242"/>
              <a:gd name="connsiteY4" fmla="*/ 0 h 363339"/>
              <a:gd name="connsiteX0" fmla="*/ 0 w 1926264"/>
              <a:gd name="connsiteY0" fmla="*/ 0 h 363339"/>
              <a:gd name="connsiteX1" fmla="*/ 1926264 w 1926264"/>
              <a:gd name="connsiteY1" fmla="*/ 0 h 363339"/>
              <a:gd name="connsiteX2" fmla="*/ 1738540 w 1926264"/>
              <a:gd name="connsiteY2" fmla="*/ 363338 h 363339"/>
              <a:gd name="connsiteX3" fmla="*/ 1 w 1926264"/>
              <a:gd name="connsiteY3" fmla="*/ 363339 h 363339"/>
              <a:gd name="connsiteX4" fmla="*/ 0 w 1926264"/>
              <a:gd name="connsiteY4" fmla="*/ 0 h 363339"/>
              <a:gd name="connsiteX0" fmla="*/ 469670 w 1926263"/>
              <a:gd name="connsiteY0" fmla="*/ 0 h 363339"/>
              <a:gd name="connsiteX1" fmla="*/ 1926263 w 1926263"/>
              <a:gd name="connsiteY1" fmla="*/ 0 h 363339"/>
              <a:gd name="connsiteX2" fmla="*/ 1738539 w 1926263"/>
              <a:gd name="connsiteY2" fmla="*/ 363338 h 363339"/>
              <a:gd name="connsiteX3" fmla="*/ 0 w 1926263"/>
              <a:gd name="connsiteY3" fmla="*/ 363339 h 363339"/>
              <a:gd name="connsiteX4" fmla="*/ 469670 w 1926263"/>
              <a:gd name="connsiteY4" fmla="*/ 0 h 363339"/>
              <a:gd name="connsiteX0" fmla="*/ 0 w 1456593"/>
              <a:gd name="connsiteY0" fmla="*/ 0 h 363339"/>
              <a:gd name="connsiteX1" fmla="*/ 1456593 w 1456593"/>
              <a:gd name="connsiteY1" fmla="*/ 0 h 363339"/>
              <a:gd name="connsiteX2" fmla="*/ 1268869 w 1456593"/>
              <a:gd name="connsiteY2" fmla="*/ 363338 h 363339"/>
              <a:gd name="connsiteX3" fmla="*/ 1 w 1456593"/>
              <a:gd name="connsiteY3" fmla="*/ 363339 h 363339"/>
              <a:gd name="connsiteX4" fmla="*/ 0 w 1456593"/>
              <a:gd name="connsiteY4" fmla="*/ 0 h 3633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56593" h="363339">
                <a:moveTo>
                  <a:pt x="0" y="0"/>
                </a:moveTo>
                <a:lnTo>
                  <a:pt x="1456593" y="0"/>
                </a:lnTo>
                <a:lnTo>
                  <a:pt x="1268869" y="363338"/>
                </a:lnTo>
                <a:lnTo>
                  <a:pt x="1" y="363339"/>
                </a:lnTo>
                <a:cubicBezTo>
                  <a:pt x="1" y="242226"/>
                  <a:pt x="0" y="121113"/>
                  <a:pt x="0" y="0"/>
                </a:cubicBezTo>
                <a:close/>
              </a:path>
            </a:pathLst>
          </a:custGeom>
          <a:solidFill>
            <a:schemeClr val="accent6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Freeform 24">
            <a:extLst>
              <a:ext uri="{FF2B5EF4-FFF2-40B4-BE49-F238E27FC236}">
                <a16:creationId xmlns:a16="http://schemas.microsoft.com/office/drawing/2014/main" id="{A39D4615-ACD6-1A44-B008-D085CF5DDA1E}"/>
              </a:ext>
            </a:extLst>
          </p:cNvPr>
          <p:cNvSpPr/>
          <p:nvPr/>
        </p:nvSpPr>
        <p:spPr>
          <a:xfrm rot="10800000">
            <a:off x="7540600" y="1452077"/>
            <a:ext cx="4197036" cy="1046930"/>
          </a:xfrm>
          <a:custGeom>
            <a:avLst/>
            <a:gdLst>
              <a:gd name="connsiteX0" fmla="*/ 0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0 w 2676588"/>
              <a:gd name="connsiteY4" fmla="*/ 0 h 363338"/>
              <a:gd name="connsiteX0" fmla="*/ 888545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888545 w 2676588"/>
              <a:gd name="connsiteY4" fmla="*/ 0 h 363338"/>
              <a:gd name="connsiteX0" fmla="*/ 0 w 1788043"/>
              <a:gd name="connsiteY0" fmla="*/ 0 h 363338"/>
              <a:gd name="connsiteX1" fmla="*/ 1788043 w 1788043"/>
              <a:gd name="connsiteY1" fmla="*/ 0 h 363338"/>
              <a:gd name="connsiteX2" fmla="*/ 1600319 w 1788043"/>
              <a:gd name="connsiteY2" fmla="*/ 363338 h 363338"/>
              <a:gd name="connsiteX3" fmla="*/ 0 w 1788043"/>
              <a:gd name="connsiteY3" fmla="*/ 363338 h 363338"/>
              <a:gd name="connsiteX4" fmla="*/ 0 w 1788043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138221 w 1926264"/>
              <a:gd name="connsiteY3" fmla="*/ 363338 h 363338"/>
              <a:gd name="connsiteX4" fmla="*/ 0 w 1926264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6284 w 1926264"/>
              <a:gd name="connsiteY3" fmla="*/ 363338 h 363338"/>
              <a:gd name="connsiteX4" fmla="*/ 0 w 1926264"/>
              <a:gd name="connsiteY4" fmla="*/ 0 h 363338"/>
              <a:gd name="connsiteX0" fmla="*/ 43978 w 1970242"/>
              <a:gd name="connsiteY0" fmla="*/ 0 h 363338"/>
              <a:gd name="connsiteX1" fmla="*/ 1970242 w 1970242"/>
              <a:gd name="connsiteY1" fmla="*/ 0 h 363338"/>
              <a:gd name="connsiteX2" fmla="*/ 1782518 w 1970242"/>
              <a:gd name="connsiteY2" fmla="*/ 363338 h 363338"/>
              <a:gd name="connsiteX3" fmla="*/ 0 w 1970242"/>
              <a:gd name="connsiteY3" fmla="*/ 363338 h 363338"/>
              <a:gd name="connsiteX4" fmla="*/ 43978 w 1970242"/>
              <a:gd name="connsiteY4" fmla="*/ 0 h 363338"/>
              <a:gd name="connsiteX0" fmla="*/ 0 w 1926264"/>
              <a:gd name="connsiteY0" fmla="*/ 0 h 369620"/>
              <a:gd name="connsiteX1" fmla="*/ 1926264 w 1926264"/>
              <a:gd name="connsiteY1" fmla="*/ 0 h 369620"/>
              <a:gd name="connsiteX2" fmla="*/ 1738540 w 1926264"/>
              <a:gd name="connsiteY2" fmla="*/ 363338 h 369620"/>
              <a:gd name="connsiteX3" fmla="*/ 6284 w 1926264"/>
              <a:gd name="connsiteY3" fmla="*/ 369620 h 369620"/>
              <a:gd name="connsiteX4" fmla="*/ 0 w 1926264"/>
              <a:gd name="connsiteY4" fmla="*/ 0 h 369620"/>
              <a:gd name="connsiteX0" fmla="*/ 6281 w 1932545"/>
              <a:gd name="connsiteY0" fmla="*/ 0 h 369620"/>
              <a:gd name="connsiteX1" fmla="*/ 1932545 w 1932545"/>
              <a:gd name="connsiteY1" fmla="*/ 0 h 369620"/>
              <a:gd name="connsiteX2" fmla="*/ 1744821 w 1932545"/>
              <a:gd name="connsiteY2" fmla="*/ 363338 h 369620"/>
              <a:gd name="connsiteX3" fmla="*/ 0 w 1932545"/>
              <a:gd name="connsiteY3" fmla="*/ 369620 h 369620"/>
              <a:gd name="connsiteX4" fmla="*/ 6281 w 1932545"/>
              <a:gd name="connsiteY4" fmla="*/ 0 h 369620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25132 w 1926264"/>
              <a:gd name="connsiteY3" fmla="*/ 357055 h 363338"/>
              <a:gd name="connsiteX4" fmla="*/ 0 w 1926264"/>
              <a:gd name="connsiteY4" fmla="*/ 0 h 363338"/>
              <a:gd name="connsiteX0" fmla="*/ 12564 w 1938828"/>
              <a:gd name="connsiteY0" fmla="*/ 0 h 363338"/>
              <a:gd name="connsiteX1" fmla="*/ 1938828 w 1938828"/>
              <a:gd name="connsiteY1" fmla="*/ 0 h 363338"/>
              <a:gd name="connsiteX2" fmla="*/ 1751104 w 1938828"/>
              <a:gd name="connsiteY2" fmla="*/ 363338 h 363338"/>
              <a:gd name="connsiteX3" fmla="*/ 0 w 1938828"/>
              <a:gd name="connsiteY3" fmla="*/ 363338 h 363338"/>
              <a:gd name="connsiteX4" fmla="*/ 12564 w 1938828"/>
              <a:gd name="connsiteY4" fmla="*/ 0 h 363338"/>
              <a:gd name="connsiteX0" fmla="*/ 0 w 1926264"/>
              <a:gd name="connsiteY0" fmla="*/ 0 h 369621"/>
              <a:gd name="connsiteX1" fmla="*/ 1926264 w 1926264"/>
              <a:gd name="connsiteY1" fmla="*/ 0 h 369621"/>
              <a:gd name="connsiteX2" fmla="*/ 1738540 w 1926264"/>
              <a:gd name="connsiteY2" fmla="*/ 363338 h 369621"/>
              <a:gd name="connsiteX3" fmla="*/ 6284 w 1926264"/>
              <a:gd name="connsiteY3" fmla="*/ 369621 h 369621"/>
              <a:gd name="connsiteX4" fmla="*/ 0 w 1926264"/>
              <a:gd name="connsiteY4" fmla="*/ 0 h 369621"/>
              <a:gd name="connsiteX0" fmla="*/ 43978 w 1970242"/>
              <a:gd name="connsiteY0" fmla="*/ 0 h 363339"/>
              <a:gd name="connsiteX1" fmla="*/ 1970242 w 1970242"/>
              <a:gd name="connsiteY1" fmla="*/ 0 h 363339"/>
              <a:gd name="connsiteX2" fmla="*/ 1782518 w 1970242"/>
              <a:gd name="connsiteY2" fmla="*/ 363338 h 363339"/>
              <a:gd name="connsiteX3" fmla="*/ 0 w 1970242"/>
              <a:gd name="connsiteY3" fmla="*/ 363339 h 363339"/>
              <a:gd name="connsiteX4" fmla="*/ 43978 w 1970242"/>
              <a:gd name="connsiteY4" fmla="*/ 0 h 363339"/>
              <a:gd name="connsiteX0" fmla="*/ 0 w 1926264"/>
              <a:gd name="connsiteY0" fmla="*/ 0 h 363339"/>
              <a:gd name="connsiteX1" fmla="*/ 1926264 w 1926264"/>
              <a:gd name="connsiteY1" fmla="*/ 0 h 363339"/>
              <a:gd name="connsiteX2" fmla="*/ 1738540 w 1926264"/>
              <a:gd name="connsiteY2" fmla="*/ 363338 h 363339"/>
              <a:gd name="connsiteX3" fmla="*/ 1 w 1926264"/>
              <a:gd name="connsiteY3" fmla="*/ 363339 h 363339"/>
              <a:gd name="connsiteX4" fmla="*/ 0 w 1926264"/>
              <a:gd name="connsiteY4" fmla="*/ 0 h 363339"/>
              <a:gd name="connsiteX0" fmla="*/ 469670 w 1926263"/>
              <a:gd name="connsiteY0" fmla="*/ 0 h 363339"/>
              <a:gd name="connsiteX1" fmla="*/ 1926263 w 1926263"/>
              <a:gd name="connsiteY1" fmla="*/ 0 h 363339"/>
              <a:gd name="connsiteX2" fmla="*/ 1738539 w 1926263"/>
              <a:gd name="connsiteY2" fmla="*/ 363338 h 363339"/>
              <a:gd name="connsiteX3" fmla="*/ 0 w 1926263"/>
              <a:gd name="connsiteY3" fmla="*/ 363339 h 363339"/>
              <a:gd name="connsiteX4" fmla="*/ 469670 w 1926263"/>
              <a:gd name="connsiteY4" fmla="*/ 0 h 363339"/>
              <a:gd name="connsiteX0" fmla="*/ 0 w 1456593"/>
              <a:gd name="connsiteY0" fmla="*/ 0 h 363339"/>
              <a:gd name="connsiteX1" fmla="*/ 1456593 w 1456593"/>
              <a:gd name="connsiteY1" fmla="*/ 0 h 363339"/>
              <a:gd name="connsiteX2" fmla="*/ 1268869 w 1456593"/>
              <a:gd name="connsiteY2" fmla="*/ 363338 h 363339"/>
              <a:gd name="connsiteX3" fmla="*/ 1 w 1456593"/>
              <a:gd name="connsiteY3" fmla="*/ 363339 h 363339"/>
              <a:gd name="connsiteX4" fmla="*/ 0 w 1456593"/>
              <a:gd name="connsiteY4" fmla="*/ 0 h 3633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56593" h="363339">
                <a:moveTo>
                  <a:pt x="0" y="0"/>
                </a:moveTo>
                <a:lnTo>
                  <a:pt x="1456593" y="0"/>
                </a:lnTo>
                <a:lnTo>
                  <a:pt x="1268869" y="363338"/>
                </a:lnTo>
                <a:lnTo>
                  <a:pt x="1" y="363339"/>
                </a:lnTo>
                <a:cubicBezTo>
                  <a:pt x="1" y="242226"/>
                  <a:pt x="0" y="121113"/>
                  <a:pt x="0" y="0"/>
                </a:cubicBezTo>
                <a:close/>
              </a:path>
            </a:pathLst>
          </a:custGeom>
          <a:solidFill>
            <a:schemeClr val="accent2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AA8BB977-5AD4-0142-966C-FB5289830BCA}"/>
              </a:ext>
            </a:extLst>
          </p:cNvPr>
          <p:cNvSpPr/>
          <p:nvPr/>
        </p:nvSpPr>
        <p:spPr>
          <a:xfrm>
            <a:off x="303808" y="1456024"/>
            <a:ext cx="4197036" cy="1046930"/>
          </a:xfrm>
          <a:custGeom>
            <a:avLst/>
            <a:gdLst>
              <a:gd name="connsiteX0" fmla="*/ 0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0 w 2676588"/>
              <a:gd name="connsiteY4" fmla="*/ 0 h 363338"/>
              <a:gd name="connsiteX0" fmla="*/ 888545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888545 w 2676588"/>
              <a:gd name="connsiteY4" fmla="*/ 0 h 363338"/>
              <a:gd name="connsiteX0" fmla="*/ 0 w 1788043"/>
              <a:gd name="connsiteY0" fmla="*/ 0 h 363338"/>
              <a:gd name="connsiteX1" fmla="*/ 1788043 w 1788043"/>
              <a:gd name="connsiteY1" fmla="*/ 0 h 363338"/>
              <a:gd name="connsiteX2" fmla="*/ 1600319 w 1788043"/>
              <a:gd name="connsiteY2" fmla="*/ 363338 h 363338"/>
              <a:gd name="connsiteX3" fmla="*/ 0 w 1788043"/>
              <a:gd name="connsiteY3" fmla="*/ 363338 h 363338"/>
              <a:gd name="connsiteX4" fmla="*/ 0 w 1788043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138221 w 1926264"/>
              <a:gd name="connsiteY3" fmla="*/ 363338 h 363338"/>
              <a:gd name="connsiteX4" fmla="*/ 0 w 1926264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6284 w 1926264"/>
              <a:gd name="connsiteY3" fmla="*/ 363338 h 363338"/>
              <a:gd name="connsiteX4" fmla="*/ 0 w 1926264"/>
              <a:gd name="connsiteY4" fmla="*/ 0 h 363338"/>
              <a:gd name="connsiteX0" fmla="*/ 43978 w 1970242"/>
              <a:gd name="connsiteY0" fmla="*/ 0 h 363338"/>
              <a:gd name="connsiteX1" fmla="*/ 1970242 w 1970242"/>
              <a:gd name="connsiteY1" fmla="*/ 0 h 363338"/>
              <a:gd name="connsiteX2" fmla="*/ 1782518 w 1970242"/>
              <a:gd name="connsiteY2" fmla="*/ 363338 h 363338"/>
              <a:gd name="connsiteX3" fmla="*/ 0 w 1970242"/>
              <a:gd name="connsiteY3" fmla="*/ 363338 h 363338"/>
              <a:gd name="connsiteX4" fmla="*/ 43978 w 1970242"/>
              <a:gd name="connsiteY4" fmla="*/ 0 h 363338"/>
              <a:gd name="connsiteX0" fmla="*/ 0 w 1926264"/>
              <a:gd name="connsiteY0" fmla="*/ 0 h 369620"/>
              <a:gd name="connsiteX1" fmla="*/ 1926264 w 1926264"/>
              <a:gd name="connsiteY1" fmla="*/ 0 h 369620"/>
              <a:gd name="connsiteX2" fmla="*/ 1738540 w 1926264"/>
              <a:gd name="connsiteY2" fmla="*/ 363338 h 369620"/>
              <a:gd name="connsiteX3" fmla="*/ 6284 w 1926264"/>
              <a:gd name="connsiteY3" fmla="*/ 369620 h 369620"/>
              <a:gd name="connsiteX4" fmla="*/ 0 w 1926264"/>
              <a:gd name="connsiteY4" fmla="*/ 0 h 369620"/>
              <a:gd name="connsiteX0" fmla="*/ 6281 w 1932545"/>
              <a:gd name="connsiteY0" fmla="*/ 0 h 369620"/>
              <a:gd name="connsiteX1" fmla="*/ 1932545 w 1932545"/>
              <a:gd name="connsiteY1" fmla="*/ 0 h 369620"/>
              <a:gd name="connsiteX2" fmla="*/ 1744821 w 1932545"/>
              <a:gd name="connsiteY2" fmla="*/ 363338 h 369620"/>
              <a:gd name="connsiteX3" fmla="*/ 0 w 1932545"/>
              <a:gd name="connsiteY3" fmla="*/ 369620 h 369620"/>
              <a:gd name="connsiteX4" fmla="*/ 6281 w 1932545"/>
              <a:gd name="connsiteY4" fmla="*/ 0 h 369620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25132 w 1926264"/>
              <a:gd name="connsiteY3" fmla="*/ 357055 h 363338"/>
              <a:gd name="connsiteX4" fmla="*/ 0 w 1926264"/>
              <a:gd name="connsiteY4" fmla="*/ 0 h 363338"/>
              <a:gd name="connsiteX0" fmla="*/ 12564 w 1938828"/>
              <a:gd name="connsiteY0" fmla="*/ 0 h 363338"/>
              <a:gd name="connsiteX1" fmla="*/ 1938828 w 1938828"/>
              <a:gd name="connsiteY1" fmla="*/ 0 h 363338"/>
              <a:gd name="connsiteX2" fmla="*/ 1751104 w 1938828"/>
              <a:gd name="connsiteY2" fmla="*/ 363338 h 363338"/>
              <a:gd name="connsiteX3" fmla="*/ 0 w 1938828"/>
              <a:gd name="connsiteY3" fmla="*/ 363338 h 363338"/>
              <a:gd name="connsiteX4" fmla="*/ 12564 w 1938828"/>
              <a:gd name="connsiteY4" fmla="*/ 0 h 363338"/>
              <a:gd name="connsiteX0" fmla="*/ 0 w 1926264"/>
              <a:gd name="connsiteY0" fmla="*/ 0 h 369621"/>
              <a:gd name="connsiteX1" fmla="*/ 1926264 w 1926264"/>
              <a:gd name="connsiteY1" fmla="*/ 0 h 369621"/>
              <a:gd name="connsiteX2" fmla="*/ 1738540 w 1926264"/>
              <a:gd name="connsiteY2" fmla="*/ 363338 h 369621"/>
              <a:gd name="connsiteX3" fmla="*/ 6284 w 1926264"/>
              <a:gd name="connsiteY3" fmla="*/ 369621 h 369621"/>
              <a:gd name="connsiteX4" fmla="*/ 0 w 1926264"/>
              <a:gd name="connsiteY4" fmla="*/ 0 h 369621"/>
              <a:gd name="connsiteX0" fmla="*/ 43978 w 1970242"/>
              <a:gd name="connsiteY0" fmla="*/ 0 h 363339"/>
              <a:gd name="connsiteX1" fmla="*/ 1970242 w 1970242"/>
              <a:gd name="connsiteY1" fmla="*/ 0 h 363339"/>
              <a:gd name="connsiteX2" fmla="*/ 1782518 w 1970242"/>
              <a:gd name="connsiteY2" fmla="*/ 363338 h 363339"/>
              <a:gd name="connsiteX3" fmla="*/ 0 w 1970242"/>
              <a:gd name="connsiteY3" fmla="*/ 363339 h 363339"/>
              <a:gd name="connsiteX4" fmla="*/ 43978 w 1970242"/>
              <a:gd name="connsiteY4" fmla="*/ 0 h 363339"/>
              <a:gd name="connsiteX0" fmla="*/ 0 w 1926264"/>
              <a:gd name="connsiteY0" fmla="*/ 0 h 363339"/>
              <a:gd name="connsiteX1" fmla="*/ 1926264 w 1926264"/>
              <a:gd name="connsiteY1" fmla="*/ 0 h 363339"/>
              <a:gd name="connsiteX2" fmla="*/ 1738540 w 1926264"/>
              <a:gd name="connsiteY2" fmla="*/ 363338 h 363339"/>
              <a:gd name="connsiteX3" fmla="*/ 1 w 1926264"/>
              <a:gd name="connsiteY3" fmla="*/ 363339 h 363339"/>
              <a:gd name="connsiteX4" fmla="*/ 0 w 1926264"/>
              <a:gd name="connsiteY4" fmla="*/ 0 h 363339"/>
              <a:gd name="connsiteX0" fmla="*/ 469670 w 1926263"/>
              <a:gd name="connsiteY0" fmla="*/ 0 h 363339"/>
              <a:gd name="connsiteX1" fmla="*/ 1926263 w 1926263"/>
              <a:gd name="connsiteY1" fmla="*/ 0 h 363339"/>
              <a:gd name="connsiteX2" fmla="*/ 1738539 w 1926263"/>
              <a:gd name="connsiteY2" fmla="*/ 363338 h 363339"/>
              <a:gd name="connsiteX3" fmla="*/ 0 w 1926263"/>
              <a:gd name="connsiteY3" fmla="*/ 363339 h 363339"/>
              <a:gd name="connsiteX4" fmla="*/ 469670 w 1926263"/>
              <a:gd name="connsiteY4" fmla="*/ 0 h 363339"/>
              <a:gd name="connsiteX0" fmla="*/ 0 w 1456593"/>
              <a:gd name="connsiteY0" fmla="*/ 0 h 363339"/>
              <a:gd name="connsiteX1" fmla="*/ 1456593 w 1456593"/>
              <a:gd name="connsiteY1" fmla="*/ 0 h 363339"/>
              <a:gd name="connsiteX2" fmla="*/ 1268869 w 1456593"/>
              <a:gd name="connsiteY2" fmla="*/ 363338 h 363339"/>
              <a:gd name="connsiteX3" fmla="*/ 1 w 1456593"/>
              <a:gd name="connsiteY3" fmla="*/ 363339 h 363339"/>
              <a:gd name="connsiteX4" fmla="*/ 0 w 1456593"/>
              <a:gd name="connsiteY4" fmla="*/ 0 h 3633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56593" h="363339">
                <a:moveTo>
                  <a:pt x="0" y="0"/>
                </a:moveTo>
                <a:lnTo>
                  <a:pt x="1456593" y="0"/>
                </a:lnTo>
                <a:lnTo>
                  <a:pt x="1268869" y="363338"/>
                </a:lnTo>
                <a:lnTo>
                  <a:pt x="1" y="363339"/>
                </a:lnTo>
                <a:cubicBezTo>
                  <a:pt x="1" y="242226"/>
                  <a:pt x="0" y="121113"/>
                  <a:pt x="0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ecome safer!</a:t>
            </a:r>
            <a:br>
              <a:rPr lang="en-US" dirty="0"/>
            </a:br>
            <a:r>
              <a:rPr lang="en-US" sz="2500" b="0" dirty="0">
                <a:solidFill>
                  <a:schemeClr val="accent1"/>
                </a:solidFill>
              </a:rPr>
              <a:t>Protect your people and your products.</a:t>
            </a:r>
            <a:endParaRPr lang="pl-PL" sz="2500" b="0" dirty="0">
              <a:solidFill>
                <a:schemeClr val="accent1"/>
              </a:solidFill>
            </a:endParaRPr>
          </a:p>
        </p:txBody>
      </p:sp>
      <p:sp>
        <p:nvSpPr>
          <p:cNvPr id="5" name="AutoShape 4" descr="The history of the logo - Safe Solution">
            <a:extLst>
              <a:ext uri="{FF2B5EF4-FFF2-40B4-BE49-F238E27FC236}">
                <a16:creationId xmlns:a16="http://schemas.microsoft.com/office/drawing/2014/main" id="{EA537C95-9E24-4272-A5AC-7482467221E1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80D49FDA-AED0-48F3-BE9E-5760C85869F4}"/>
              </a:ext>
            </a:extLst>
          </p:cNvPr>
          <p:cNvSpPr/>
          <p:nvPr/>
        </p:nvSpPr>
        <p:spPr>
          <a:xfrm>
            <a:off x="312884" y="2720552"/>
            <a:ext cx="5172276" cy="1800493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180975" lvl="0" indent="-180975">
              <a:spcAft>
                <a:spcPts val="900"/>
              </a:spcAft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prstClr val="black"/>
                </a:solidFill>
              </a:rPr>
              <a:t>Existing PT910 </a:t>
            </a:r>
            <a:r>
              <a:rPr lang="en-US" sz="1600" dirty="0"/>
              <a:t>systems offer </a:t>
            </a:r>
            <a:r>
              <a:rPr lang="en-US" sz="1600" dirty="0">
                <a:solidFill>
                  <a:prstClr val="black"/>
                </a:solidFill>
              </a:rPr>
              <a:t>certain advantages for manufacturers with complex, thin- and thick-walled components, </a:t>
            </a:r>
            <a:r>
              <a:rPr lang="en-US" sz="1600" b="1" dirty="0">
                <a:solidFill>
                  <a:schemeClr val="accent6"/>
                </a:solidFill>
              </a:rPr>
              <a:t>BUT</a:t>
            </a:r>
          </a:p>
          <a:p>
            <a:pPr marL="180975" lvl="0" indent="-180975">
              <a:spcAft>
                <a:spcPts val="900"/>
              </a:spcAft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prstClr val="black"/>
                </a:solidFill>
              </a:rPr>
              <a:t>PT910 systems are classified as </a:t>
            </a:r>
            <a:r>
              <a:rPr lang="en-US" sz="1600" b="1" dirty="0">
                <a:solidFill>
                  <a:schemeClr val="accent6"/>
                </a:solidFill>
              </a:rPr>
              <a:t>Repr. Cat. 1B</a:t>
            </a:r>
          </a:p>
          <a:p>
            <a:pPr marL="180975" lvl="0" indent="-180975">
              <a:spcAft>
                <a:spcPts val="900"/>
              </a:spcAft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US" sz="1600" dirty="0"/>
              <a:t>PT910 systems are a </a:t>
            </a:r>
            <a:r>
              <a:rPr lang="en-US" sz="1600" b="1" dirty="0">
                <a:solidFill>
                  <a:schemeClr val="accent6"/>
                </a:solidFill>
              </a:rPr>
              <a:t>danger to the health </a:t>
            </a:r>
            <a:r>
              <a:rPr lang="en-US" sz="1600" dirty="0"/>
              <a:t>of the applicator and the environment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12B4F9E8-6409-44E9-A73F-0DE76B24C7AD}"/>
              </a:ext>
            </a:extLst>
          </p:cNvPr>
          <p:cNvSpPr/>
          <p:nvPr/>
        </p:nvSpPr>
        <p:spPr>
          <a:xfrm>
            <a:off x="6248400" y="2725313"/>
            <a:ext cx="5309710" cy="2405194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180975" lvl="0" indent="-180975">
              <a:spcAft>
                <a:spcPts val="9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prstClr val="black"/>
                </a:solidFill>
              </a:rPr>
              <a:t>EnergX</a:t>
            </a:r>
            <a:r>
              <a:rPr lang="en-US" sz="1600" dirty="0">
                <a:solidFill>
                  <a:prstClr val="black"/>
                </a:solidFill>
              </a:rPr>
              <a:t> ULTRA offers a wide curing window with a high process stability, retaining important product features for thick- and thin-walled components, </a:t>
            </a:r>
            <a:r>
              <a:rPr lang="en-US" sz="1600" b="1" dirty="0">
                <a:solidFill>
                  <a:schemeClr val="accent2"/>
                </a:solidFill>
              </a:rPr>
              <a:t>AND</a:t>
            </a:r>
          </a:p>
          <a:p>
            <a:pPr marL="180975" lvl="0" indent="-180975">
              <a:spcAft>
                <a:spcPts val="9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prstClr val="black"/>
                </a:solidFill>
              </a:rPr>
              <a:t>EnergX</a:t>
            </a:r>
            <a:r>
              <a:rPr lang="en-US" sz="1600" dirty="0">
                <a:solidFill>
                  <a:prstClr val="black"/>
                </a:solidFill>
              </a:rPr>
              <a:t> ULTRA is</a:t>
            </a:r>
            <a:r>
              <a:rPr lang="en-US" sz="1600" dirty="0">
                <a:solidFill>
                  <a:schemeClr val="accent2"/>
                </a:solidFill>
              </a:rPr>
              <a:t> </a:t>
            </a:r>
            <a:r>
              <a:rPr lang="en-US" sz="1600" dirty="0">
                <a:solidFill>
                  <a:prstClr val="black"/>
                </a:solidFill>
              </a:rPr>
              <a:t>specifically </a:t>
            </a:r>
            <a:r>
              <a:rPr lang="en-US" sz="1600" b="1" dirty="0">
                <a:solidFill>
                  <a:schemeClr val="accent2"/>
                </a:solidFill>
              </a:rPr>
              <a:t>formulated without CMR </a:t>
            </a:r>
            <a:r>
              <a:rPr lang="en-US" sz="1600" dirty="0">
                <a:solidFill>
                  <a:prstClr val="black"/>
                </a:solidFill>
              </a:rPr>
              <a:t>(NIA*)</a:t>
            </a:r>
          </a:p>
          <a:p>
            <a:pPr marL="180975" lvl="0" indent="-180975">
              <a:spcAft>
                <a:spcPts val="9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prstClr val="black"/>
                </a:solidFill>
              </a:rPr>
              <a:t>EnergX</a:t>
            </a:r>
            <a:r>
              <a:rPr lang="en-US" sz="1600" dirty="0">
                <a:solidFill>
                  <a:prstClr val="black"/>
                </a:solidFill>
              </a:rPr>
              <a:t> ULTRA is </a:t>
            </a:r>
            <a:r>
              <a:rPr lang="en-US" sz="1600" b="1" dirty="0">
                <a:solidFill>
                  <a:schemeClr val="accent2"/>
                </a:solidFill>
              </a:rPr>
              <a:t>no danger for the health </a:t>
            </a:r>
            <a:r>
              <a:rPr lang="en-US" sz="1600" dirty="0">
                <a:solidFill>
                  <a:prstClr val="black"/>
                </a:solidFill>
              </a:rPr>
              <a:t>of the applicator and the environment and is a safer option</a:t>
            </a:r>
            <a:endParaRPr lang="en-US" sz="1600" b="1" dirty="0">
              <a:solidFill>
                <a:schemeClr val="accent2"/>
              </a:solidFill>
            </a:endParaRPr>
          </a:p>
        </p:txBody>
      </p:sp>
      <p:sp>
        <p:nvSpPr>
          <p:cNvPr id="16" name="Slide Number Placeholder 2">
            <a:extLst>
              <a:ext uri="{FF2B5EF4-FFF2-40B4-BE49-F238E27FC236}">
                <a16:creationId xmlns:a16="http://schemas.microsoft.com/office/drawing/2014/main" id="{8E1B79D6-CAF5-BD4A-8B29-05018C14550D}"/>
              </a:ext>
            </a:extLst>
          </p:cNvPr>
          <p:cNvSpPr txBox="1">
            <a:spLocks/>
          </p:cNvSpPr>
          <p:nvPr/>
        </p:nvSpPr>
        <p:spPr>
          <a:xfrm>
            <a:off x="321503" y="6496407"/>
            <a:ext cx="455756" cy="17222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chemeClr val="tx2"/>
                </a:solidFill>
                <a:latin typeface="+mn-lt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666666"/>
                </a:solidFill>
                <a:latin typeface="Arial" panose="020B0604020202020204"/>
              </a:rPr>
              <a:t>15</a:t>
            </a:r>
          </a:p>
        </p:txBody>
      </p:sp>
      <p:sp>
        <p:nvSpPr>
          <p:cNvPr id="17" name="Footer Placeholder 1">
            <a:extLst>
              <a:ext uri="{FF2B5EF4-FFF2-40B4-BE49-F238E27FC236}">
                <a16:creationId xmlns:a16="http://schemas.microsoft.com/office/drawing/2014/main" id="{A85D209C-5095-534E-90EE-1F81158E0FCD}"/>
              </a:ext>
            </a:extLst>
          </p:cNvPr>
          <p:cNvSpPr txBox="1">
            <a:spLocks/>
          </p:cNvSpPr>
          <p:nvPr/>
        </p:nvSpPr>
        <p:spPr>
          <a:xfrm>
            <a:off x="763811" y="6496407"/>
            <a:ext cx="9460550" cy="17222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chemeClr val="tx2"/>
                </a:solidFill>
                <a:latin typeface="+mn-lt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666666"/>
                </a:solidFill>
                <a:latin typeface="Arial" panose="020B0604020202020204"/>
              </a:rPr>
              <a:t>Powder Coatings from PPG ©2023 PPG Industries, Inc. All rights reserved</a:t>
            </a:r>
          </a:p>
        </p:txBody>
      </p:sp>
      <p:pic>
        <p:nvPicPr>
          <p:cNvPr id="14338" name="Picture 2" descr="BAuA - Einstufung und Kennzeichnung - Einstufung und Kennzeichnung -  Bundesanstalt für Arbeitsschutz und Arbeitsmedizin">
            <a:extLst>
              <a:ext uri="{FF2B5EF4-FFF2-40B4-BE49-F238E27FC236}">
                <a16:creationId xmlns:a16="http://schemas.microsoft.com/office/drawing/2014/main" id="{5B67F240-EFF7-4D0C-9CAB-8D9968A939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93034" y="1537677"/>
            <a:ext cx="887075" cy="887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D93A57E4-F0FC-9444-9C31-4E9B5D7D50E8}"/>
              </a:ext>
            </a:extLst>
          </p:cNvPr>
          <p:cNvSpPr txBox="1"/>
          <p:nvPr/>
        </p:nvSpPr>
        <p:spPr>
          <a:xfrm>
            <a:off x="396192" y="1511561"/>
            <a:ext cx="326202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bg1"/>
                </a:solidFill>
              </a:rPr>
              <a:t>The issues of existing PT910 systems</a:t>
            </a:r>
          </a:p>
        </p:txBody>
      </p:sp>
      <p:sp>
        <p:nvSpPr>
          <p:cNvPr id="24" name="Freeform 23">
            <a:extLst>
              <a:ext uri="{FF2B5EF4-FFF2-40B4-BE49-F238E27FC236}">
                <a16:creationId xmlns:a16="http://schemas.microsoft.com/office/drawing/2014/main" id="{7C0F652E-8760-7440-9C9C-34A7CFAF262B}"/>
              </a:ext>
            </a:extLst>
          </p:cNvPr>
          <p:cNvSpPr/>
          <p:nvPr/>
        </p:nvSpPr>
        <p:spPr>
          <a:xfrm>
            <a:off x="6284708" y="1452077"/>
            <a:ext cx="4197036" cy="1046930"/>
          </a:xfrm>
          <a:custGeom>
            <a:avLst/>
            <a:gdLst>
              <a:gd name="connsiteX0" fmla="*/ 0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0 w 2676588"/>
              <a:gd name="connsiteY4" fmla="*/ 0 h 363338"/>
              <a:gd name="connsiteX0" fmla="*/ 888545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888545 w 2676588"/>
              <a:gd name="connsiteY4" fmla="*/ 0 h 363338"/>
              <a:gd name="connsiteX0" fmla="*/ 0 w 1788043"/>
              <a:gd name="connsiteY0" fmla="*/ 0 h 363338"/>
              <a:gd name="connsiteX1" fmla="*/ 1788043 w 1788043"/>
              <a:gd name="connsiteY1" fmla="*/ 0 h 363338"/>
              <a:gd name="connsiteX2" fmla="*/ 1600319 w 1788043"/>
              <a:gd name="connsiteY2" fmla="*/ 363338 h 363338"/>
              <a:gd name="connsiteX3" fmla="*/ 0 w 1788043"/>
              <a:gd name="connsiteY3" fmla="*/ 363338 h 363338"/>
              <a:gd name="connsiteX4" fmla="*/ 0 w 1788043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138221 w 1926264"/>
              <a:gd name="connsiteY3" fmla="*/ 363338 h 363338"/>
              <a:gd name="connsiteX4" fmla="*/ 0 w 1926264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6284 w 1926264"/>
              <a:gd name="connsiteY3" fmla="*/ 363338 h 363338"/>
              <a:gd name="connsiteX4" fmla="*/ 0 w 1926264"/>
              <a:gd name="connsiteY4" fmla="*/ 0 h 363338"/>
              <a:gd name="connsiteX0" fmla="*/ 43978 w 1970242"/>
              <a:gd name="connsiteY0" fmla="*/ 0 h 363338"/>
              <a:gd name="connsiteX1" fmla="*/ 1970242 w 1970242"/>
              <a:gd name="connsiteY1" fmla="*/ 0 h 363338"/>
              <a:gd name="connsiteX2" fmla="*/ 1782518 w 1970242"/>
              <a:gd name="connsiteY2" fmla="*/ 363338 h 363338"/>
              <a:gd name="connsiteX3" fmla="*/ 0 w 1970242"/>
              <a:gd name="connsiteY3" fmla="*/ 363338 h 363338"/>
              <a:gd name="connsiteX4" fmla="*/ 43978 w 1970242"/>
              <a:gd name="connsiteY4" fmla="*/ 0 h 363338"/>
              <a:gd name="connsiteX0" fmla="*/ 0 w 1926264"/>
              <a:gd name="connsiteY0" fmla="*/ 0 h 369620"/>
              <a:gd name="connsiteX1" fmla="*/ 1926264 w 1926264"/>
              <a:gd name="connsiteY1" fmla="*/ 0 h 369620"/>
              <a:gd name="connsiteX2" fmla="*/ 1738540 w 1926264"/>
              <a:gd name="connsiteY2" fmla="*/ 363338 h 369620"/>
              <a:gd name="connsiteX3" fmla="*/ 6284 w 1926264"/>
              <a:gd name="connsiteY3" fmla="*/ 369620 h 369620"/>
              <a:gd name="connsiteX4" fmla="*/ 0 w 1926264"/>
              <a:gd name="connsiteY4" fmla="*/ 0 h 369620"/>
              <a:gd name="connsiteX0" fmla="*/ 6281 w 1932545"/>
              <a:gd name="connsiteY0" fmla="*/ 0 h 369620"/>
              <a:gd name="connsiteX1" fmla="*/ 1932545 w 1932545"/>
              <a:gd name="connsiteY1" fmla="*/ 0 h 369620"/>
              <a:gd name="connsiteX2" fmla="*/ 1744821 w 1932545"/>
              <a:gd name="connsiteY2" fmla="*/ 363338 h 369620"/>
              <a:gd name="connsiteX3" fmla="*/ 0 w 1932545"/>
              <a:gd name="connsiteY3" fmla="*/ 369620 h 369620"/>
              <a:gd name="connsiteX4" fmla="*/ 6281 w 1932545"/>
              <a:gd name="connsiteY4" fmla="*/ 0 h 369620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25132 w 1926264"/>
              <a:gd name="connsiteY3" fmla="*/ 357055 h 363338"/>
              <a:gd name="connsiteX4" fmla="*/ 0 w 1926264"/>
              <a:gd name="connsiteY4" fmla="*/ 0 h 363338"/>
              <a:gd name="connsiteX0" fmla="*/ 12564 w 1938828"/>
              <a:gd name="connsiteY0" fmla="*/ 0 h 363338"/>
              <a:gd name="connsiteX1" fmla="*/ 1938828 w 1938828"/>
              <a:gd name="connsiteY1" fmla="*/ 0 h 363338"/>
              <a:gd name="connsiteX2" fmla="*/ 1751104 w 1938828"/>
              <a:gd name="connsiteY2" fmla="*/ 363338 h 363338"/>
              <a:gd name="connsiteX3" fmla="*/ 0 w 1938828"/>
              <a:gd name="connsiteY3" fmla="*/ 363338 h 363338"/>
              <a:gd name="connsiteX4" fmla="*/ 12564 w 1938828"/>
              <a:gd name="connsiteY4" fmla="*/ 0 h 363338"/>
              <a:gd name="connsiteX0" fmla="*/ 0 w 1926264"/>
              <a:gd name="connsiteY0" fmla="*/ 0 h 369621"/>
              <a:gd name="connsiteX1" fmla="*/ 1926264 w 1926264"/>
              <a:gd name="connsiteY1" fmla="*/ 0 h 369621"/>
              <a:gd name="connsiteX2" fmla="*/ 1738540 w 1926264"/>
              <a:gd name="connsiteY2" fmla="*/ 363338 h 369621"/>
              <a:gd name="connsiteX3" fmla="*/ 6284 w 1926264"/>
              <a:gd name="connsiteY3" fmla="*/ 369621 h 369621"/>
              <a:gd name="connsiteX4" fmla="*/ 0 w 1926264"/>
              <a:gd name="connsiteY4" fmla="*/ 0 h 369621"/>
              <a:gd name="connsiteX0" fmla="*/ 43978 w 1970242"/>
              <a:gd name="connsiteY0" fmla="*/ 0 h 363339"/>
              <a:gd name="connsiteX1" fmla="*/ 1970242 w 1970242"/>
              <a:gd name="connsiteY1" fmla="*/ 0 h 363339"/>
              <a:gd name="connsiteX2" fmla="*/ 1782518 w 1970242"/>
              <a:gd name="connsiteY2" fmla="*/ 363338 h 363339"/>
              <a:gd name="connsiteX3" fmla="*/ 0 w 1970242"/>
              <a:gd name="connsiteY3" fmla="*/ 363339 h 363339"/>
              <a:gd name="connsiteX4" fmla="*/ 43978 w 1970242"/>
              <a:gd name="connsiteY4" fmla="*/ 0 h 363339"/>
              <a:gd name="connsiteX0" fmla="*/ 0 w 1926264"/>
              <a:gd name="connsiteY0" fmla="*/ 0 h 363339"/>
              <a:gd name="connsiteX1" fmla="*/ 1926264 w 1926264"/>
              <a:gd name="connsiteY1" fmla="*/ 0 h 363339"/>
              <a:gd name="connsiteX2" fmla="*/ 1738540 w 1926264"/>
              <a:gd name="connsiteY2" fmla="*/ 363338 h 363339"/>
              <a:gd name="connsiteX3" fmla="*/ 1 w 1926264"/>
              <a:gd name="connsiteY3" fmla="*/ 363339 h 363339"/>
              <a:gd name="connsiteX4" fmla="*/ 0 w 1926264"/>
              <a:gd name="connsiteY4" fmla="*/ 0 h 363339"/>
              <a:gd name="connsiteX0" fmla="*/ 469670 w 1926263"/>
              <a:gd name="connsiteY0" fmla="*/ 0 h 363339"/>
              <a:gd name="connsiteX1" fmla="*/ 1926263 w 1926263"/>
              <a:gd name="connsiteY1" fmla="*/ 0 h 363339"/>
              <a:gd name="connsiteX2" fmla="*/ 1738539 w 1926263"/>
              <a:gd name="connsiteY2" fmla="*/ 363338 h 363339"/>
              <a:gd name="connsiteX3" fmla="*/ 0 w 1926263"/>
              <a:gd name="connsiteY3" fmla="*/ 363339 h 363339"/>
              <a:gd name="connsiteX4" fmla="*/ 469670 w 1926263"/>
              <a:gd name="connsiteY4" fmla="*/ 0 h 363339"/>
              <a:gd name="connsiteX0" fmla="*/ 0 w 1456593"/>
              <a:gd name="connsiteY0" fmla="*/ 0 h 363339"/>
              <a:gd name="connsiteX1" fmla="*/ 1456593 w 1456593"/>
              <a:gd name="connsiteY1" fmla="*/ 0 h 363339"/>
              <a:gd name="connsiteX2" fmla="*/ 1268869 w 1456593"/>
              <a:gd name="connsiteY2" fmla="*/ 363338 h 363339"/>
              <a:gd name="connsiteX3" fmla="*/ 1 w 1456593"/>
              <a:gd name="connsiteY3" fmla="*/ 363339 h 363339"/>
              <a:gd name="connsiteX4" fmla="*/ 0 w 1456593"/>
              <a:gd name="connsiteY4" fmla="*/ 0 h 3633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56593" h="363339">
                <a:moveTo>
                  <a:pt x="0" y="0"/>
                </a:moveTo>
                <a:lnTo>
                  <a:pt x="1456593" y="0"/>
                </a:lnTo>
                <a:lnTo>
                  <a:pt x="1268869" y="363338"/>
                </a:lnTo>
                <a:lnTo>
                  <a:pt x="1" y="363339"/>
                </a:lnTo>
                <a:cubicBezTo>
                  <a:pt x="1" y="242226"/>
                  <a:pt x="0" y="121113"/>
                  <a:pt x="0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8C50E93-BA29-ED4A-AE8B-22D3F5424EBB}"/>
              </a:ext>
            </a:extLst>
          </p:cNvPr>
          <p:cNvSpPr txBox="1"/>
          <p:nvPr/>
        </p:nvSpPr>
        <p:spPr>
          <a:xfrm>
            <a:off x="6377092" y="1507614"/>
            <a:ext cx="326202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bg1"/>
                </a:solidFill>
              </a:rPr>
              <a:t>The benefits of </a:t>
            </a:r>
          </a:p>
          <a:p>
            <a:r>
              <a:rPr lang="en-US" sz="2000" b="1" dirty="0" err="1">
                <a:solidFill>
                  <a:schemeClr val="bg1"/>
                </a:solidFill>
              </a:rPr>
              <a:t>EnergX</a:t>
            </a:r>
            <a:r>
              <a:rPr lang="en-US" sz="2000" b="1" dirty="0">
                <a:solidFill>
                  <a:schemeClr val="bg1"/>
                </a:solidFill>
              </a:rPr>
              <a:t> ULTRA</a:t>
            </a:r>
          </a:p>
        </p:txBody>
      </p:sp>
      <p:pic>
        <p:nvPicPr>
          <p:cNvPr id="14342" name="Picture 6">
            <a:extLst>
              <a:ext uri="{FF2B5EF4-FFF2-40B4-BE49-F238E27FC236}">
                <a16:creationId xmlns:a16="http://schemas.microsoft.com/office/drawing/2014/main" id="{934700A6-6541-43AA-BC48-F6F9E1E62B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753320" y="1587871"/>
            <a:ext cx="804790" cy="8047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A023EEEB-9E42-484E-BEEC-58B6ED3ABF2D}"/>
              </a:ext>
            </a:extLst>
          </p:cNvPr>
          <p:cNvSpPr txBox="1"/>
          <p:nvPr/>
        </p:nvSpPr>
        <p:spPr>
          <a:xfrm>
            <a:off x="613458" y="5914663"/>
            <a:ext cx="38775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*CMR: </a:t>
            </a:r>
            <a:r>
              <a:rPr lang="en-US" sz="900" dirty="0">
                <a:solidFill>
                  <a:srgbClr val="242424"/>
                </a:solidFill>
              </a:rPr>
              <a:t>C</a:t>
            </a:r>
            <a:r>
              <a:rPr lang="en-US" sz="900" b="0" i="0" dirty="0">
                <a:solidFill>
                  <a:srgbClr val="242424"/>
                </a:solidFill>
                <a:effectLst/>
              </a:rPr>
              <a:t>ancerogenic, Mutagenic and Reprotoxic</a:t>
            </a:r>
            <a:endParaRPr lang="en-US" sz="900" dirty="0"/>
          </a:p>
          <a:p>
            <a:r>
              <a:rPr lang="en-US" sz="900" dirty="0"/>
              <a:t>  NIA: Not Intentionally Added</a:t>
            </a:r>
          </a:p>
        </p:txBody>
      </p:sp>
    </p:spTree>
    <p:extLst>
      <p:ext uri="{BB962C8B-B14F-4D97-AF65-F5344CB8AC3E}">
        <p14:creationId xmlns:p14="http://schemas.microsoft.com/office/powerpoint/2010/main" val="165091891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ecome stronger!</a:t>
            </a:r>
            <a:br>
              <a:rPr lang="en-US" dirty="0"/>
            </a:br>
            <a:r>
              <a:rPr lang="en-US" sz="2500" b="0" dirty="0">
                <a:solidFill>
                  <a:schemeClr val="accent1"/>
                </a:solidFill>
              </a:rPr>
              <a:t>Weathering resistance at the highest level.</a:t>
            </a:r>
            <a:endParaRPr lang="pl-PL" sz="2500" b="0" dirty="0">
              <a:solidFill>
                <a:schemeClr val="accent1"/>
              </a:solidFill>
            </a:endParaRPr>
          </a:p>
        </p:txBody>
      </p:sp>
      <p:graphicFrame>
        <p:nvGraphicFramePr>
          <p:cNvPr id="16" name="Diagramm 15">
            <a:extLst>
              <a:ext uri="{FF2B5EF4-FFF2-40B4-BE49-F238E27FC236}">
                <a16:creationId xmlns:a16="http://schemas.microsoft.com/office/drawing/2014/main" id="{07E32928-1044-416F-AE52-8615450C560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2424873"/>
              </p:ext>
            </p:extLst>
          </p:nvPr>
        </p:nvGraphicFramePr>
        <p:xfrm>
          <a:off x="203885" y="1418810"/>
          <a:ext cx="11213163" cy="39701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7" name="Textfeld 16">
            <a:extLst>
              <a:ext uri="{FF2B5EF4-FFF2-40B4-BE49-F238E27FC236}">
                <a16:creationId xmlns:a16="http://schemas.microsoft.com/office/drawing/2014/main" id="{FDDB3E9A-9BAA-44D1-B92F-21837C9DB585}"/>
              </a:ext>
            </a:extLst>
          </p:cNvPr>
          <p:cNvSpPr txBox="1"/>
          <p:nvPr/>
        </p:nvSpPr>
        <p:spPr>
          <a:xfrm>
            <a:off x="203886" y="1273881"/>
            <a:ext cx="24607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8853">
              <a:defRPr/>
            </a:pPr>
            <a:r>
              <a:rPr lang="en-US" sz="1600" b="1" dirty="0">
                <a:solidFill>
                  <a:prstClr val="black"/>
                </a:solidFill>
                <a:latin typeface="Arial" panose="020B0604020202020204"/>
              </a:rPr>
              <a:t>Gloss [GU] 60° Angle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3BE79E46-EA67-47C6-BDE3-77C4546B5226}"/>
              </a:ext>
            </a:extLst>
          </p:cNvPr>
          <p:cNvSpPr txBox="1"/>
          <p:nvPr/>
        </p:nvSpPr>
        <p:spPr>
          <a:xfrm>
            <a:off x="7612408" y="5044296"/>
            <a:ext cx="346199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50" dirty="0"/>
              <a:t>*Xenon test DIN ISO 16474-2 performed on color grey 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AFADE3DF-14F1-034F-82CD-F0C3ECB7059F}"/>
              </a:ext>
            </a:extLst>
          </p:cNvPr>
          <p:cNvSpPr txBox="1">
            <a:spLocks/>
          </p:cNvSpPr>
          <p:nvPr/>
        </p:nvSpPr>
        <p:spPr>
          <a:xfrm>
            <a:off x="321503" y="6496407"/>
            <a:ext cx="455756" cy="17222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chemeClr val="tx2"/>
                </a:solidFill>
                <a:latin typeface="+mn-lt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666666"/>
                </a:solidFill>
                <a:latin typeface="Arial" panose="020B0604020202020204"/>
              </a:rPr>
              <a:t>16</a:t>
            </a:r>
          </a:p>
        </p:txBody>
      </p:sp>
      <p:sp>
        <p:nvSpPr>
          <p:cNvPr id="11" name="Footer Placeholder 1">
            <a:extLst>
              <a:ext uri="{FF2B5EF4-FFF2-40B4-BE49-F238E27FC236}">
                <a16:creationId xmlns:a16="http://schemas.microsoft.com/office/drawing/2014/main" id="{DEEE6840-C9D3-E84A-BA88-90EE45CED5F8}"/>
              </a:ext>
            </a:extLst>
          </p:cNvPr>
          <p:cNvSpPr txBox="1">
            <a:spLocks/>
          </p:cNvSpPr>
          <p:nvPr/>
        </p:nvSpPr>
        <p:spPr>
          <a:xfrm>
            <a:off x="763811" y="6496407"/>
            <a:ext cx="9460550" cy="17222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chemeClr val="tx2"/>
                </a:solidFill>
                <a:latin typeface="+mn-lt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666666"/>
                </a:solidFill>
                <a:latin typeface="Arial" panose="020B0604020202020204"/>
              </a:rPr>
              <a:t>Powder Coatings from PPG ©2023 PPG Industries, Inc. All rights reserved</a:t>
            </a:r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61BF47FE-11D4-E143-9D56-55D0D47A45BF}"/>
              </a:ext>
            </a:extLst>
          </p:cNvPr>
          <p:cNvSpPr/>
          <p:nvPr/>
        </p:nvSpPr>
        <p:spPr>
          <a:xfrm>
            <a:off x="-1" y="5621044"/>
            <a:ext cx="8795657" cy="648000"/>
          </a:xfrm>
          <a:custGeom>
            <a:avLst/>
            <a:gdLst>
              <a:gd name="connsiteX0" fmla="*/ 0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0 w 2676588"/>
              <a:gd name="connsiteY4" fmla="*/ 0 h 363338"/>
              <a:gd name="connsiteX0" fmla="*/ 888545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888545 w 2676588"/>
              <a:gd name="connsiteY4" fmla="*/ 0 h 363338"/>
              <a:gd name="connsiteX0" fmla="*/ 0 w 1788043"/>
              <a:gd name="connsiteY0" fmla="*/ 0 h 363338"/>
              <a:gd name="connsiteX1" fmla="*/ 1788043 w 1788043"/>
              <a:gd name="connsiteY1" fmla="*/ 0 h 363338"/>
              <a:gd name="connsiteX2" fmla="*/ 1600319 w 1788043"/>
              <a:gd name="connsiteY2" fmla="*/ 363338 h 363338"/>
              <a:gd name="connsiteX3" fmla="*/ 0 w 1788043"/>
              <a:gd name="connsiteY3" fmla="*/ 363338 h 363338"/>
              <a:gd name="connsiteX4" fmla="*/ 0 w 1788043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138221 w 1926264"/>
              <a:gd name="connsiteY3" fmla="*/ 363338 h 363338"/>
              <a:gd name="connsiteX4" fmla="*/ 0 w 1926264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6284 w 1926264"/>
              <a:gd name="connsiteY3" fmla="*/ 363338 h 363338"/>
              <a:gd name="connsiteX4" fmla="*/ 0 w 1926264"/>
              <a:gd name="connsiteY4" fmla="*/ 0 h 363338"/>
              <a:gd name="connsiteX0" fmla="*/ 43978 w 1970242"/>
              <a:gd name="connsiteY0" fmla="*/ 0 h 363338"/>
              <a:gd name="connsiteX1" fmla="*/ 1970242 w 1970242"/>
              <a:gd name="connsiteY1" fmla="*/ 0 h 363338"/>
              <a:gd name="connsiteX2" fmla="*/ 1782518 w 1970242"/>
              <a:gd name="connsiteY2" fmla="*/ 363338 h 363338"/>
              <a:gd name="connsiteX3" fmla="*/ 0 w 1970242"/>
              <a:gd name="connsiteY3" fmla="*/ 363338 h 363338"/>
              <a:gd name="connsiteX4" fmla="*/ 43978 w 1970242"/>
              <a:gd name="connsiteY4" fmla="*/ 0 h 363338"/>
              <a:gd name="connsiteX0" fmla="*/ 0 w 1926264"/>
              <a:gd name="connsiteY0" fmla="*/ 0 h 369620"/>
              <a:gd name="connsiteX1" fmla="*/ 1926264 w 1926264"/>
              <a:gd name="connsiteY1" fmla="*/ 0 h 369620"/>
              <a:gd name="connsiteX2" fmla="*/ 1738540 w 1926264"/>
              <a:gd name="connsiteY2" fmla="*/ 363338 h 369620"/>
              <a:gd name="connsiteX3" fmla="*/ 6284 w 1926264"/>
              <a:gd name="connsiteY3" fmla="*/ 369620 h 369620"/>
              <a:gd name="connsiteX4" fmla="*/ 0 w 1926264"/>
              <a:gd name="connsiteY4" fmla="*/ 0 h 369620"/>
              <a:gd name="connsiteX0" fmla="*/ 6281 w 1932545"/>
              <a:gd name="connsiteY0" fmla="*/ 0 h 369620"/>
              <a:gd name="connsiteX1" fmla="*/ 1932545 w 1932545"/>
              <a:gd name="connsiteY1" fmla="*/ 0 h 369620"/>
              <a:gd name="connsiteX2" fmla="*/ 1744821 w 1932545"/>
              <a:gd name="connsiteY2" fmla="*/ 363338 h 369620"/>
              <a:gd name="connsiteX3" fmla="*/ 0 w 1932545"/>
              <a:gd name="connsiteY3" fmla="*/ 369620 h 369620"/>
              <a:gd name="connsiteX4" fmla="*/ 6281 w 1932545"/>
              <a:gd name="connsiteY4" fmla="*/ 0 h 369620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25132 w 1926264"/>
              <a:gd name="connsiteY3" fmla="*/ 357055 h 363338"/>
              <a:gd name="connsiteX4" fmla="*/ 0 w 1926264"/>
              <a:gd name="connsiteY4" fmla="*/ 0 h 363338"/>
              <a:gd name="connsiteX0" fmla="*/ 12564 w 1938828"/>
              <a:gd name="connsiteY0" fmla="*/ 0 h 363338"/>
              <a:gd name="connsiteX1" fmla="*/ 1938828 w 1938828"/>
              <a:gd name="connsiteY1" fmla="*/ 0 h 363338"/>
              <a:gd name="connsiteX2" fmla="*/ 1751104 w 1938828"/>
              <a:gd name="connsiteY2" fmla="*/ 363338 h 363338"/>
              <a:gd name="connsiteX3" fmla="*/ 0 w 1938828"/>
              <a:gd name="connsiteY3" fmla="*/ 363338 h 363338"/>
              <a:gd name="connsiteX4" fmla="*/ 12564 w 1938828"/>
              <a:gd name="connsiteY4" fmla="*/ 0 h 363338"/>
              <a:gd name="connsiteX0" fmla="*/ 0 w 1926264"/>
              <a:gd name="connsiteY0" fmla="*/ 0 h 369621"/>
              <a:gd name="connsiteX1" fmla="*/ 1926264 w 1926264"/>
              <a:gd name="connsiteY1" fmla="*/ 0 h 369621"/>
              <a:gd name="connsiteX2" fmla="*/ 1738540 w 1926264"/>
              <a:gd name="connsiteY2" fmla="*/ 363338 h 369621"/>
              <a:gd name="connsiteX3" fmla="*/ 6284 w 1926264"/>
              <a:gd name="connsiteY3" fmla="*/ 369621 h 369621"/>
              <a:gd name="connsiteX4" fmla="*/ 0 w 1926264"/>
              <a:gd name="connsiteY4" fmla="*/ 0 h 369621"/>
              <a:gd name="connsiteX0" fmla="*/ 43978 w 1970242"/>
              <a:gd name="connsiteY0" fmla="*/ 0 h 363339"/>
              <a:gd name="connsiteX1" fmla="*/ 1970242 w 1970242"/>
              <a:gd name="connsiteY1" fmla="*/ 0 h 363339"/>
              <a:gd name="connsiteX2" fmla="*/ 1782518 w 1970242"/>
              <a:gd name="connsiteY2" fmla="*/ 363338 h 363339"/>
              <a:gd name="connsiteX3" fmla="*/ 0 w 1970242"/>
              <a:gd name="connsiteY3" fmla="*/ 363339 h 363339"/>
              <a:gd name="connsiteX4" fmla="*/ 43978 w 1970242"/>
              <a:gd name="connsiteY4" fmla="*/ 0 h 363339"/>
              <a:gd name="connsiteX0" fmla="*/ 0 w 1926264"/>
              <a:gd name="connsiteY0" fmla="*/ 0 h 363339"/>
              <a:gd name="connsiteX1" fmla="*/ 1926264 w 1926264"/>
              <a:gd name="connsiteY1" fmla="*/ 0 h 363339"/>
              <a:gd name="connsiteX2" fmla="*/ 1738540 w 1926264"/>
              <a:gd name="connsiteY2" fmla="*/ 363338 h 363339"/>
              <a:gd name="connsiteX3" fmla="*/ 1 w 1926264"/>
              <a:gd name="connsiteY3" fmla="*/ 363339 h 363339"/>
              <a:gd name="connsiteX4" fmla="*/ 0 w 1926264"/>
              <a:gd name="connsiteY4" fmla="*/ 0 h 363339"/>
              <a:gd name="connsiteX0" fmla="*/ 0 w 3440015"/>
              <a:gd name="connsiteY0" fmla="*/ 0 h 363339"/>
              <a:gd name="connsiteX1" fmla="*/ 3440015 w 3440015"/>
              <a:gd name="connsiteY1" fmla="*/ 0 h 363339"/>
              <a:gd name="connsiteX2" fmla="*/ 3252291 w 3440015"/>
              <a:gd name="connsiteY2" fmla="*/ 363338 h 363339"/>
              <a:gd name="connsiteX3" fmla="*/ 1513752 w 3440015"/>
              <a:gd name="connsiteY3" fmla="*/ 363339 h 363339"/>
              <a:gd name="connsiteX4" fmla="*/ 0 w 3440015"/>
              <a:gd name="connsiteY4" fmla="*/ 0 h 363339"/>
              <a:gd name="connsiteX0" fmla="*/ 0 w 3440015"/>
              <a:gd name="connsiteY0" fmla="*/ 0 h 363339"/>
              <a:gd name="connsiteX1" fmla="*/ 3440015 w 3440015"/>
              <a:gd name="connsiteY1" fmla="*/ 0 h 363339"/>
              <a:gd name="connsiteX2" fmla="*/ 3252291 w 3440015"/>
              <a:gd name="connsiteY2" fmla="*/ 363338 h 363339"/>
              <a:gd name="connsiteX3" fmla="*/ 1 w 3440015"/>
              <a:gd name="connsiteY3" fmla="*/ 363339 h 363339"/>
              <a:gd name="connsiteX4" fmla="*/ 0 w 3440015"/>
              <a:gd name="connsiteY4" fmla="*/ 0 h 363339"/>
              <a:gd name="connsiteX0" fmla="*/ 0 w 3440015"/>
              <a:gd name="connsiteY0" fmla="*/ 0 h 363339"/>
              <a:gd name="connsiteX1" fmla="*/ 3440015 w 3440015"/>
              <a:gd name="connsiteY1" fmla="*/ 0 h 363339"/>
              <a:gd name="connsiteX2" fmla="*/ 3252291 w 3440015"/>
              <a:gd name="connsiteY2" fmla="*/ 363338 h 363339"/>
              <a:gd name="connsiteX3" fmla="*/ 192223 w 3440015"/>
              <a:gd name="connsiteY3" fmla="*/ 363339 h 363339"/>
              <a:gd name="connsiteX4" fmla="*/ 0 w 3440015"/>
              <a:gd name="connsiteY4" fmla="*/ 0 h 363339"/>
              <a:gd name="connsiteX0" fmla="*/ 0 w 3247793"/>
              <a:gd name="connsiteY0" fmla="*/ 0 h 363339"/>
              <a:gd name="connsiteX1" fmla="*/ 3247793 w 3247793"/>
              <a:gd name="connsiteY1" fmla="*/ 0 h 363339"/>
              <a:gd name="connsiteX2" fmla="*/ 3060069 w 3247793"/>
              <a:gd name="connsiteY2" fmla="*/ 363338 h 363339"/>
              <a:gd name="connsiteX3" fmla="*/ 1 w 3247793"/>
              <a:gd name="connsiteY3" fmla="*/ 363339 h 363339"/>
              <a:gd name="connsiteX4" fmla="*/ 0 w 3247793"/>
              <a:gd name="connsiteY4" fmla="*/ 0 h 3633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47793" h="363339">
                <a:moveTo>
                  <a:pt x="0" y="0"/>
                </a:moveTo>
                <a:lnTo>
                  <a:pt x="3247793" y="0"/>
                </a:lnTo>
                <a:lnTo>
                  <a:pt x="3060069" y="363338"/>
                </a:lnTo>
                <a:lnTo>
                  <a:pt x="1" y="363339"/>
                </a:lnTo>
                <a:cubicBezTo>
                  <a:pt x="1" y="242226"/>
                  <a:pt x="0" y="121113"/>
                  <a:pt x="0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29">
            <a:extLst>
              <a:ext uri="{FF2B5EF4-FFF2-40B4-BE49-F238E27FC236}">
                <a16:creationId xmlns:a16="http://schemas.microsoft.com/office/drawing/2014/main" id="{BD6C9849-E989-714D-B56B-9B33CB8012C1}"/>
              </a:ext>
            </a:extLst>
          </p:cNvPr>
          <p:cNvSpPr/>
          <p:nvPr/>
        </p:nvSpPr>
        <p:spPr>
          <a:xfrm>
            <a:off x="289424" y="5623243"/>
            <a:ext cx="664375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b="1" dirty="0">
                <a:solidFill>
                  <a:prstClr val="white"/>
                </a:solidFill>
              </a:rPr>
              <a:t>Weathering performance much higher than with standard systems and at the level of standard ultradurable systems.</a:t>
            </a:r>
          </a:p>
        </p:txBody>
      </p:sp>
    </p:spTree>
    <p:extLst>
      <p:ext uri="{BB962C8B-B14F-4D97-AF65-F5344CB8AC3E}">
        <p14:creationId xmlns:p14="http://schemas.microsoft.com/office/powerpoint/2010/main" val="405502581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31A152C0-8AFC-4844-9784-79E8EF097C0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14390" y="4301720"/>
            <a:ext cx="8455769" cy="984333"/>
          </a:xfrm>
        </p:spPr>
        <p:txBody>
          <a:bodyPr/>
          <a:lstStyle/>
          <a:p>
            <a:r>
              <a:rPr lang="en-US" dirty="0">
                <a:solidFill>
                  <a:schemeClr val="accent1"/>
                </a:solidFill>
              </a:rPr>
              <a:t>Industrial Coatings from PPG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6F7D976E-4B80-994B-BD4F-44F4A1D883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14390" y="5353788"/>
            <a:ext cx="8455769" cy="640767"/>
          </a:xfrm>
        </p:spPr>
        <p:txBody>
          <a:bodyPr/>
          <a:lstStyle/>
          <a:p>
            <a:r>
              <a:rPr lang="en-US" dirty="0"/>
              <a:t>Presenter Name or Date</a:t>
            </a:r>
          </a:p>
        </p:txBody>
      </p:sp>
      <p:pic>
        <p:nvPicPr>
          <p:cNvPr id="7" name="Picture Placeholder 4">
            <a:extLst>
              <a:ext uri="{FF2B5EF4-FFF2-40B4-BE49-F238E27FC236}">
                <a16:creationId xmlns:a16="http://schemas.microsoft.com/office/drawing/2014/main" id="{108310FF-09B3-4F41-A05B-7743454EEE86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91"/>
          <a:stretch/>
        </p:blipFill>
        <p:spPr>
          <a:xfrm>
            <a:off x="-9525" y="1927225"/>
            <a:ext cx="12199938" cy="2117650"/>
          </a:xfrm>
        </p:spPr>
      </p:pic>
    </p:spTree>
    <p:extLst>
      <p:ext uri="{BB962C8B-B14F-4D97-AF65-F5344CB8AC3E}">
        <p14:creationId xmlns:p14="http://schemas.microsoft.com/office/powerpoint/2010/main" val="219425942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reeform 18">
            <a:extLst>
              <a:ext uri="{FF2B5EF4-FFF2-40B4-BE49-F238E27FC236}">
                <a16:creationId xmlns:a16="http://schemas.microsoft.com/office/drawing/2014/main" id="{C53A5AD1-0D5C-B345-9E8B-4883790D6342}"/>
              </a:ext>
            </a:extLst>
          </p:cNvPr>
          <p:cNvSpPr/>
          <p:nvPr/>
        </p:nvSpPr>
        <p:spPr>
          <a:xfrm rot="10800000">
            <a:off x="6116552" y="1398013"/>
            <a:ext cx="2158338" cy="497994"/>
          </a:xfrm>
          <a:custGeom>
            <a:avLst/>
            <a:gdLst>
              <a:gd name="connsiteX0" fmla="*/ 0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0 w 2676588"/>
              <a:gd name="connsiteY4" fmla="*/ 0 h 363338"/>
              <a:gd name="connsiteX0" fmla="*/ 888545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888545 w 2676588"/>
              <a:gd name="connsiteY4" fmla="*/ 0 h 363338"/>
              <a:gd name="connsiteX0" fmla="*/ 0 w 1788043"/>
              <a:gd name="connsiteY0" fmla="*/ 0 h 363338"/>
              <a:gd name="connsiteX1" fmla="*/ 1788043 w 1788043"/>
              <a:gd name="connsiteY1" fmla="*/ 0 h 363338"/>
              <a:gd name="connsiteX2" fmla="*/ 1600319 w 1788043"/>
              <a:gd name="connsiteY2" fmla="*/ 363338 h 363338"/>
              <a:gd name="connsiteX3" fmla="*/ 0 w 1788043"/>
              <a:gd name="connsiteY3" fmla="*/ 363338 h 363338"/>
              <a:gd name="connsiteX4" fmla="*/ 0 w 1788043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138221 w 1926264"/>
              <a:gd name="connsiteY3" fmla="*/ 363338 h 363338"/>
              <a:gd name="connsiteX4" fmla="*/ 0 w 1926264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6284 w 1926264"/>
              <a:gd name="connsiteY3" fmla="*/ 363338 h 363338"/>
              <a:gd name="connsiteX4" fmla="*/ 0 w 1926264"/>
              <a:gd name="connsiteY4" fmla="*/ 0 h 363338"/>
              <a:gd name="connsiteX0" fmla="*/ 43978 w 1970242"/>
              <a:gd name="connsiteY0" fmla="*/ 0 h 363338"/>
              <a:gd name="connsiteX1" fmla="*/ 1970242 w 1970242"/>
              <a:gd name="connsiteY1" fmla="*/ 0 h 363338"/>
              <a:gd name="connsiteX2" fmla="*/ 1782518 w 1970242"/>
              <a:gd name="connsiteY2" fmla="*/ 363338 h 363338"/>
              <a:gd name="connsiteX3" fmla="*/ 0 w 1970242"/>
              <a:gd name="connsiteY3" fmla="*/ 363338 h 363338"/>
              <a:gd name="connsiteX4" fmla="*/ 43978 w 1970242"/>
              <a:gd name="connsiteY4" fmla="*/ 0 h 363338"/>
              <a:gd name="connsiteX0" fmla="*/ 0 w 1926264"/>
              <a:gd name="connsiteY0" fmla="*/ 0 h 369620"/>
              <a:gd name="connsiteX1" fmla="*/ 1926264 w 1926264"/>
              <a:gd name="connsiteY1" fmla="*/ 0 h 369620"/>
              <a:gd name="connsiteX2" fmla="*/ 1738540 w 1926264"/>
              <a:gd name="connsiteY2" fmla="*/ 363338 h 369620"/>
              <a:gd name="connsiteX3" fmla="*/ 6284 w 1926264"/>
              <a:gd name="connsiteY3" fmla="*/ 369620 h 369620"/>
              <a:gd name="connsiteX4" fmla="*/ 0 w 1926264"/>
              <a:gd name="connsiteY4" fmla="*/ 0 h 369620"/>
              <a:gd name="connsiteX0" fmla="*/ 6281 w 1932545"/>
              <a:gd name="connsiteY0" fmla="*/ 0 h 369620"/>
              <a:gd name="connsiteX1" fmla="*/ 1932545 w 1932545"/>
              <a:gd name="connsiteY1" fmla="*/ 0 h 369620"/>
              <a:gd name="connsiteX2" fmla="*/ 1744821 w 1932545"/>
              <a:gd name="connsiteY2" fmla="*/ 363338 h 369620"/>
              <a:gd name="connsiteX3" fmla="*/ 0 w 1932545"/>
              <a:gd name="connsiteY3" fmla="*/ 369620 h 369620"/>
              <a:gd name="connsiteX4" fmla="*/ 6281 w 1932545"/>
              <a:gd name="connsiteY4" fmla="*/ 0 h 369620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25132 w 1926264"/>
              <a:gd name="connsiteY3" fmla="*/ 357055 h 363338"/>
              <a:gd name="connsiteX4" fmla="*/ 0 w 1926264"/>
              <a:gd name="connsiteY4" fmla="*/ 0 h 363338"/>
              <a:gd name="connsiteX0" fmla="*/ 12564 w 1938828"/>
              <a:gd name="connsiteY0" fmla="*/ 0 h 363338"/>
              <a:gd name="connsiteX1" fmla="*/ 1938828 w 1938828"/>
              <a:gd name="connsiteY1" fmla="*/ 0 h 363338"/>
              <a:gd name="connsiteX2" fmla="*/ 1751104 w 1938828"/>
              <a:gd name="connsiteY2" fmla="*/ 363338 h 363338"/>
              <a:gd name="connsiteX3" fmla="*/ 0 w 1938828"/>
              <a:gd name="connsiteY3" fmla="*/ 363338 h 363338"/>
              <a:gd name="connsiteX4" fmla="*/ 12564 w 1938828"/>
              <a:gd name="connsiteY4" fmla="*/ 0 h 363338"/>
              <a:gd name="connsiteX0" fmla="*/ 0 w 1926264"/>
              <a:gd name="connsiteY0" fmla="*/ 0 h 369621"/>
              <a:gd name="connsiteX1" fmla="*/ 1926264 w 1926264"/>
              <a:gd name="connsiteY1" fmla="*/ 0 h 369621"/>
              <a:gd name="connsiteX2" fmla="*/ 1738540 w 1926264"/>
              <a:gd name="connsiteY2" fmla="*/ 363338 h 369621"/>
              <a:gd name="connsiteX3" fmla="*/ 6284 w 1926264"/>
              <a:gd name="connsiteY3" fmla="*/ 369621 h 369621"/>
              <a:gd name="connsiteX4" fmla="*/ 0 w 1926264"/>
              <a:gd name="connsiteY4" fmla="*/ 0 h 369621"/>
              <a:gd name="connsiteX0" fmla="*/ 43978 w 1970242"/>
              <a:gd name="connsiteY0" fmla="*/ 0 h 363339"/>
              <a:gd name="connsiteX1" fmla="*/ 1970242 w 1970242"/>
              <a:gd name="connsiteY1" fmla="*/ 0 h 363339"/>
              <a:gd name="connsiteX2" fmla="*/ 1782518 w 1970242"/>
              <a:gd name="connsiteY2" fmla="*/ 363338 h 363339"/>
              <a:gd name="connsiteX3" fmla="*/ 0 w 1970242"/>
              <a:gd name="connsiteY3" fmla="*/ 363339 h 363339"/>
              <a:gd name="connsiteX4" fmla="*/ 43978 w 1970242"/>
              <a:gd name="connsiteY4" fmla="*/ 0 h 363339"/>
              <a:gd name="connsiteX0" fmla="*/ 0 w 1926264"/>
              <a:gd name="connsiteY0" fmla="*/ 0 h 363339"/>
              <a:gd name="connsiteX1" fmla="*/ 1926264 w 1926264"/>
              <a:gd name="connsiteY1" fmla="*/ 0 h 363339"/>
              <a:gd name="connsiteX2" fmla="*/ 1738540 w 1926264"/>
              <a:gd name="connsiteY2" fmla="*/ 363338 h 363339"/>
              <a:gd name="connsiteX3" fmla="*/ 1 w 1926264"/>
              <a:gd name="connsiteY3" fmla="*/ 363339 h 363339"/>
              <a:gd name="connsiteX4" fmla="*/ 0 w 1926264"/>
              <a:gd name="connsiteY4" fmla="*/ 0 h 363339"/>
              <a:gd name="connsiteX0" fmla="*/ 0 w 1926264"/>
              <a:gd name="connsiteY0" fmla="*/ 0 h 363339"/>
              <a:gd name="connsiteX1" fmla="*/ 1926264 w 1926264"/>
              <a:gd name="connsiteY1" fmla="*/ 0 h 363339"/>
              <a:gd name="connsiteX2" fmla="*/ 1678394 w 1926264"/>
              <a:gd name="connsiteY2" fmla="*/ 363338 h 363339"/>
              <a:gd name="connsiteX3" fmla="*/ 1 w 1926264"/>
              <a:gd name="connsiteY3" fmla="*/ 363339 h 363339"/>
              <a:gd name="connsiteX4" fmla="*/ 0 w 1926264"/>
              <a:gd name="connsiteY4" fmla="*/ 0 h 363339"/>
              <a:gd name="connsiteX0" fmla="*/ 0 w 1926264"/>
              <a:gd name="connsiteY0" fmla="*/ 0 h 363339"/>
              <a:gd name="connsiteX1" fmla="*/ 1926264 w 1926264"/>
              <a:gd name="connsiteY1" fmla="*/ 0 h 363339"/>
              <a:gd name="connsiteX2" fmla="*/ 1702453 w 1926264"/>
              <a:gd name="connsiteY2" fmla="*/ 363338 h 363339"/>
              <a:gd name="connsiteX3" fmla="*/ 1 w 1926264"/>
              <a:gd name="connsiteY3" fmla="*/ 363339 h 363339"/>
              <a:gd name="connsiteX4" fmla="*/ 0 w 1926264"/>
              <a:gd name="connsiteY4" fmla="*/ 0 h 363339"/>
              <a:gd name="connsiteX0" fmla="*/ 0 w 1926264"/>
              <a:gd name="connsiteY0" fmla="*/ 0 h 363339"/>
              <a:gd name="connsiteX1" fmla="*/ 1926264 w 1926264"/>
              <a:gd name="connsiteY1" fmla="*/ 0 h 363339"/>
              <a:gd name="connsiteX2" fmla="*/ 1714482 w 1926264"/>
              <a:gd name="connsiteY2" fmla="*/ 354072 h 363339"/>
              <a:gd name="connsiteX3" fmla="*/ 1 w 1926264"/>
              <a:gd name="connsiteY3" fmla="*/ 363339 h 363339"/>
              <a:gd name="connsiteX4" fmla="*/ 0 w 1926264"/>
              <a:gd name="connsiteY4" fmla="*/ 0 h 3633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6264" h="363339">
                <a:moveTo>
                  <a:pt x="0" y="0"/>
                </a:moveTo>
                <a:lnTo>
                  <a:pt x="1926264" y="0"/>
                </a:lnTo>
                <a:lnTo>
                  <a:pt x="1714482" y="354072"/>
                </a:lnTo>
                <a:lnTo>
                  <a:pt x="1" y="363339"/>
                </a:lnTo>
                <a:cubicBezTo>
                  <a:pt x="1" y="242226"/>
                  <a:pt x="0" y="121113"/>
                  <a:pt x="0" y="0"/>
                </a:cubicBezTo>
                <a:close/>
              </a:path>
            </a:pathLst>
          </a:custGeom>
          <a:solidFill>
            <a:schemeClr val="accent1"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Freeform 18">
            <a:extLst>
              <a:ext uri="{FF2B5EF4-FFF2-40B4-BE49-F238E27FC236}">
                <a16:creationId xmlns:a16="http://schemas.microsoft.com/office/drawing/2014/main" id="{78863461-9E5E-EE46-B9BB-44D0A62F81D8}"/>
              </a:ext>
            </a:extLst>
          </p:cNvPr>
          <p:cNvSpPr/>
          <p:nvPr/>
        </p:nvSpPr>
        <p:spPr>
          <a:xfrm rot="10800000">
            <a:off x="9067771" y="1397478"/>
            <a:ext cx="2158338" cy="497994"/>
          </a:xfrm>
          <a:custGeom>
            <a:avLst/>
            <a:gdLst>
              <a:gd name="connsiteX0" fmla="*/ 0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0 w 2676588"/>
              <a:gd name="connsiteY4" fmla="*/ 0 h 363338"/>
              <a:gd name="connsiteX0" fmla="*/ 888545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888545 w 2676588"/>
              <a:gd name="connsiteY4" fmla="*/ 0 h 363338"/>
              <a:gd name="connsiteX0" fmla="*/ 0 w 1788043"/>
              <a:gd name="connsiteY0" fmla="*/ 0 h 363338"/>
              <a:gd name="connsiteX1" fmla="*/ 1788043 w 1788043"/>
              <a:gd name="connsiteY1" fmla="*/ 0 h 363338"/>
              <a:gd name="connsiteX2" fmla="*/ 1600319 w 1788043"/>
              <a:gd name="connsiteY2" fmla="*/ 363338 h 363338"/>
              <a:gd name="connsiteX3" fmla="*/ 0 w 1788043"/>
              <a:gd name="connsiteY3" fmla="*/ 363338 h 363338"/>
              <a:gd name="connsiteX4" fmla="*/ 0 w 1788043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138221 w 1926264"/>
              <a:gd name="connsiteY3" fmla="*/ 363338 h 363338"/>
              <a:gd name="connsiteX4" fmla="*/ 0 w 1926264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6284 w 1926264"/>
              <a:gd name="connsiteY3" fmla="*/ 363338 h 363338"/>
              <a:gd name="connsiteX4" fmla="*/ 0 w 1926264"/>
              <a:gd name="connsiteY4" fmla="*/ 0 h 363338"/>
              <a:gd name="connsiteX0" fmla="*/ 43978 w 1970242"/>
              <a:gd name="connsiteY0" fmla="*/ 0 h 363338"/>
              <a:gd name="connsiteX1" fmla="*/ 1970242 w 1970242"/>
              <a:gd name="connsiteY1" fmla="*/ 0 h 363338"/>
              <a:gd name="connsiteX2" fmla="*/ 1782518 w 1970242"/>
              <a:gd name="connsiteY2" fmla="*/ 363338 h 363338"/>
              <a:gd name="connsiteX3" fmla="*/ 0 w 1970242"/>
              <a:gd name="connsiteY3" fmla="*/ 363338 h 363338"/>
              <a:gd name="connsiteX4" fmla="*/ 43978 w 1970242"/>
              <a:gd name="connsiteY4" fmla="*/ 0 h 363338"/>
              <a:gd name="connsiteX0" fmla="*/ 0 w 1926264"/>
              <a:gd name="connsiteY0" fmla="*/ 0 h 369620"/>
              <a:gd name="connsiteX1" fmla="*/ 1926264 w 1926264"/>
              <a:gd name="connsiteY1" fmla="*/ 0 h 369620"/>
              <a:gd name="connsiteX2" fmla="*/ 1738540 w 1926264"/>
              <a:gd name="connsiteY2" fmla="*/ 363338 h 369620"/>
              <a:gd name="connsiteX3" fmla="*/ 6284 w 1926264"/>
              <a:gd name="connsiteY3" fmla="*/ 369620 h 369620"/>
              <a:gd name="connsiteX4" fmla="*/ 0 w 1926264"/>
              <a:gd name="connsiteY4" fmla="*/ 0 h 369620"/>
              <a:gd name="connsiteX0" fmla="*/ 6281 w 1932545"/>
              <a:gd name="connsiteY0" fmla="*/ 0 h 369620"/>
              <a:gd name="connsiteX1" fmla="*/ 1932545 w 1932545"/>
              <a:gd name="connsiteY1" fmla="*/ 0 h 369620"/>
              <a:gd name="connsiteX2" fmla="*/ 1744821 w 1932545"/>
              <a:gd name="connsiteY2" fmla="*/ 363338 h 369620"/>
              <a:gd name="connsiteX3" fmla="*/ 0 w 1932545"/>
              <a:gd name="connsiteY3" fmla="*/ 369620 h 369620"/>
              <a:gd name="connsiteX4" fmla="*/ 6281 w 1932545"/>
              <a:gd name="connsiteY4" fmla="*/ 0 h 369620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25132 w 1926264"/>
              <a:gd name="connsiteY3" fmla="*/ 357055 h 363338"/>
              <a:gd name="connsiteX4" fmla="*/ 0 w 1926264"/>
              <a:gd name="connsiteY4" fmla="*/ 0 h 363338"/>
              <a:gd name="connsiteX0" fmla="*/ 12564 w 1938828"/>
              <a:gd name="connsiteY0" fmla="*/ 0 h 363338"/>
              <a:gd name="connsiteX1" fmla="*/ 1938828 w 1938828"/>
              <a:gd name="connsiteY1" fmla="*/ 0 h 363338"/>
              <a:gd name="connsiteX2" fmla="*/ 1751104 w 1938828"/>
              <a:gd name="connsiteY2" fmla="*/ 363338 h 363338"/>
              <a:gd name="connsiteX3" fmla="*/ 0 w 1938828"/>
              <a:gd name="connsiteY3" fmla="*/ 363338 h 363338"/>
              <a:gd name="connsiteX4" fmla="*/ 12564 w 1938828"/>
              <a:gd name="connsiteY4" fmla="*/ 0 h 363338"/>
              <a:gd name="connsiteX0" fmla="*/ 0 w 1926264"/>
              <a:gd name="connsiteY0" fmla="*/ 0 h 369621"/>
              <a:gd name="connsiteX1" fmla="*/ 1926264 w 1926264"/>
              <a:gd name="connsiteY1" fmla="*/ 0 h 369621"/>
              <a:gd name="connsiteX2" fmla="*/ 1738540 w 1926264"/>
              <a:gd name="connsiteY2" fmla="*/ 363338 h 369621"/>
              <a:gd name="connsiteX3" fmla="*/ 6284 w 1926264"/>
              <a:gd name="connsiteY3" fmla="*/ 369621 h 369621"/>
              <a:gd name="connsiteX4" fmla="*/ 0 w 1926264"/>
              <a:gd name="connsiteY4" fmla="*/ 0 h 369621"/>
              <a:gd name="connsiteX0" fmla="*/ 43978 w 1970242"/>
              <a:gd name="connsiteY0" fmla="*/ 0 h 363339"/>
              <a:gd name="connsiteX1" fmla="*/ 1970242 w 1970242"/>
              <a:gd name="connsiteY1" fmla="*/ 0 h 363339"/>
              <a:gd name="connsiteX2" fmla="*/ 1782518 w 1970242"/>
              <a:gd name="connsiteY2" fmla="*/ 363338 h 363339"/>
              <a:gd name="connsiteX3" fmla="*/ 0 w 1970242"/>
              <a:gd name="connsiteY3" fmla="*/ 363339 h 363339"/>
              <a:gd name="connsiteX4" fmla="*/ 43978 w 1970242"/>
              <a:gd name="connsiteY4" fmla="*/ 0 h 363339"/>
              <a:gd name="connsiteX0" fmla="*/ 0 w 1926264"/>
              <a:gd name="connsiteY0" fmla="*/ 0 h 363339"/>
              <a:gd name="connsiteX1" fmla="*/ 1926264 w 1926264"/>
              <a:gd name="connsiteY1" fmla="*/ 0 h 363339"/>
              <a:gd name="connsiteX2" fmla="*/ 1738540 w 1926264"/>
              <a:gd name="connsiteY2" fmla="*/ 363338 h 363339"/>
              <a:gd name="connsiteX3" fmla="*/ 1 w 1926264"/>
              <a:gd name="connsiteY3" fmla="*/ 363339 h 363339"/>
              <a:gd name="connsiteX4" fmla="*/ 0 w 1926264"/>
              <a:gd name="connsiteY4" fmla="*/ 0 h 363339"/>
              <a:gd name="connsiteX0" fmla="*/ 0 w 1926264"/>
              <a:gd name="connsiteY0" fmla="*/ 0 h 363339"/>
              <a:gd name="connsiteX1" fmla="*/ 1926264 w 1926264"/>
              <a:gd name="connsiteY1" fmla="*/ 0 h 363339"/>
              <a:gd name="connsiteX2" fmla="*/ 1678394 w 1926264"/>
              <a:gd name="connsiteY2" fmla="*/ 363338 h 363339"/>
              <a:gd name="connsiteX3" fmla="*/ 1 w 1926264"/>
              <a:gd name="connsiteY3" fmla="*/ 363339 h 363339"/>
              <a:gd name="connsiteX4" fmla="*/ 0 w 1926264"/>
              <a:gd name="connsiteY4" fmla="*/ 0 h 363339"/>
              <a:gd name="connsiteX0" fmla="*/ 0 w 1926264"/>
              <a:gd name="connsiteY0" fmla="*/ 0 h 363339"/>
              <a:gd name="connsiteX1" fmla="*/ 1926264 w 1926264"/>
              <a:gd name="connsiteY1" fmla="*/ 0 h 363339"/>
              <a:gd name="connsiteX2" fmla="*/ 1702453 w 1926264"/>
              <a:gd name="connsiteY2" fmla="*/ 363338 h 363339"/>
              <a:gd name="connsiteX3" fmla="*/ 1 w 1926264"/>
              <a:gd name="connsiteY3" fmla="*/ 363339 h 363339"/>
              <a:gd name="connsiteX4" fmla="*/ 0 w 1926264"/>
              <a:gd name="connsiteY4" fmla="*/ 0 h 363339"/>
              <a:gd name="connsiteX0" fmla="*/ 0 w 1926264"/>
              <a:gd name="connsiteY0" fmla="*/ 0 h 363339"/>
              <a:gd name="connsiteX1" fmla="*/ 1926264 w 1926264"/>
              <a:gd name="connsiteY1" fmla="*/ 0 h 363339"/>
              <a:gd name="connsiteX2" fmla="*/ 1714482 w 1926264"/>
              <a:gd name="connsiteY2" fmla="*/ 354072 h 363339"/>
              <a:gd name="connsiteX3" fmla="*/ 1 w 1926264"/>
              <a:gd name="connsiteY3" fmla="*/ 363339 h 363339"/>
              <a:gd name="connsiteX4" fmla="*/ 0 w 1926264"/>
              <a:gd name="connsiteY4" fmla="*/ 0 h 3633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6264" h="363339">
                <a:moveTo>
                  <a:pt x="0" y="0"/>
                </a:moveTo>
                <a:lnTo>
                  <a:pt x="1926264" y="0"/>
                </a:lnTo>
                <a:lnTo>
                  <a:pt x="1714482" y="354072"/>
                </a:lnTo>
                <a:lnTo>
                  <a:pt x="1" y="363339"/>
                </a:lnTo>
                <a:cubicBezTo>
                  <a:pt x="1" y="242226"/>
                  <a:pt x="0" y="121113"/>
                  <a:pt x="0" y="0"/>
                </a:cubicBezTo>
                <a:close/>
              </a:path>
            </a:pathLst>
          </a:custGeom>
          <a:solidFill>
            <a:schemeClr val="accent1"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Freeform 18">
            <a:extLst>
              <a:ext uri="{FF2B5EF4-FFF2-40B4-BE49-F238E27FC236}">
                <a16:creationId xmlns:a16="http://schemas.microsoft.com/office/drawing/2014/main" id="{4F46F34C-123D-8A47-9E88-DA68DBD0621A}"/>
              </a:ext>
            </a:extLst>
          </p:cNvPr>
          <p:cNvSpPr/>
          <p:nvPr/>
        </p:nvSpPr>
        <p:spPr>
          <a:xfrm rot="10800000">
            <a:off x="449539" y="1390698"/>
            <a:ext cx="2158338" cy="497994"/>
          </a:xfrm>
          <a:custGeom>
            <a:avLst/>
            <a:gdLst>
              <a:gd name="connsiteX0" fmla="*/ 0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0 w 2676588"/>
              <a:gd name="connsiteY4" fmla="*/ 0 h 363338"/>
              <a:gd name="connsiteX0" fmla="*/ 888545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888545 w 2676588"/>
              <a:gd name="connsiteY4" fmla="*/ 0 h 363338"/>
              <a:gd name="connsiteX0" fmla="*/ 0 w 1788043"/>
              <a:gd name="connsiteY0" fmla="*/ 0 h 363338"/>
              <a:gd name="connsiteX1" fmla="*/ 1788043 w 1788043"/>
              <a:gd name="connsiteY1" fmla="*/ 0 h 363338"/>
              <a:gd name="connsiteX2" fmla="*/ 1600319 w 1788043"/>
              <a:gd name="connsiteY2" fmla="*/ 363338 h 363338"/>
              <a:gd name="connsiteX3" fmla="*/ 0 w 1788043"/>
              <a:gd name="connsiteY3" fmla="*/ 363338 h 363338"/>
              <a:gd name="connsiteX4" fmla="*/ 0 w 1788043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138221 w 1926264"/>
              <a:gd name="connsiteY3" fmla="*/ 363338 h 363338"/>
              <a:gd name="connsiteX4" fmla="*/ 0 w 1926264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6284 w 1926264"/>
              <a:gd name="connsiteY3" fmla="*/ 363338 h 363338"/>
              <a:gd name="connsiteX4" fmla="*/ 0 w 1926264"/>
              <a:gd name="connsiteY4" fmla="*/ 0 h 363338"/>
              <a:gd name="connsiteX0" fmla="*/ 43978 w 1970242"/>
              <a:gd name="connsiteY0" fmla="*/ 0 h 363338"/>
              <a:gd name="connsiteX1" fmla="*/ 1970242 w 1970242"/>
              <a:gd name="connsiteY1" fmla="*/ 0 h 363338"/>
              <a:gd name="connsiteX2" fmla="*/ 1782518 w 1970242"/>
              <a:gd name="connsiteY2" fmla="*/ 363338 h 363338"/>
              <a:gd name="connsiteX3" fmla="*/ 0 w 1970242"/>
              <a:gd name="connsiteY3" fmla="*/ 363338 h 363338"/>
              <a:gd name="connsiteX4" fmla="*/ 43978 w 1970242"/>
              <a:gd name="connsiteY4" fmla="*/ 0 h 363338"/>
              <a:gd name="connsiteX0" fmla="*/ 0 w 1926264"/>
              <a:gd name="connsiteY0" fmla="*/ 0 h 369620"/>
              <a:gd name="connsiteX1" fmla="*/ 1926264 w 1926264"/>
              <a:gd name="connsiteY1" fmla="*/ 0 h 369620"/>
              <a:gd name="connsiteX2" fmla="*/ 1738540 w 1926264"/>
              <a:gd name="connsiteY2" fmla="*/ 363338 h 369620"/>
              <a:gd name="connsiteX3" fmla="*/ 6284 w 1926264"/>
              <a:gd name="connsiteY3" fmla="*/ 369620 h 369620"/>
              <a:gd name="connsiteX4" fmla="*/ 0 w 1926264"/>
              <a:gd name="connsiteY4" fmla="*/ 0 h 369620"/>
              <a:gd name="connsiteX0" fmla="*/ 6281 w 1932545"/>
              <a:gd name="connsiteY0" fmla="*/ 0 h 369620"/>
              <a:gd name="connsiteX1" fmla="*/ 1932545 w 1932545"/>
              <a:gd name="connsiteY1" fmla="*/ 0 h 369620"/>
              <a:gd name="connsiteX2" fmla="*/ 1744821 w 1932545"/>
              <a:gd name="connsiteY2" fmla="*/ 363338 h 369620"/>
              <a:gd name="connsiteX3" fmla="*/ 0 w 1932545"/>
              <a:gd name="connsiteY3" fmla="*/ 369620 h 369620"/>
              <a:gd name="connsiteX4" fmla="*/ 6281 w 1932545"/>
              <a:gd name="connsiteY4" fmla="*/ 0 h 369620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25132 w 1926264"/>
              <a:gd name="connsiteY3" fmla="*/ 357055 h 363338"/>
              <a:gd name="connsiteX4" fmla="*/ 0 w 1926264"/>
              <a:gd name="connsiteY4" fmla="*/ 0 h 363338"/>
              <a:gd name="connsiteX0" fmla="*/ 12564 w 1938828"/>
              <a:gd name="connsiteY0" fmla="*/ 0 h 363338"/>
              <a:gd name="connsiteX1" fmla="*/ 1938828 w 1938828"/>
              <a:gd name="connsiteY1" fmla="*/ 0 h 363338"/>
              <a:gd name="connsiteX2" fmla="*/ 1751104 w 1938828"/>
              <a:gd name="connsiteY2" fmla="*/ 363338 h 363338"/>
              <a:gd name="connsiteX3" fmla="*/ 0 w 1938828"/>
              <a:gd name="connsiteY3" fmla="*/ 363338 h 363338"/>
              <a:gd name="connsiteX4" fmla="*/ 12564 w 1938828"/>
              <a:gd name="connsiteY4" fmla="*/ 0 h 363338"/>
              <a:gd name="connsiteX0" fmla="*/ 0 w 1926264"/>
              <a:gd name="connsiteY0" fmla="*/ 0 h 369621"/>
              <a:gd name="connsiteX1" fmla="*/ 1926264 w 1926264"/>
              <a:gd name="connsiteY1" fmla="*/ 0 h 369621"/>
              <a:gd name="connsiteX2" fmla="*/ 1738540 w 1926264"/>
              <a:gd name="connsiteY2" fmla="*/ 363338 h 369621"/>
              <a:gd name="connsiteX3" fmla="*/ 6284 w 1926264"/>
              <a:gd name="connsiteY3" fmla="*/ 369621 h 369621"/>
              <a:gd name="connsiteX4" fmla="*/ 0 w 1926264"/>
              <a:gd name="connsiteY4" fmla="*/ 0 h 369621"/>
              <a:gd name="connsiteX0" fmla="*/ 43978 w 1970242"/>
              <a:gd name="connsiteY0" fmla="*/ 0 h 363339"/>
              <a:gd name="connsiteX1" fmla="*/ 1970242 w 1970242"/>
              <a:gd name="connsiteY1" fmla="*/ 0 h 363339"/>
              <a:gd name="connsiteX2" fmla="*/ 1782518 w 1970242"/>
              <a:gd name="connsiteY2" fmla="*/ 363338 h 363339"/>
              <a:gd name="connsiteX3" fmla="*/ 0 w 1970242"/>
              <a:gd name="connsiteY3" fmla="*/ 363339 h 363339"/>
              <a:gd name="connsiteX4" fmla="*/ 43978 w 1970242"/>
              <a:gd name="connsiteY4" fmla="*/ 0 h 363339"/>
              <a:gd name="connsiteX0" fmla="*/ 0 w 1926264"/>
              <a:gd name="connsiteY0" fmla="*/ 0 h 363339"/>
              <a:gd name="connsiteX1" fmla="*/ 1926264 w 1926264"/>
              <a:gd name="connsiteY1" fmla="*/ 0 h 363339"/>
              <a:gd name="connsiteX2" fmla="*/ 1738540 w 1926264"/>
              <a:gd name="connsiteY2" fmla="*/ 363338 h 363339"/>
              <a:gd name="connsiteX3" fmla="*/ 1 w 1926264"/>
              <a:gd name="connsiteY3" fmla="*/ 363339 h 363339"/>
              <a:gd name="connsiteX4" fmla="*/ 0 w 1926264"/>
              <a:gd name="connsiteY4" fmla="*/ 0 h 363339"/>
              <a:gd name="connsiteX0" fmla="*/ 0 w 1926264"/>
              <a:gd name="connsiteY0" fmla="*/ 0 h 363339"/>
              <a:gd name="connsiteX1" fmla="*/ 1926264 w 1926264"/>
              <a:gd name="connsiteY1" fmla="*/ 0 h 363339"/>
              <a:gd name="connsiteX2" fmla="*/ 1678394 w 1926264"/>
              <a:gd name="connsiteY2" fmla="*/ 363338 h 363339"/>
              <a:gd name="connsiteX3" fmla="*/ 1 w 1926264"/>
              <a:gd name="connsiteY3" fmla="*/ 363339 h 363339"/>
              <a:gd name="connsiteX4" fmla="*/ 0 w 1926264"/>
              <a:gd name="connsiteY4" fmla="*/ 0 h 363339"/>
              <a:gd name="connsiteX0" fmla="*/ 0 w 1926264"/>
              <a:gd name="connsiteY0" fmla="*/ 0 h 363339"/>
              <a:gd name="connsiteX1" fmla="*/ 1926264 w 1926264"/>
              <a:gd name="connsiteY1" fmla="*/ 0 h 363339"/>
              <a:gd name="connsiteX2" fmla="*/ 1702453 w 1926264"/>
              <a:gd name="connsiteY2" fmla="*/ 363338 h 363339"/>
              <a:gd name="connsiteX3" fmla="*/ 1 w 1926264"/>
              <a:gd name="connsiteY3" fmla="*/ 363339 h 363339"/>
              <a:gd name="connsiteX4" fmla="*/ 0 w 1926264"/>
              <a:gd name="connsiteY4" fmla="*/ 0 h 363339"/>
              <a:gd name="connsiteX0" fmla="*/ 0 w 1926264"/>
              <a:gd name="connsiteY0" fmla="*/ 0 h 363339"/>
              <a:gd name="connsiteX1" fmla="*/ 1926264 w 1926264"/>
              <a:gd name="connsiteY1" fmla="*/ 0 h 363339"/>
              <a:gd name="connsiteX2" fmla="*/ 1714482 w 1926264"/>
              <a:gd name="connsiteY2" fmla="*/ 354072 h 363339"/>
              <a:gd name="connsiteX3" fmla="*/ 1 w 1926264"/>
              <a:gd name="connsiteY3" fmla="*/ 363339 h 363339"/>
              <a:gd name="connsiteX4" fmla="*/ 0 w 1926264"/>
              <a:gd name="connsiteY4" fmla="*/ 0 h 3633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6264" h="363339">
                <a:moveTo>
                  <a:pt x="0" y="0"/>
                </a:moveTo>
                <a:lnTo>
                  <a:pt x="1926264" y="0"/>
                </a:lnTo>
                <a:lnTo>
                  <a:pt x="1714482" y="354072"/>
                </a:lnTo>
                <a:lnTo>
                  <a:pt x="1" y="363339"/>
                </a:lnTo>
                <a:cubicBezTo>
                  <a:pt x="1" y="242226"/>
                  <a:pt x="0" y="121113"/>
                  <a:pt x="0" y="0"/>
                </a:cubicBezTo>
                <a:close/>
              </a:path>
            </a:pathLst>
          </a:custGeom>
          <a:solidFill>
            <a:schemeClr val="accent1"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EB27DE0A-B15E-4FEB-ACB5-124FFCD80495}"/>
              </a:ext>
            </a:extLst>
          </p:cNvPr>
          <p:cNvSpPr/>
          <p:nvPr/>
        </p:nvSpPr>
        <p:spPr>
          <a:xfrm>
            <a:off x="766216" y="1260132"/>
            <a:ext cx="1504373" cy="13823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Title 3">
            <a:extLst>
              <a:ext uri="{FF2B5EF4-FFF2-40B4-BE49-F238E27FC236}">
                <a16:creationId xmlns:a16="http://schemas.microsoft.com/office/drawing/2014/main" id="{703D39C9-9B85-4F87-8271-E3F961C6AA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2884" y="323849"/>
            <a:ext cx="11670783" cy="859536"/>
          </a:xfrm>
        </p:spPr>
        <p:txBody>
          <a:bodyPr/>
          <a:lstStyle/>
          <a:p>
            <a:r>
              <a:rPr lang="en-US" dirty="0"/>
              <a:t>Become more efficient!</a:t>
            </a:r>
            <a:br>
              <a:rPr lang="en-US" dirty="0"/>
            </a:br>
            <a:r>
              <a:rPr lang="en-US" sz="2500" dirty="0" err="1">
                <a:solidFill>
                  <a:schemeClr val="accent1"/>
                </a:solidFill>
              </a:rPr>
              <a:t>EnergX</a:t>
            </a:r>
            <a:r>
              <a:rPr lang="en-US" sz="2500" dirty="0">
                <a:solidFill>
                  <a:schemeClr val="accent1"/>
                </a:solidFill>
              </a:rPr>
              <a:t> ULTRA</a:t>
            </a:r>
            <a:r>
              <a:rPr lang="en-US" sz="2500" b="0" dirty="0">
                <a:solidFill>
                  <a:schemeClr val="accent1"/>
                </a:solidFill>
              </a:rPr>
              <a:t> speedcure option – reduced curing time for increased line speed. </a:t>
            </a:r>
            <a:endParaRPr lang="pl-PL" sz="2500" b="0" dirty="0">
              <a:solidFill>
                <a:schemeClr val="accent1"/>
              </a:solidFill>
            </a:endParaRP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295A37D5-7853-4540-BDCE-52C84D24E104}"/>
              </a:ext>
            </a:extLst>
          </p:cNvPr>
          <p:cNvSpPr txBox="1">
            <a:spLocks/>
          </p:cNvSpPr>
          <p:nvPr/>
        </p:nvSpPr>
        <p:spPr>
          <a:xfrm>
            <a:off x="321503" y="6496407"/>
            <a:ext cx="455756" cy="17222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chemeClr val="tx2"/>
                </a:solidFill>
                <a:latin typeface="+mn-lt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666666"/>
                </a:solidFill>
                <a:latin typeface="Arial" panose="020B0604020202020204"/>
              </a:rPr>
              <a:t>17</a:t>
            </a:r>
          </a:p>
        </p:txBody>
      </p:sp>
      <p:sp>
        <p:nvSpPr>
          <p:cNvPr id="19" name="Footer Placeholder 1">
            <a:extLst>
              <a:ext uri="{FF2B5EF4-FFF2-40B4-BE49-F238E27FC236}">
                <a16:creationId xmlns:a16="http://schemas.microsoft.com/office/drawing/2014/main" id="{9CBA4AA6-5E8D-1849-AC86-CEA08B9AE6E9}"/>
              </a:ext>
            </a:extLst>
          </p:cNvPr>
          <p:cNvSpPr txBox="1">
            <a:spLocks/>
          </p:cNvSpPr>
          <p:nvPr/>
        </p:nvSpPr>
        <p:spPr>
          <a:xfrm>
            <a:off x="763811" y="6496407"/>
            <a:ext cx="9460550" cy="17222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chemeClr val="tx2"/>
                </a:solidFill>
                <a:latin typeface="+mn-lt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666666"/>
                </a:solidFill>
                <a:latin typeface="Arial" panose="020B0604020202020204"/>
              </a:rPr>
              <a:t>Powder Coatings from PPG ©2023 PPG Industries, Inc. All rights reserved</a:t>
            </a:r>
          </a:p>
        </p:txBody>
      </p:sp>
      <p:sp>
        <p:nvSpPr>
          <p:cNvPr id="9" name="TextBox 24">
            <a:extLst>
              <a:ext uri="{FF2B5EF4-FFF2-40B4-BE49-F238E27FC236}">
                <a16:creationId xmlns:a16="http://schemas.microsoft.com/office/drawing/2014/main" id="{33C66E80-4058-40CA-9D64-757A4EA7CFD0}"/>
              </a:ext>
            </a:extLst>
          </p:cNvPr>
          <p:cNvSpPr txBox="1"/>
          <p:nvPr/>
        </p:nvSpPr>
        <p:spPr>
          <a:xfrm>
            <a:off x="338666" y="2042053"/>
            <a:ext cx="1931922" cy="540000"/>
          </a:xfrm>
          <a:prstGeom prst="rect">
            <a:avLst/>
          </a:prstGeom>
          <a:solidFill>
            <a:schemeClr val="accent2"/>
          </a:solidFill>
        </p:spPr>
        <p:txBody>
          <a:bodyPr wrap="square" bIns="72000" rtlCol="0" anchor="ctr">
            <a:no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Standard cure polyester</a:t>
            </a:r>
          </a:p>
        </p:txBody>
      </p:sp>
      <p:sp>
        <p:nvSpPr>
          <p:cNvPr id="11" name="TextBox 36">
            <a:extLst>
              <a:ext uri="{FF2B5EF4-FFF2-40B4-BE49-F238E27FC236}">
                <a16:creationId xmlns:a16="http://schemas.microsoft.com/office/drawing/2014/main" id="{07B8465C-B8FE-45BD-8F9B-7B950D002B06}"/>
              </a:ext>
            </a:extLst>
          </p:cNvPr>
          <p:cNvSpPr txBox="1"/>
          <p:nvPr/>
        </p:nvSpPr>
        <p:spPr>
          <a:xfrm>
            <a:off x="344351" y="4703414"/>
            <a:ext cx="1926237" cy="540000"/>
          </a:xfrm>
          <a:prstGeom prst="rect">
            <a:avLst/>
          </a:prstGeom>
          <a:solidFill>
            <a:schemeClr val="accent4"/>
          </a:solidFill>
        </p:spPr>
        <p:txBody>
          <a:bodyPr wrap="square" bIns="72000" rtlCol="0" anchor="ctr">
            <a:noAutofit/>
          </a:bodyPr>
          <a:lstStyle/>
          <a:p>
            <a:pPr algn="ctr"/>
            <a:r>
              <a:rPr lang="en-US" sz="1400" b="1" dirty="0" err="1">
                <a:solidFill>
                  <a:schemeClr val="bg1"/>
                </a:solidFill>
              </a:rPr>
              <a:t>EnergX</a:t>
            </a:r>
            <a:r>
              <a:rPr lang="en-US" sz="1400" b="1" dirty="0">
                <a:solidFill>
                  <a:schemeClr val="bg1"/>
                </a:solidFill>
              </a:rPr>
              <a:t> ULTRA</a:t>
            </a:r>
          </a:p>
        </p:txBody>
      </p:sp>
      <p:sp>
        <p:nvSpPr>
          <p:cNvPr id="12" name="TextBox 38">
            <a:extLst>
              <a:ext uri="{FF2B5EF4-FFF2-40B4-BE49-F238E27FC236}">
                <a16:creationId xmlns:a16="http://schemas.microsoft.com/office/drawing/2014/main" id="{EA49C5E1-9EBE-4EB0-8A52-9445A671599F}"/>
              </a:ext>
            </a:extLst>
          </p:cNvPr>
          <p:cNvSpPr txBox="1"/>
          <p:nvPr/>
        </p:nvSpPr>
        <p:spPr>
          <a:xfrm>
            <a:off x="344352" y="3201981"/>
            <a:ext cx="900000" cy="360000"/>
          </a:xfrm>
          <a:prstGeom prst="rect">
            <a:avLst/>
          </a:prstGeom>
          <a:solidFill>
            <a:schemeClr val="accent2">
              <a:lumMod val="20000"/>
              <a:lumOff val="80000"/>
              <a:alpha val="10000"/>
            </a:schemeClr>
          </a:solidFill>
          <a:ln>
            <a:solidFill>
              <a:schemeClr val="accent2"/>
            </a:solidFill>
          </a:ln>
        </p:spPr>
        <p:txBody>
          <a:bodyPr wrap="square" bIns="72000" rtlCol="0" anchor="ctr">
            <a:noAutofit/>
          </a:bodyPr>
          <a:lstStyle/>
          <a:p>
            <a:pPr algn="ctr"/>
            <a:r>
              <a:rPr lang="en-US" sz="1400" b="1" dirty="0">
                <a:solidFill>
                  <a:schemeClr val="accent2"/>
                </a:solidFill>
              </a:rPr>
              <a:t>10 min </a:t>
            </a:r>
          </a:p>
        </p:txBody>
      </p:sp>
      <p:sp>
        <p:nvSpPr>
          <p:cNvPr id="17" name="TextBox 38">
            <a:extLst>
              <a:ext uri="{FF2B5EF4-FFF2-40B4-BE49-F238E27FC236}">
                <a16:creationId xmlns:a16="http://schemas.microsoft.com/office/drawing/2014/main" id="{41DFF705-1D5C-4D53-9911-96EC6B12CE18}"/>
              </a:ext>
            </a:extLst>
          </p:cNvPr>
          <p:cNvSpPr txBox="1"/>
          <p:nvPr/>
        </p:nvSpPr>
        <p:spPr>
          <a:xfrm>
            <a:off x="1382117" y="3195073"/>
            <a:ext cx="900000" cy="360000"/>
          </a:xfrm>
          <a:prstGeom prst="rect">
            <a:avLst/>
          </a:prstGeom>
          <a:solidFill>
            <a:schemeClr val="accent2">
              <a:lumMod val="20000"/>
              <a:lumOff val="80000"/>
              <a:alpha val="10000"/>
            </a:schemeClr>
          </a:solidFill>
          <a:ln>
            <a:solidFill>
              <a:schemeClr val="accent2"/>
            </a:solidFill>
          </a:ln>
        </p:spPr>
        <p:txBody>
          <a:bodyPr wrap="square" bIns="72000" rtlCol="0" anchor="ctr">
            <a:noAutofit/>
          </a:bodyPr>
          <a:lstStyle/>
          <a:p>
            <a:pPr algn="ctr"/>
            <a:r>
              <a:rPr lang="en-US" sz="1400" b="1" dirty="0">
                <a:solidFill>
                  <a:schemeClr val="accent2"/>
                </a:solidFill>
              </a:rPr>
              <a:t>180°C</a:t>
            </a:r>
          </a:p>
        </p:txBody>
      </p:sp>
      <p:sp>
        <p:nvSpPr>
          <p:cNvPr id="26" name="TextBox 24">
            <a:extLst>
              <a:ext uri="{FF2B5EF4-FFF2-40B4-BE49-F238E27FC236}">
                <a16:creationId xmlns:a16="http://schemas.microsoft.com/office/drawing/2014/main" id="{97CF3F65-0091-499E-9AFE-BD7FA2D942E0}"/>
              </a:ext>
            </a:extLst>
          </p:cNvPr>
          <p:cNvSpPr txBox="1"/>
          <p:nvPr/>
        </p:nvSpPr>
        <p:spPr>
          <a:xfrm>
            <a:off x="350195" y="2708563"/>
            <a:ext cx="1931922" cy="360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bIns="72000" rtlCol="0" anchor="ctr">
            <a:noAutofit/>
          </a:bodyPr>
          <a:lstStyle/>
          <a:p>
            <a:pPr algn="ctr"/>
            <a:r>
              <a:rPr lang="en-US" sz="1400" dirty="0">
                <a:solidFill>
                  <a:schemeClr val="accent2"/>
                </a:solidFill>
              </a:rPr>
              <a:t>Curing Conditions</a:t>
            </a:r>
          </a:p>
        </p:txBody>
      </p:sp>
      <p:sp>
        <p:nvSpPr>
          <p:cNvPr id="27" name="TextBox 24">
            <a:extLst>
              <a:ext uri="{FF2B5EF4-FFF2-40B4-BE49-F238E27FC236}">
                <a16:creationId xmlns:a16="http://schemas.microsoft.com/office/drawing/2014/main" id="{9E97C661-EF9F-49B8-A9DF-3A7A18B5C733}"/>
              </a:ext>
            </a:extLst>
          </p:cNvPr>
          <p:cNvSpPr txBox="1"/>
          <p:nvPr/>
        </p:nvSpPr>
        <p:spPr>
          <a:xfrm>
            <a:off x="350195" y="4202779"/>
            <a:ext cx="1931921" cy="360000"/>
          </a:xfrm>
          <a:prstGeom prst="rect">
            <a:avLst/>
          </a:prstGeom>
          <a:solidFill>
            <a:srgbClr val="00B149">
              <a:alpha val="10196"/>
            </a:srgbClr>
          </a:solidFill>
        </p:spPr>
        <p:txBody>
          <a:bodyPr wrap="square" bIns="72000" rtlCol="0" anchor="ctr">
            <a:noAutofit/>
          </a:bodyPr>
          <a:lstStyle/>
          <a:p>
            <a:pPr algn="ctr"/>
            <a:r>
              <a:rPr lang="en-US" sz="1400" dirty="0">
                <a:solidFill>
                  <a:schemeClr val="accent4"/>
                </a:solidFill>
              </a:rPr>
              <a:t>Curing Conditions</a:t>
            </a:r>
          </a:p>
        </p:txBody>
      </p:sp>
      <p:sp>
        <p:nvSpPr>
          <p:cNvPr id="28" name="TextBox 38">
            <a:extLst>
              <a:ext uri="{FF2B5EF4-FFF2-40B4-BE49-F238E27FC236}">
                <a16:creationId xmlns:a16="http://schemas.microsoft.com/office/drawing/2014/main" id="{91FF8983-817C-49E4-9425-5DA705459E78}"/>
              </a:ext>
            </a:extLst>
          </p:cNvPr>
          <p:cNvSpPr txBox="1"/>
          <p:nvPr/>
        </p:nvSpPr>
        <p:spPr>
          <a:xfrm>
            <a:off x="344352" y="3701595"/>
            <a:ext cx="900000" cy="360000"/>
          </a:xfrm>
          <a:prstGeom prst="rect">
            <a:avLst/>
          </a:prstGeom>
          <a:solidFill>
            <a:schemeClr val="bg1">
              <a:alpha val="10000"/>
            </a:schemeClr>
          </a:solidFill>
          <a:ln>
            <a:solidFill>
              <a:schemeClr val="accent4"/>
            </a:solidFill>
          </a:ln>
        </p:spPr>
        <p:txBody>
          <a:bodyPr wrap="square" bIns="72000" rtlCol="0" anchor="ctr">
            <a:noAutofit/>
          </a:bodyPr>
          <a:lstStyle/>
          <a:p>
            <a:pPr algn="ctr"/>
            <a:r>
              <a:rPr lang="en-US" sz="1400" b="1" dirty="0">
                <a:solidFill>
                  <a:schemeClr val="accent4"/>
                </a:solidFill>
              </a:rPr>
              <a:t>10 min </a:t>
            </a:r>
          </a:p>
        </p:txBody>
      </p:sp>
      <p:sp>
        <p:nvSpPr>
          <p:cNvPr id="29" name="TextBox 38">
            <a:extLst>
              <a:ext uri="{FF2B5EF4-FFF2-40B4-BE49-F238E27FC236}">
                <a16:creationId xmlns:a16="http://schemas.microsoft.com/office/drawing/2014/main" id="{F3E64596-CAF1-4830-9B10-141FB2E30F53}"/>
              </a:ext>
            </a:extLst>
          </p:cNvPr>
          <p:cNvSpPr txBox="1"/>
          <p:nvPr/>
        </p:nvSpPr>
        <p:spPr>
          <a:xfrm>
            <a:off x="1373949" y="3697442"/>
            <a:ext cx="900000" cy="360000"/>
          </a:xfrm>
          <a:prstGeom prst="rect">
            <a:avLst/>
          </a:prstGeom>
          <a:solidFill>
            <a:schemeClr val="bg1">
              <a:alpha val="10000"/>
            </a:schemeClr>
          </a:solidFill>
          <a:ln>
            <a:solidFill>
              <a:schemeClr val="accent4"/>
            </a:solidFill>
          </a:ln>
        </p:spPr>
        <p:txBody>
          <a:bodyPr wrap="square" bIns="72000" rtlCol="0" anchor="ctr">
            <a:noAutofit/>
          </a:bodyPr>
          <a:lstStyle/>
          <a:p>
            <a:pPr algn="ctr"/>
            <a:r>
              <a:rPr lang="en-US" sz="1400" b="1" dirty="0">
                <a:solidFill>
                  <a:schemeClr val="accent4"/>
                </a:solidFill>
              </a:rPr>
              <a:t>160°C</a:t>
            </a:r>
          </a:p>
        </p:txBody>
      </p:sp>
      <p:sp>
        <p:nvSpPr>
          <p:cNvPr id="31" name="Content Placeholder 10">
            <a:extLst>
              <a:ext uri="{FF2B5EF4-FFF2-40B4-BE49-F238E27FC236}">
                <a16:creationId xmlns:a16="http://schemas.microsoft.com/office/drawing/2014/main" id="{FC0493E4-71FF-4ABD-A4C5-537C004AF920}"/>
              </a:ext>
            </a:extLst>
          </p:cNvPr>
          <p:cNvSpPr txBox="1">
            <a:spLocks/>
          </p:cNvSpPr>
          <p:nvPr/>
        </p:nvSpPr>
        <p:spPr>
          <a:xfrm>
            <a:off x="8491391" y="2036266"/>
            <a:ext cx="3230709" cy="279260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33293" indent="-233293" algn="l" defTabSz="457063" rtl="0" eaLnBrk="1" latinLnBrk="0" hangingPunct="1">
              <a:spcBef>
                <a:spcPts val="528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399" b="0" kern="1200">
                <a:solidFill>
                  <a:schemeClr val="tx1"/>
                </a:solidFill>
                <a:latin typeface="+mn-lt"/>
                <a:ea typeface="+mn-ea"/>
                <a:cs typeface="Arial"/>
              </a:defRPr>
            </a:lvl1pPr>
            <a:lvl2pPr marL="339623" indent="-169812" algn="l" defTabSz="457063" rtl="0" eaLnBrk="1" latinLnBrk="0" hangingPunct="1">
              <a:spcBef>
                <a:spcPts val="528"/>
              </a:spcBef>
              <a:spcAft>
                <a:spcPts val="0"/>
              </a:spcAft>
              <a:buClr>
                <a:schemeClr val="accent1"/>
              </a:buClr>
              <a:buFont typeface="Arial"/>
              <a:buChar char="•"/>
              <a:defRPr sz="2199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509435" indent="-169812" algn="l" defTabSz="457063" rtl="0" eaLnBrk="1" latinLnBrk="0" hangingPunct="1">
              <a:spcBef>
                <a:spcPts val="528"/>
              </a:spcBef>
              <a:spcAft>
                <a:spcPts val="0"/>
              </a:spcAft>
              <a:buClr>
                <a:schemeClr val="accent1"/>
              </a:buClr>
              <a:buFont typeface="Arial"/>
              <a:buChar char="•"/>
              <a:tabLst/>
              <a:defRPr sz="1999" kern="1200">
                <a:solidFill>
                  <a:schemeClr val="tx1"/>
                </a:solidFill>
                <a:latin typeface="+mn-lt"/>
                <a:ea typeface="+mn-ea"/>
                <a:cs typeface="Arial"/>
              </a:defRPr>
            </a:lvl3pPr>
            <a:lvl4pPr marL="690356" indent="-180921" algn="l" defTabSz="457063" rtl="0" eaLnBrk="1" latinLnBrk="0" hangingPunct="1">
              <a:spcBef>
                <a:spcPts val="528"/>
              </a:spcBef>
              <a:spcAft>
                <a:spcPts val="0"/>
              </a:spcAft>
              <a:buClr>
                <a:schemeClr val="accent1"/>
              </a:buClr>
              <a:buFont typeface="Arial"/>
              <a:buChar char="•"/>
              <a:tabLst/>
              <a:defRPr sz="1799" kern="1200">
                <a:solidFill>
                  <a:schemeClr val="tx1"/>
                </a:solidFill>
                <a:latin typeface="+mn-lt"/>
                <a:ea typeface="+mn-ea"/>
                <a:cs typeface="Arial"/>
              </a:defRPr>
            </a:lvl4pPr>
            <a:lvl5pPr marL="856993" indent="-166638" algn="l" defTabSz="457063" rtl="0" eaLnBrk="1" latinLnBrk="0" hangingPunct="1">
              <a:spcBef>
                <a:spcPts val="528"/>
              </a:spcBef>
              <a:spcAft>
                <a:spcPts val="0"/>
              </a:spcAft>
              <a:buClr>
                <a:schemeClr val="accent1"/>
              </a:buClr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/>
              </a:defRPr>
            </a:lvl5pPr>
            <a:lvl6pPr marL="799860" indent="-114266" algn="l" defTabSz="457063" rtl="0" eaLnBrk="1" latinLnBrk="0" hangingPunct="1">
              <a:spcBef>
                <a:spcPts val="528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5713" indent="-115853" algn="l" defTabSz="457063" rtl="0" eaLnBrk="1" latinLnBrk="0" hangingPunct="1">
              <a:spcBef>
                <a:spcPts val="528"/>
              </a:spcBef>
              <a:spcAft>
                <a:spcPts val="0"/>
              </a:spcAft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29979" indent="-114266" algn="l" defTabSz="457063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•"/>
              <a:defRPr sz="105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198203" indent="-106331" algn="l" defTabSz="457063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•"/>
              <a:defRPr sz="105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900"/>
              </a:spcAft>
            </a:pPr>
            <a:r>
              <a:rPr lang="en-US" sz="1400" dirty="0"/>
              <a:t>Shorter throughput times </a:t>
            </a:r>
          </a:p>
          <a:p>
            <a:pPr>
              <a:spcBef>
                <a:spcPts val="0"/>
              </a:spcBef>
              <a:spcAft>
                <a:spcPts val="900"/>
              </a:spcAft>
            </a:pPr>
            <a:r>
              <a:rPr lang="en-US" sz="1400" dirty="0"/>
              <a:t>Increase in line speed</a:t>
            </a:r>
          </a:p>
          <a:p>
            <a:pPr>
              <a:spcBef>
                <a:spcPts val="0"/>
              </a:spcBef>
              <a:spcAft>
                <a:spcPts val="900"/>
              </a:spcAft>
            </a:pPr>
            <a:r>
              <a:rPr lang="en-US" sz="1400" dirty="0"/>
              <a:t>Lower heating costs per </a:t>
            </a:r>
            <a:br>
              <a:rPr lang="en-US" sz="1400" dirty="0"/>
            </a:br>
            <a:r>
              <a:rPr lang="en-US" sz="1400" dirty="0"/>
              <a:t>coated m</a:t>
            </a:r>
            <a:r>
              <a:rPr lang="en-US" sz="1400" baseline="30000" dirty="0"/>
              <a:t>2</a:t>
            </a:r>
            <a:r>
              <a:rPr lang="en-US" sz="1400" dirty="0"/>
              <a:t> area</a:t>
            </a:r>
          </a:p>
          <a:p>
            <a:pPr>
              <a:spcBef>
                <a:spcPts val="0"/>
              </a:spcBef>
              <a:spcAft>
                <a:spcPts val="900"/>
              </a:spcAft>
            </a:pPr>
            <a:r>
              <a:rPr lang="en-US" sz="1400" dirty="0"/>
              <a:t>Possibly saving of a complete work shift with lower capacity utilization</a:t>
            </a:r>
          </a:p>
          <a:p>
            <a:pPr>
              <a:spcBef>
                <a:spcPts val="0"/>
              </a:spcBef>
              <a:spcAft>
                <a:spcPts val="900"/>
              </a:spcAft>
            </a:pPr>
            <a:r>
              <a:rPr lang="en-US" sz="1400" dirty="0"/>
              <a:t>Lower part temperature, thus parts can be handled after shorter time</a:t>
            </a:r>
          </a:p>
        </p:txBody>
      </p:sp>
      <p:sp>
        <p:nvSpPr>
          <p:cNvPr id="32" name="Freeform 18">
            <a:extLst>
              <a:ext uri="{FF2B5EF4-FFF2-40B4-BE49-F238E27FC236}">
                <a16:creationId xmlns:a16="http://schemas.microsoft.com/office/drawing/2014/main" id="{66AA9191-DCEC-498B-9AE6-54E241088817}"/>
              </a:ext>
            </a:extLst>
          </p:cNvPr>
          <p:cNvSpPr/>
          <p:nvPr/>
        </p:nvSpPr>
        <p:spPr>
          <a:xfrm>
            <a:off x="8491391" y="1393197"/>
            <a:ext cx="2640137" cy="497994"/>
          </a:xfrm>
          <a:custGeom>
            <a:avLst/>
            <a:gdLst>
              <a:gd name="connsiteX0" fmla="*/ 0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0 w 2676588"/>
              <a:gd name="connsiteY4" fmla="*/ 0 h 363338"/>
              <a:gd name="connsiteX0" fmla="*/ 888545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888545 w 2676588"/>
              <a:gd name="connsiteY4" fmla="*/ 0 h 363338"/>
              <a:gd name="connsiteX0" fmla="*/ 0 w 1788043"/>
              <a:gd name="connsiteY0" fmla="*/ 0 h 363338"/>
              <a:gd name="connsiteX1" fmla="*/ 1788043 w 1788043"/>
              <a:gd name="connsiteY1" fmla="*/ 0 h 363338"/>
              <a:gd name="connsiteX2" fmla="*/ 1600319 w 1788043"/>
              <a:gd name="connsiteY2" fmla="*/ 363338 h 363338"/>
              <a:gd name="connsiteX3" fmla="*/ 0 w 1788043"/>
              <a:gd name="connsiteY3" fmla="*/ 363338 h 363338"/>
              <a:gd name="connsiteX4" fmla="*/ 0 w 1788043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138221 w 1926264"/>
              <a:gd name="connsiteY3" fmla="*/ 363338 h 363338"/>
              <a:gd name="connsiteX4" fmla="*/ 0 w 1926264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6284 w 1926264"/>
              <a:gd name="connsiteY3" fmla="*/ 363338 h 363338"/>
              <a:gd name="connsiteX4" fmla="*/ 0 w 1926264"/>
              <a:gd name="connsiteY4" fmla="*/ 0 h 363338"/>
              <a:gd name="connsiteX0" fmla="*/ 43978 w 1970242"/>
              <a:gd name="connsiteY0" fmla="*/ 0 h 363338"/>
              <a:gd name="connsiteX1" fmla="*/ 1970242 w 1970242"/>
              <a:gd name="connsiteY1" fmla="*/ 0 h 363338"/>
              <a:gd name="connsiteX2" fmla="*/ 1782518 w 1970242"/>
              <a:gd name="connsiteY2" fmla="*/ 363338 h 363338"/>
              <a:gd name="connsiteX3" fmla="*/ 0 w 1970242"/>
              <a:gd name="connsiteY3" fmla="*/ 363338 h 363338"/>
              <a:gd name="connsiteX4" fmla="*/ 43978 w 1970242"/>
              <a:gd name="connsiteY4" fmla="*/ 0 h 363338"/>
              <a:gd name="connsiteX0" fmla="*/ 0 w 1926264"/>
              <a:gd name="connsiteY0" fmla="*/ 0 h 369620"/>
              <a:gd name="connsiteX1" fmla="*/ 1926264 w 1926264"/>
              <a:gd name="connsiteY1" fmla="*/ 0 h 369620"/>
              <a:gd name="connsiteX2" fmla="*/ 1738540 w 1926264"/>
              <a:gd name="connsiteY2" fmla="*/ 363338 h 369620"/>
              <a:gd name="connsiteX3" fmla="*/ 6284 w 1926264"/>
              <a:gd name="connsiteY3" fmla="*/ 369620 h 369620"/>
              <a:gd name="connsiteX4" fmla="*/ 0 w 1926264"/>
              <a:gd name="connsiteY4" fmla="*/ 0 h 369620"/>
              <a:gd name="connsiteX0" fmla="*/ 6281 w 1932545"/>
              <a:gd name="connsiteY0" fmla="*/ 0 h 369620"/>
              <a:gd name="connsiteX1" fmla="*/ 1932545 w 1932545"/>
              <a:gd name="connsiteY1" fmla="*/ 0 h 369620"/>
              <a:gd name="connsiteX2" fmla="*/ 1744821 w 1932545"/>
              <a:gd name="connsiteY2" fmla="*/ 363338 h 369620"/>
              <a:gd name="connsiteX3" fmla="*/ 0 w 1932545"/>
              <a:gd name="connsiteY3" fmla="*/ 369620 h 369620"/>
              <a:gd name="connsiteX4" fmla="*/ 6281 w 1932545"/>
              <a:gd name="connsiteY4" fmla="*/ 0 h 369620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25132 w 1926264"/>
              <a:gd name="connsiteY3" fmla="*/ 357055 h 363338"/>
              <a:gd name="connsiteX4" fmla="*/ 0 w 1926264"/>
              <a:gd name="connsiteY4" fmla="*/ 0 h 363338"/>
              <a:gd name="connsiteX0" fmla="*/ 12564 w 1938828"/>
              <a:gd name="connsiteY0" fmla="*/ 0 h 363338"/>
              <a:gd name="connsiteX1" fmla="*/ 1938828 w 1938828"/>
              <a:gd name="connsiteY1" fmla="*/ 0 h 363338"/>
              <a:gd name="connsiteX2" fmla="*/ 1751104 w 1938828"/>
              <a:gd name="connsiteY2" fmla="*/ 363338 h 363338"/>
              <a:gd name="connsiteX3" fmla="*/ 0 w 1938828"/>
              <a:gd name="connsiteY3" fmla="*/ 363338 h 363338"/>
              <a:gd name="connsiteX4" fmla="*/ 12564 w 1938828"/>
              <a:gd name="connsiteY4" fmla="*/ 0 h 363338"/>
              <a:gd name="connsiteX0" fmla="*/ 0 w 1926264"/>
              <a:gd name="connsiteY0" fmla="*/ 0 h 369621"/>
              <a:gd name="connsiteX1" fmla="*/ 1926264 w 1926264"/>
              <a:gd name="connsiteY1" fmla="*/ 0 h 369621"/>
              <a:gd name="connsiteX2" fmla="*/ 1738540 w 1926264"/>
              <a:gd name="connsiteY2" fmla="*/ 363338 h 369621"/>
              <a:gd name="connsiteX3" fmla="*/ 6284 w 1926264"/>
              <a:gd name="connsiteY3" fmla="*/ 369621 h 369621"/>
              <a:gd name="connsiteX4" fmla="*/ 0 w 1926264"/>
              <a:gd name="connsiteY4" fmla="*/ 0 h 369621"/>
              <a:gd name="connsiteX0" fmla="*/ 43978 w 1970242"/>
              <a:gd name="connsiteY0" fmla="*/ 0 h 363339"/>
              <a:gd name="connsiteX1" fmla="*/ 1970242 w 1970242"/>
              <a:gd name="connsiteY1" fmla="*/ 0 h 363339"/>
              <a:gd name="connsiteX2" fmla="*/ 1782518 w 1970242"/>
              <a:gd name="connsiteY2" fmla="*/ 363338 h 363339"/>
              <a:gd name="connsiteX3" fmla="*/ 0 w 1970242"/>
              <a:gd name="connsiteY3" fmla="*/ 363339 h 363339"/>
              <a:gd name="connsiteX4" fmla="*/ 43978 w 1970242"/>
              <a:gd name="connsiteY4" fmla="*/ 0 h 363339"/>
              <a:gd name="connsiteX0" fmla="*/ 0 w 1926264"/>
              <a:gd name="connsiteY0" fmla="*/ 0 h 363339"/>
              <a:gd name="connsiteX1" fmla="*/ 1926264 w 1926264"/>
              <a:gd name="connsiteY1" fmla="*/ 0 h 363339"/>
              <a:gd name="connsiteX2" fmla="*/ 1738540 w 1926264"/>
              <a:gd name="connsiteY2" fmla="*/ 363338 h 363339"/>
              <a:gd name="connsiteX3" fmla="*/ 1 w 1926264"/>
              <a:gd name="connsiteY3" fmla="*/ 363339 h 363339"/>
              <a:gd name="connsiteX4" fmla="*/ 0 w 1926264"/>
              <a:gd name="connsiteY4" fmla="*/ 0 h 3633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6264" h="363339">
                <a:moveTo>
                  <a:pt x="0" y="0"/>
                </a:moveTo>
                <a:lnTo>
                  <a:pt x="1926264" y="0"/>
                </a:lnTo>
                <a:lnTo>
                  <a:pt x="1738540" y="363338"/>
                </a:lnTo>
                <a:lnTo>
                  <a:pt x="1" y="363339"/>
                </a:lnTo>
                <a:cubicBezTo>
                  <a:pt x="1" y="242226"/>
                  <a:pt x="0" y="121113"/>
                  <a:pt x="0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TextBox 10">
            <a:extLst>
              <a:ext uri="{FF2B5EF4-FFF2-40B4-BE49-F238E27FC236}">
                <a16:creationId xmlns:a16="http://schemas.microsoft.com/office/drawing/2014/main" id="{B9E61501-8441-4205-B381-575154CCF8EF}"/>
              </a:ext>
            </a:extLst>
          </p:cNvPr>
          <p:cNvSpPr txBox="1"/>
          <p:nvPr/>
        </p:nvSpPr>
        <p:spPr>
          <a:xfrm>
            <a:off x="8585972" y="1472917"/>
            <a:ext cx="19391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 dirty="0">
                <a:solidFill>
                  <a:schemeClr val="bg1"/>
                </a:solidFill>
              </a:rPr>
              <a:t>The Benefits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002CDDDD-37BF-494B-B46D-0C650EA32A28}"/>
              </a:ext>
            </a:extLst>
          </p:cNvPr>
          <p:cNvSpPr/>
          <p:nvPr/>
        </p:nvSpPr>
        <p:spPr>
          <a:xfrm>
            <a:off x="2779816" y="3201981"/>
            <a:ext cx="900000" cy="540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chemeClr val="tx2"/>
                </a:solidFill>
              </a:rPr>
              <a:t>Topcoat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0E53027F-DE04-4722-B4AB-AA97F1C1B758}"/>
              </a:ext>
            </a:extLst>
          </p:cNvPr>
          <p:cNvSpPr/>
          <p:nvPr/>
        </p:nvSpPr>
        <p:spPr>
          <a:xfrm>
            <a:off x="3679816" y="3201981"/>
            <a:ext cx="2160000" cy="54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400">
                <a:solidFill>
                  <a:schemeClr val="tx2"/>
                </a:solidFill>
              </a:rPr>
              <a:t>Curing</a:t>
            </a:r>
            <a:endParaRPr lang="en-GB" sz="1400" dirty="0">
              <a:solidFill>
                <a:schemeClr val="tx2"/>
              </a:solidFill>
            </a:endParaRP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5C25058B-BE7A-41DC-946C-081C46801CA1}"/>
              </a:ext>
            </a:extLst>
          </p:cNvPr>
          <p:cNvSpPr/>
          <p:nvPr/>
        </p:nvSpPr>
        <p:spPr>
          <a:xfrm>
            <a:off x="5839816" y="3201981"/>
            <a:ext cx="1800000" cy="540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400"/>
              <a:t>Cooling</a:t>
            </a:r>
            <a:endParaRPr lang="en-GB" sz="1400" dirty="0"/>
          </a:p>
        </p:txBody>
      </p:sp>
      <p:sp>
        <p:nvSpPr>
          <p:cNvPr id="43" name="Freeform 18">
            <a:extLst>
              <a:ext uri="{FF2B5EF4-FFF2-40B4-BE49-F238E27FC236}">
                <a16:creationId xmlns:a16="http://schemas.microsoft.com/office/drawing/2014/main" id="{F58C0ED7-161D-4EA6-A9BB-91EE6C0D02FD}"/>
              </a:ext>
            </a:extLst>
          </p:cNvPr>
          <p:cNvSpPr/>
          <p:nvPr/>
        </p:nvSpPr>
        <p:spPr>
          <a:xfrm>
            <a:off x="338667" y="1393197"/>
            <a:ext cx="2158338" cy="500791"/>
          </a:xfrm>
          <a:custGeom>
            <a:avLst/>
            <a:gdLst>
              <a:gd name="connsiteX0" fmla="*/ 0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0 w 2676588"/>
              <a:gd name="connsiteY4" fmla="*/ 0 h 363338"/>
              <a:gd name="connsiteX0" fmla="*/ 888545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888545 w 2676588"/>
              <a:gd name="connsiteY4" fmla="*/ 0 h 363338"/>
              <a:gd name="connsiteX0" fmla="*/ 0 w 1788043"/>
              <a:gd name="connsiteY0" fmla="*/ 0 h 363338"/>
              <a:gd name="connsiteX1" fmla="*/ 1788043 w 1788043"/>
              <a:gd name="connsiteY1" fmla="*/ 0 h 363338"/>
              <a:gd name="connsiteX2" fmla="*/ 1600319 w 1788043"/>
              <a:gd name="connsiteY2" fmla="*/ 363338 h 363338"/>
              <a:gd name="connsiteX3" fmla="*/ 0 w 1788043"/>
              <a:gd name="connsiteY3" fmla="*/ 363338 h 363338"/>
              <a:gd name="connsiteX4" fmla="*/ 0 w 1788043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138221 w 1926264"/>
              <a:gd name="connsiteY3" fmla="*/ 363338 h 363338"/>
              <a:gd name="connsiteX4" fmla="*/ 0 w 1926264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6284 w 1926264"/>
              <a:gd name="connsiteY3" fmla="*/ 363338 h 363338"/>
              <a:gd name="connsiteX4" fmla="*/ 0 w 1926264"/>
              <a:gd name="connsiteY4" fmla="*/ 0 h 363338"/>
              <a:gd name="connsiteX0" fmla="*/ 43978 w 1970242"/>
              <a:gd name="connsiteY0" fmla="*/ 0 h 363338"/>
              <a:gd name="connsiteX1" fmla="*/ 1970242 w 1970242"/>
              <a:gd name="connsiteY1" fmla="*/ 0 h 363338"/>
              <a:gd name="connsiteX2" fmla="*/ 1782518 w 1970242"/>
              <a:gd name="connsiteY2" fmla="*/ 363338 h 363338"/>
              <a:gd name="connsiteX3" fmla="*/ 0 w 1970242"/>
              <a:gd name="connsiteY3" fmla="*/ 363338 h 363338"/>
              <a:gd name="connsiteX4" fmla="*/ 43978 w 1970242"/>
              <a:gd name="connsiteY4" fmla="*/ 0 h 363338"/>
              <a:gd name="connsiteX0" fmla="*/ 0 w 1926264"/>
              <a:gd name="connsiteY0" fmla="*/ 0 h 369620"/>
              <a:gd name="connsiteX1" fmla="*/ 1926264 w 1926264"/>
              <a:gd name="connsiteY1" fmla="*/ 0 h 369620"/>
              <a:gd name="connsiteX2" fmla="*/ 1738540 w 1926264"/>
              <a:gd name="connsiteY2" fmla="*/ 363338 h 369620"/>
              <a:gd name="connsiteX3" fmla="*/ 6284 w 1926264"/>
              <a:gd name="connsiteY3" fmla="*/ 369620 h 369620"/>
              <a:gd name="connsiteX4" fmla="*/ 0 w 1926264"/>
              <a:gd name="connsiteY4" fmla="*/ 0 h 369620"/>
              <a:gd name="connsiteX0" fmla="*/ 6281 w 1932545"/>
              <a:gd name="connsiteY0" fmla="*/ 0 h 369620"/>
              <a:gd name="connsiteX1" fmla="*/ 1932545 w 1932545"/>
              <a:gd name="connsiteY1" fmla="*/ 0 h 369620"/>
              <a:gd name="connsiteX2" fmla="*/ 1744821 w 1932545"/>
              <a:gd name="connsiteY2" fmla="*/ 363338 h 369620"/>
              <a:gd name="connsiteX3" fmla="*/ 0 w 1932545"/>
              <a:gd name="connsiteY3" fmla="*/ 369620 h 369620"/>
              <a:gd name="connsiteX4" fmla="*/ 6281 w 1932545"/>
              <a:gd name="connsiteY4" fmla="*/ 0 h 369620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25132 w 1926264"/>
              <a:gd name="connsiteY3" fmla="*/ 357055 h 363338"/>
              <a:gd name="connsiteX4" fmla="*/ 0 w 1926264"/>
              <a:gd name="connsiteY4" fmla="*/ 0 h 363338"/>
              <a:gd name="connsiteX0" fmla="*/ 12564 w 1938828"/>
              <a:gd name="connsiteY0" fmla="*/ 0 h 363338"/>
              <a:gd name="connsiteX1" fmla="*/ 1938828 w 1938828"/>
              <a:gd name="connsiteY1" fmla="*/ 0 h 363338"/>
              <a:gd name="connsiteX2" fmla="*/ 1751104 w 1938828"/>
              <a:gd name="connsiteY2" fmla="*/ 363338 h 363338"/>
              <a:gd name="connsiteX3" fmla="*/ 0 w 1938828"/>
              <a:gd name="connsiteY3" fmla="*/ 363338 h 363338"/>
              <a:gd name="connsiteX4" fmla="*/ 12564 w 1938828"/>
              <a:gd name="connsiteY4" fmla="*/ 0 h 363338"/>
              <a:gd name="connsiteX0" fmla="*/ 0 w 1926264"/>
              <a:gd name="connsiteY0" fmla="*/ 0 h 369621"/>
              <a:gd name="connsiteX1" fmla="*/ 1926264 w 1926264"/>
              <a:gd name="connsiteY1" fmla="*/ 0 h 369621"/>
              <a:gd name="connsiteX2" fmla="*/ 1738540 w 1926264"/>
              <a:gd name="connsiteY2" fmla="*/ 363338 h 369621"/>
              <a:gd name="connsiteX3" fmla="*/ 6284 w 1926264"/>
              <a:gd name="connsiteY3" fmla="*/ 369621 h 369621"/>
              <a:gd name="connsiteX4" fmla="*/ 0 w 1926264"/>
              <a:gd name="connsiteY4" fmla="*/ 0 h 369621"/>
              <a:gd name="connsiteX0" fmla="*/ 43978 w 1970242"/>
              <a:gd name="connsiteY0" fmla="*/ 0 h 363339"/>
              <a:gd name="connsiteX1" fmla="*/ 1970242 w 1970242"/>
              <a:gd name="connsiteY1" fmla="*/ 0 h 363339"/>
              <a:gd name="connsiteX2" fmla="*/ 1782518 w 1970242"/>
              <a:gd name="connsiteY2" fmla="*/ 363338 h 363339"/>
              <a:gd name="connsiteX3" fmla="*/ 0 w 1970242"/>
              <a:gd name="connsiteY3" fmla="*/ 363339 h 363339"/>
              <a:gd name="connsiteX4" fmla="*/ 43978 w 1970242"/>
              <a:gd name="connsiteY4" fmla="*/ 0 h 363339"/>
              <a:gd name="connsiteX0" fmla="*/ 0 w 1926264"/>
              <a:gd name="connsiteY0" fmla="*/ 0 h 363339"/>
              <a:gd name="connsiteX1" fmla="*/ 1926264 w 1926264"/>
              <a:gd name="connsiteY1" fmla="*/ 0 h 363339"/>
              <a:gd name="connsiteX2" fmla="*/ 1738540 w 1926264"/>
              <a:gd name="connsiteY2" fmla="*/ 363338 h 363339"/>
              <a:gd name="connsiteX3" fmla="*/ 1 w 1926264"/>
              <a:gd name="connsiteY3" fmla="*/ 363339 h 363339"/>
              <a:gd name="connsiteX4" fmla="*/ 0 w 1926264"/>
              <a:gd name="connsiteY4" fmla="*/ 0 h 363339"/>
              <a:gd name="connsiteX0" fmla="*/ 0 w 1926264"/>
              <a:gd name="connsiteY0" fmla="*/ 0 h 363339"/>
              <a:gd name="connsiteX1" fmla="*/ 1926264 w 1926264"/>
              <a:gd name="connsiteY1" fmla="*/ 0 h 363339"/>
              <a:gd name="connsiteX2" fmla="*/ 1678394 w 1926264"/>
              <a:gd name="connsiteY2" fmla="*/ 363338 h 363339"/>
              <a:gd name="connsiteX3" fmla="*/ 1 w 1926264"/>
              <a:gd name="connsiteY3" fmla="*/ 363339 h 363339"/>
              <a:gd name="connsiteX4" fmla="*/ 0 w 1926264"/>
              <a:gd name="connsiteY4" fmla="*/ 0 h 363339"/>
              <a:gd name="connsiteX0" fmla="*/ 0 w 1926264"/>
              <a:gd name="connsiteY0" fmla="*/ 0 h 363339"/>
              <a:gd name="connsiteX1" fmla="*/ 1926264 w 1926264"/>
              <a:gd name="connsiteY1" fmla="*/ 0 h 363339"/>
              <a:gd name="connsiteX2" fmla="*/ 1702453 w 1926264"/>
              <a:gd name="connsiteY2" fmla="*/ 363338 h 363339"/>
              <a:gd name="connsiteX3" fmla="*/ 1 w 1926264"/>
              <a:gd name="connsiteY3" fmla="*/ 363339 h 363339"/>
              <a:gd name="connsiteX4" fmla="*/ 0 w 1926264"/>
              <a:gd name="connsiteY4" fmla="*/ 0 h 363339"/>
              <a:gd name="connsiteX0" fmla="*/ 0 w 1926264"/>
              <a:gd name="connsiteY0" fmla="*/ 0 h 363339"/>
              <a:gd name="connsiteX1" fmla="*/ 1926264 w 1926264"/>
              <a:gd name="connsiteY1" fmla="*/ 0 h 363339"/>
              <a:gd name="connsiteX2" fmla="*/ 1714482 w 1926264"/>
              <a:gd name="connsiteY2" fmla="*/ 354072 h 363339"/>
              <a:gd name="connsiteX3" fmla="*/ 1 w 1926264"/>
              <a:gd name="connsiteY3" fmla="*/ 363339 h 363339"/>
              <a:gd name="connsiteX4" fmla="*/ 0 w 1926264"/>
              <a:gd name="connsiteY4" fmla="*/ 0 h 363339"/>
              <a:gd name="connsiteX0" fmla="*/ 0 w 1926264"/>
              <a:gd name="connsiteY0" fmla="*/ 0 h 363339"/>
              <a:gd name="connsiteX1" fmla="*/ 1926264 w 1926264"/>
              <a:gd name="connsiteY1" fmla="*/ 0 h 363339"/>
              <a:gd name="connsiteX2" fmla="*/ 1735230 w 1926264"/>
              <a:gd name="connsiteY2" fmla="*/ 359726 h 363339"/>
              <a:gd name="connsiteX3" fmla="*/ 1 w 1926264"/>
              <a:gd name="connsiteY3" fmla="*/ 363339 h 363339"/>
              <a:gd name="connsiteX4" fmla="*/ 0 w 1926264"/>
              <a:gd name="connsiteY4" fmla="*/ 0 h 363339"/>
              <a:gd name="connsiteX0" fmla="*/ 0 w 1926264"/>
              <a:gd name="connsiteY0" fmla="*/ 0 h 365380"/>
              <a:gd name="connsiteX1" fmla="*/ 1926264 w 1926264"/>
              <a:gd name="connsiteY1" fmla="*/ 0 h 365380"/>
              <a:gd name="connsiteX2" fmla="*/ 1672987 w 1926264"/>
              <a:gd name="connsiteY2" fmla="*/ 365380 h 365380"/>
              <a:gd name="connsiteX3" fmla="*/ 1 w 1926264"/>
              <a:gd name="connsiteY3" fmla="*/ 363339 h 365380"/>
              <a:gd name="connsiteX4" fmla="*/ 0 w 1926264"/>
              <a:gd name="connsiteY4" fmla="*/ 0 h 365380"/>
              <a:gd name="connsiteX0" fmla="*/ 0 w 1926264"/>
              <a:gd name="connsiteY0" fmla="*/ 0 h 365380"/>
              <a:gd name="connsiteX1" fmla="*/ 1926264 w 1926264"/>
              <a:gd name="connsiteY1" fmla="*/ 0 h 365380"/>
              <a:gd name="connsiteX2" fmla="*/ 1735230 w 1926264"/>
              <a:gd name="connsiteY2" fmla="*/ 365380 h 365380"/>
              <a:gd name="connsiteX3" fmla="*/ 1 w 1926264"/>
              <a:gd name="connsiteY3" fmla="*/ 363339 h 365380"/>
              <a:gd name="connsiteX4" fmla="*/ 0 w 1926264"/>
              <a:gd name="connsiteY4" fmla="*/ 0 h 3653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6264" h="365380">
                <a:moveTo>
                  <a:pt x="0" y="0"/>
                </a:moveTo>
                <a:lnTo>
                  <a:pt x="1926264" y="0"/>
                </a:lnTo>
                <a:lnTo>
                  <a:pt x="1735230" y="365380"/>
                </a:lnTo>
                <a:lnTo>
                  <a:pt x="1" y="363339"/>
                </a:lnTo>
                <a:cubicBezTo>
                  <a:pt x="1" y="242226"/>
                  <a:pt x="0" y="121113"/>
                  <a:pt x="0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Box 10">
            <a:extLst>
              <a:ext uri="{FF2B5EF4-FFF2-40B4-BE49-F238E27FC236}">
                <a16:creationId xmlns:a16="http://schemas.microsoft.com/office/drawing/2014/main" id="{628146F2-4559-4A1E-AAB1-A0127A531F7E}"/>
              </a:ext>
            </a:extLst>
          </p:cNvPr>
          <p:cNvSpPr txBox="1"/>
          <p:nvPr/>
        </p:nvSpPr>
        <p:spPr>
          <a:xfrm>
            <a:off x="385957" y="1472917"/>
            <a:ext cx="19391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 dirty="0">
                <a:solidFill>
                  <a:schemeClr val="bg1"/>
                </a:solidFill>
              </a:rPr>
              <a:t>The Systems</a:t>
            </a:r>
          </a:p>
        </p:txBody>
      </p:sp>
      <p:sp>
        <p:nvSpPr>
          <p:cNvPr id="47" name="Freeform 18">
            <a:extLst>
              <a:ext uri="{FF2B5EF4-FFF2-40B4-BE49-F238E27FC236}">
                <a16:creationId xmlns:a16="http://schemas.microsoft.com/office/drawing/2014/main" id="{E676D51B-45E2-40CB-9EE9-55EE0BA0024D}"/>
              </a:ext>
            </a:extLst>
          </p:cNvPr>
          <p:cNvSpPr/>
          <p:nvPr/>
        </p:nvSpPr>
        <p:spPr>
          <a:xfrm>
            <a:off x="2779816" y="1398012"/>
            <a:ext cx="5386284" cy="497994"/>
          </a:xfrm>
          <a:custGeom>
            <a:avLst/>
            <a:gdLst>
              <a:gd name="connsiteX0" fmla="*/ 0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0 w 2676588"/>
              <a:gd name="connsiteY4" fmla="*/ 0 h 363338"/>
              <a:gd name="connsiteX0" fmla="*/ 888545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888545 w 2676588"/>
              <a:gd name="connsiteY4" fmla="*/ 0 h 363338"/>
              <a:gd name="connsiteX0" fmla="*/ 0 w 1788043"/>
              <a:gd name="connsiteY0" fmla="*/ 0 h 363338"/>
              <a:gd name="connsiteX1" fmla="*/ 1788043 w 1788043"/>
              <a:gd name="connsiteY1" fmla="*/ 0 h 363338"/>
              <a:gd name="connsiteX2" fmla="*/ 1600319 w 1788043"/>
              <a:gd name="connsiteY2" fmla="*/ 363338 h 363338"/>
              <a:gd name="connsiteX3" fmla="*/ 0 w 1788043"/>
              <a:gd name="connsiteY3" fmla="*/ 363338 h 363338"/>
              <a:gd name="connsiteX4" fmla="*/ 0 w 1788043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138221 w 1926264"/>
              <a:gd name="connsiteY3" fmla="*/ 363338 h 363338"/>
              <a:gd name="connsiteX4" fmla="*/ 0 w 1926264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6284 w 1926264"/>
              <a:gd name="connsiteY3" fmla="*/ 363338 h 363338"/>
              <a:gd name="connsiteX4" fmla="*/ 0 w 1926264"/>
              <a:gd name="connsiteY4" fmla="*/ 0 h 363338"/>
              <a:gd name="connsiteX0" fmla="*/ 43978 w 1970242"/>
              <a:gd name="connsiteY0" fmla="*/ 0 h 363338"/>
              <a:gd name="connsiteX1" fmla="*/ 1970242 w 1970242"/>
              <a:gd name="connsiteY1" fmla="*/ 0 h 363338"/>
              <a:gd name="connsiteX2" fmla="*/ 1782518 w 1970242"/>
              <a:gd name="connsiteY2" fmla="*/ 363338 h 363338"/>
              <a:gd name="connsiteX3" fmla="*/ 0 w 1970242"/>
              <a:gd name="connsiteY3" fmla="*/ 363338 h 363338"/>
              <a:gd name="connsiteX4" fmla="*/ 43978 w 1970242"/>
              <a:gd name="connsiteY4" fmla="*/ 0 h 363338"/>
              <a:gd name="connsiteX0" fmla="*/ 0 w 1926264"/>
              <a:gd name="connsiteY0" fmla="*/ 0 h 369620"/>
              <a:gd name="connsiteX1" fmla="*/ 1926264 w 1926264"/>
              <a:gd name="connsiteY1" fmla="*/ 0 h 369620"/>
              <a:gd name="connsiteX2" fmla="*/ 1738540 w 1926264"/>
              <a:gd name="connsiteY2" fmla="*/ 363338 h 369620"/>
              <a:gd name="connsiteX3" fmla="*/ 6284 w 1926264"/>
              <a:gd name="connsiteY3" fmla="*/ 369620 h 369620"/>
              <a:gd name="connsiteX4" fmla="*/ 0 w 1926264"/>
              <a:gd name="connsiteY4" fmla="*/ 0 h 369620"/>
              <a:gd name="connsiteX0" fmla="*/ 6281 w 1932545"/>
              <a:gd name="connsiteY0" fmla="*/ 0 h 369620"/>
              <a:gd name="connsiteX1" fmla="*/ 1932545 w 1932545"/>
              <a:gd name="connsiteY1" fmla="*/ 0 h 369620"/>
              <a:gd name="connsiteX2" fmla="*/ 1744821 w 1932545"/>
              <a:gd name="connsiteY2" fmla="*/ 363338 h 369620"/>
              <a:gd name="connsiteX3" fmla="*/ 0 w 1932545"/>
              <a:gd name="connsiteY3" fmla="*/ 369620 h 369620"/>
              <a:gd name="connsiteX4" fmla="*/ 6281 w 1932545"/>
              <a:gd name="connsiteY4" fmla="*/ 0 h 369620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25132 w 1926264"/>
              <a:gd name="connsiteY3" fmla="*/ 357055 h 363338"/>
              <a:gd name="connsiteX4" fmla="*/ 0 w 1926264"/>
              <a:gd name="connsiteY4" fmla="*/ 0 h 363338"/>
              <a:gd name="connsiteX0" fmla="*/ 12564 w 1938828"/>
              <a:gd name="connsiteY0" fmla="*/ 0 h 363338"/>
              <a:gd name="connsiteX1" fmla="*/ 1938828 w 1938828"/>
              <a:gd name="connsiteY1" fmla="*/ 0 h 363338"/>
              <a:gd name="connsiteX2" fmla="*/ 1751104 w 1938828"/>
              <a:gd name="connsiteY2" fmla="*/ 363338 h 363338"/>
              <a:gd name="connsiteX3" fmla="*/ 0 w 1938828"/>
              <a:gd name="connsiteY3" fmla="*/ 363338 h 363338"/>
              <a:gd name="connsiteX4" fmla="*/ 12564 w 1938828"/>
              <a:gd name="connsiteY4" fmla="*/ 0 h 363338"/>
              <a:gd name="connsiteX0" fmla="*/ 0 w 1926264"/>
              <a:gd name="connsiteY0" fmla="*/ 0 h 369621"/>
              <a:gd name="connsiteX1" fmla="*/ 1926264 w 1926264"/>
              <a:gd name="connsiteY1" fmla="*/ 0 h 369621"/>
              <a:gd name="connsiteX2" fmla="*/ 1738540 w 1926264"/>
              <a:gd name="connsiteY2" fmla="*/ 363338 h 369621"/>
              <a:gd name="connsiteX3" fmla="*/ 6284 w 1926264"/>
              <a:gd name="connsiteY3" fmla="*/ 369621 h 369621"/>
              <a:gd name="connsiteX4" fmla="*/ 0 w 1926264"/>
              <a:gd name="connsiteY4" fmla="*/ 0 h 369621"/>
              <a:gd name="connsiteX0" fmla="*/ 43978 w 1970242"/>
              <a:gd name="connsiteY0" fmla="*/ 0 h 363339"/>
              <a:gd name="connsiteX1" fmla="*/ 1970242 w 1970242"/>
              <a:gd name="connsiteY1" fmla="*/ 0 h 363339"/>
              <a:gd name="connsiteX2" fmla="*/ 1782518 w 1970242"/>
              <a:gd name="connsiteY2" fmla="*/ 363338 h 363339"/>
              <a:gd name="connsiteX3" fmla="*/ 0 w 1970242"/>
              <a:gd name="connsiteY3" fmla="*/ 363339 h 363339"/>
              <a:gd name="connsiteX4" fmla="*/ 43978 w 1970242"/>
              <a:gd name="connsiteY4" fmla="*/ 0 h 363339"/>
              <a:gd name="connsiteX0" fmla="*/ 0 w 1926264"/>
              <a:gd name="connsiteY0" fmla="*/ 0 h 363339"/>
              <a:gd name="connsiteX1" fmla="*/ 1926264 w 1926264"/>
              <a:gd name="connsiteY1" fmla="*/ 0 h 363339"/>
              <a:gd name="connsiteX2" fmla="*/ 1738540 w 1926264"/>
              <a:gd name="connsiteY2" fmla="*/ 363338 h 363339"/>
              <a:gd name="connsiteX3" fmla="*/ 1 w 1926264"/>
              <a:gd name="connsiteY3" fmla="*/ 363339 h 363339"/>
              <a:gd name="connsiteX4" fmla="*/ 0 w 1926264"/>
              <a:gd name="connsiteY4" fmla="*/ 0 h 363339"/>
              <a:gd name="connsiteX0" fmla="*/ 0 w 1926264"/>
              <a:gd name="connsiteY0" fmla="*/ 0 h 363339"/>
              <a:gd name="connsiteX1" fmla="*/ 1926264 w 1926264"/>
              <a:gd name="connsiteY1" fmla="*/ 0 h 363339"/>
              <a:gd name="connsiteX2" fmla="*/ 1824835 w 1926264"/>
              <a:gd name="connsiteY2" fmla="*/ 363338 h 363339"/>
              <a:gd name="connsiteX3" fmla="*/ 1 w 1926264"/>
              <a:gd name="connsiteY3" fmla="*/ 363339 h 363339"/>
              <a:gd name="connsiteX4" fmla="*/ 0 w 1926264"/>
              <a:gd name="connsiteY4" fmla="*/ 0 h 363339"/>
              <a:gd name="connsiteX0" fmla="*/ 0 w 1926264"/>
              <a:gd name="connsiteY0" fmla="*/ 0 h 363339"/>
              <a:gd name="connsiteX1" fmla="*/ 1926264 w 1926264"/>
              <a:gd name="connsiteY1" fmla="*/ 0 h 363339"/>
              <a:gd name="connsiteX2" fmla="*/ 1852086 w 1926264"/>
              <a:gd name="connsiteY2" fmla="*/ 363338 h 363339"/>
              <a:gd name="connsiteX3" fmla="*/ 1 w 1926264"/>
              <a:gd name="connsiteY3" fmla="*/ 363339 h 363339"/>
              <a:gd name="connsiteX4" fmla="*/ 0 w 1926264"/>
              <a:gd name="connsiteY4" fmla="*/ 0 h 3633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6264" h="363339">
                <a:moveTo>
                  <a:pt x="0" y="0"/>
                </a:moveTo>
                <a:lnTo>
                  <a:pt x="1926264" y="0"/>
                </a:lnTo>
                <a:lnTo>
                  <a:pt x="1852086" y="363338"/>
                </a:lnTo>
                <a:lnTo>
                  <a:pt x="1" y="363339"/>
                </a:lnTo>
                <a:cubicBezTo>
                  <a:pt x="1" y="242226"/>
                  <a:pt x="0" y="121113"/>
                  <a:pt x="0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TextBox 10">
            <a:extLst>
              <a:ext uri="{FF2B5EF4-FFF2-40B4-BE49-F238E27FC236}">
                <a16:creationId xmlns:a16="http://schemas.microsoft.com/office/drawing/2014/main" id="{F5550A95-756F-4C08-B6C9-52A3FBC40A22}"/>
              </a:ext>
            </a:extLst>
          </p:cNvPr>
          <p:cNvSpPr txBox="1"/>
          <p:nvPr/>
        </p:nvSpPr>
        <p:spPr>
          <a:xfrm>
            <a:off x="2874397" y="1477732"/>
            <a:ext cx="395607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 dirty="0">
                <a:solidFill>
                  <a:schemeClr val="bg1"/>
                </a:solidFill>
              </a:rPr>
              <a:t>The Process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FBF63A32-5C9E-4AEC-A8B1-B8F8A769DC4B}"/>
              </a:ext>
            </a:extLst>
          </p:cNvPr>
          <p:cNvSpPr/>
          <p:nvPr/>
        </p:nvSpPr>
        <p:spPr>
          <a:xfrm>
            <a:off x="2793551" y="3873585"/>
            <a:ext cx="900000" cy="540000"/>
          </a:xfrm>
          <a:prstGeom prst="rect">
            <a:avLst/>
          </a:prstGeom>
          <a:solidFill>
            <a:srgbClr val="E5F7E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chemeClr val="tx2"/>
                </a:solidFill>
              </a:rPr>
              <a:t>Topcoat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0AEA085C-E5C7-4DED-ADD6-A203ED65BB54}"/>
              </a:ext>
            </a:extLst>
          </p:cNvPr>
          <p:cNvSpPr/>
          <p:nvPr/>
        </p:nvSpPr>
        <p:spPr>
          <a:xfrm>
            <a:off x="3693551" y="3873585"/>
            <a:ext cx="1728000" cy="540000"/>
          </a:xfrm>
          <a:prstGeom prst="rect">
            <a:avLst/>
          </a:prstGeom>
          <a:solidFill>
            <a:srgbClr val="00B149">
              <a:alpha val="50196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chemeClr val="tx2"/>
                </a:solidFill>
              </a:rPr>
              <a:t>Curing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5870F0EA-3CCD-4535-8A65-D9EF8CDF3C8C}"/>
              </a:ext>
            </a:extLst>
          </p:cNvPr>
          <p:cNvSpPr/>
          <p:nvPr/>
        </p:nvSpPr>
        <p:spPr>
          <a:xfrm>
            <a:off x="5421551" y="3873585"/>
            <a:ext cx="1440000" cy="540000"/>
          </a:xfrm>
          <a:prstGeom prst="rect">
            <a:avLst/>
          </a:prstGeom>
          <a:solidFill>
            <a:srgbClr val="00B14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/>
              <a:t>Cooling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3C468A75-2723-467D-BEF4-B0935744CB4D}"/>
              </a:ext>
            </a:extLst>
          </p:cNvPr>
          <p:cNvSpPr/>
          <p:nvPr/>
        </p:nvSpPr>
        <p:spPr>
          <a:xfrm>
            <a:off x="2766081" y="1993911"/>
            <a:ext cx="5085530" cy="174254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ts val="1900"/>
              </a:lnSpc>
            </a:pPr>
            <a:r>
              <a:rPr lang="en-US" sz="1400" dirty="0">
                <a:solidFill>
                  <a:schemeClr val="tx1"/>
                </a:solidFill>
              </a:rPr>
              <a:t>By reducing the target object temperature from 180°C to 160°C, the heating up time of the part, and thus the total curing time, can be significantly reduced. Depending on part thickness and oven temperature the savings can differ.</a:t>
            </a:r>
            <a:endParaRPr lang="en-GB" sz="1400" dirty="0">
              <a:solidFill>
                <a:schemeClr val="tx1"/>
              </a:solidFill>
            </a:endParaRPr>
          </a:p>
        </p:txBody>
      </p:sp>
      <p:sp>
        <p:nvSpPr>
          <p:cNvPr id="57" name="Freeform 11">
            <a:extLst>
              <a:ext uri="{FF2B5EF4-FFF2-40B4-BE49-F238E27FC236}">
                <a16:creationId xmlns:a16="http://schemas.microsoft.com/office/drawing/2014/main" id="{91CFEB6B-650A-4726-BDB2-95C48C9B04CF}"/>
              </a:ext>
            </a:extLst>
          </p:cNvPr>
          <p:cNvSpPr/>
          <p:nvPr/>
        </p:nvSpPr>
        <p:spPr>
          <a:xfrm>
            <a:off x="0" y="5628858"/>
            <a:ext cx="8795657" cy="648000"/>
          </a:xfrm>
          <a:custGeom>
            <a:avLst/>
            <a:gdLst>
              <a:gd name="connsiteX0" fmla="*/ 0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0 w 2676588"/>
              <a:gd name="connsiteY4" fmla="*/ 0 h 363338"/>
              <a:gd name="connsiteX0" fmla="*/ 888545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888545 w 2676588"/>
              <a:gd name="connsiteY4" fmla="*/ 0 h 363338"/>
              <a:gd name="connsiteX0" fmla="*/ 0 w 1788043"/>
              <a:gd name="connsiteY0" fmla="*/ 0 h 363338"/>
              <a:gd name="connsiteX1" fmla="*/ 1788043 w 1788043"/>
              <a:gd name="connsiteY1" fmla="*/ 0 h 363338"/>
              <a:gd name="connsiteX2" fmla="*/ 1600319 w 1788043"/>
              <a:gd name="connsiteY2" fmla="*/ 363338 h 363338"/>
              <a:gd name="connsiteX3" fmla="*/ 0 w 1788043"/>
              <a:gd name="connsiteY3" fmla="*/ 363338 h 363338"/>
              <a:gd name="connsiteX4" fmla="*/ 0 w 1788043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138221 w 1926264"/>
              <a:gd name="connsiteY3" fmla="*/ 363338 h 363338"/>
              <a:gd name="connsiteX4" fmla="*/ 0 w 1926264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6284 w 1926264"/>
              <a:gd name="connsiteY3" fmla="*/ 363338 h 363338"/>
              <a:gd name="connsiteX4" fmla="*/ 0 w 1926264"/>
              <a:gd name="connsiteY4" fmla="*/ 0 h 363338"/>
              <a:gd name="connsiteX0" fmla="*/ 43978 w 1970242"/>
              <a:gd name="connsiteY0" fmla="*/ 0 h 363338"/>
              <a:gd name="connsiteX1" fmla="*/ 1970242 w 1970242"/>
              <a:gd name="connsiteY1" fmla="*/ 0 h 363338"/>
              <a:gd name="connsiteX2" fmla="*/ 1782518 w 1970242"/>
              <a:gd name="connsiteY2" fmla="*/ 363338 h 363338"/>
              <a:gd name="connsiteX3" fmla="*/ 0 w 1970242"/>
              <a:gd name="connsiteY3" fmla="*/ 363338 h 363338"/>
              <a:gd name="connsiteX4" fmla="*/ 43978 w 1970242"/>
              <a:gd name="connsiteY4" fmla="*/ 0 h 363338"/>
              <a:gd name="connsiteX0" fmla="*/ 0 w 1926264"/>
              <a:gd name="connsiteY0" fmla="*/ 0 h 369620"/>
              <a:gd name="connsiteX1" fmla="*/ 1926264 w 1926264"/>
              <a:gd name="connsiteY1" fmla="*/ 0 h 369620"/>
              <a:gd name="connsiteX2" fmla="*/ 1738540 w 1926264"/>
              <a:gd name="connsiteY2" fmla="*/ 363338 h 369620"/>
              <a:gd name="connsiteX3" fmla="*/ 6284 w 1926264"/>
              <a:gd name="connsiteY3" fmla="*/ 369620 h 369620"/>
              <a:gd name="connsiteX4" fmla="*/ 0 w 1926264"/>
              <a:gd name="connsiteY4" fmla="*/ 0 h 369620"/>
              <a:gd name="connsiteX0" fmla="*/ 6281 w 1932545"/>
              <a:gd name="connsiteY0" fmla="*/ 0 h 369620"/>
              <a:gd name="connsiteX1" fmla="*/ 1932545 w 1932545"/>
              <a:gd name="connsiteY1" fmla="*/ 0 h 369620"/>
              <a:gd name="connsiteX2" fmla="*/ 1744821 w 1932545"/>
              <a:gd name="connsiteY2" fmla="*/ 363338 h 369620"/>
              <a:gd name="connsiteX3" fmla="*/ 0 w 1932545"/>
              <a:gd name="connsiteY3" fmla="*/ 369620 h 369620"/>
              <a:gd name="connsiteX4" fmla="*/ 6281 w 1932545"/>
              <a:gd name="connsiteY4" fmla="*/ 0 h 369620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25132 w 1926264"/>
              <a:gd name="connsiteY3" fmla="*/ 357055 h 363338"/>
              <a:gd name="connsiteX4" fmla="*/ 0 w 1926264"/>
              <a:gd name="connsiteY4" fmla="*/ 0 h 363338"/>
              <a:gd name="connsiteX0" fmla="*/ 12564 w 1938828"/>
              <a:gd name="connsiteY0" fmla="*/ 0 h 363338"/>
              <a:gd name="connsiteX1" fmla="*/ 1938828 w 1938828"/>
              <a:gd name="connsiteY1" fmla="*/ 0 h 363338"/>
              <a:gd name="connsiteX2" fmla="*/ 1751104 w 1938828"/>
              <a:gd name="connsiteY2" fmla="*/ 363338 h 363338"/>
              <a:gd name="connsiteX3" fmla="*/ 0 w 1938828"/>
              <a:gd name="connsiteY3" fmla="*/ 363338 h 363338"/>
              <a:gd name="connsiteX4" fmla="*/ 12564 w 1938828"/>
              <a:gd name="connsiteY4" fmla="*/ 0 h 363338"/>
              <a:gd name="connsiteX0" fmla="*/ 0 w 1926264"/>
              <a:gd name="connsiteY0" fmla="*/ 0 h 369621"/>
              <a:gd name="connsiteX1" fmla="*/ 1926264 w 1926264"/>
              <a:gd name="connsiteY1" fmla="*/ 0 h 369621"/>
              <a:gd name="connsiteX2" fmla="*/ 1738540 w 1926264"/>
              <a:gd name="connsiteY2" fmla="*/ 363338 h 369621"/>
              <a:gd name="connsiteX3" fmla="*/ 6284 w 1926264"/>
              <a:gd name="connsiteY3" fmla="*/ 369621 h 369621"/>
              <a:gd name="connsiteX4" fmla="*/ 0 w 1926264"/>
              <a:gd name="connsiteY4" fmla="*/ 0 h 369621"/>
              <a:gd name="connsiteX0" fmla="*/ 43978 w 1970242"/>
              <a:gd name="connsiteY0" fmla="*/ 0 h 363339"/>
              <a:gd name="connsiteX1" fmla="*/ 1970242 w 1970242"/>
              <a:gd name="connsiteY1" fmla="*/ 0 h 363339"/>
              <a:gd name="connsiteX2" fmla="*/ 1782518 w 1970242"/>
              <a:gd name="connsiteY2" fmla="*/ 363338 h 363339"/>
              <a:gd name="connsiteX3" fmla="*/ 0 w 1970242"/>
              <a:gd name="connsiteY3" fmla="*/ 363339 h 363339"/>
              <a:gd name="connsiteX4" fmla="*/ 43978 w 1970242"/>
              <a:gd name="connsiteY4" fmla="*/ 0 h 363339"/>
              <a:gd name="connsiteX0" fmla="*/ 0 w 1926264"/>
              <a:gd name="connsiteY0" fmla="*/ 0 h 363339"/>
              <a:gd name="connsiteX1" fmla="*/ 1926264 w 1926264"/>
              <a:gd name="connsiteY1" fmla="*/ 0 h 363339"/>
              <a:gd name="connsiteX2" fmla="*/ 1738540 w 1926264"/>
              <a:gd name="connsiteY2" fmla="*/ 363338 h 363339"/>
              <a:gd name="connsiteX3" fmla="*/ 1 w 1926264"/>
              <a:gd name="connsiteY3" fmla="*/ 363339 h 363339"/>
              <a:gd name="connsiteX4" fmla="*/ 0 w 1926264"/>
              <a:gd name="connsiteY4" fmla="*/ 0 h 363339"/>
              <a:gd name="connsiteX0" fmla="*/ 0 w 3440015"/>
              <a:gd name="connsiteY0" fmla="*/ 0 h 363339"/>
              <a:gd name="connsiteX1" fmla="*/ 3440015 w 3440015"/>
              <a:gd name="connsiteY1" fmla="*/ 0 h 363339"/>
              <a:gd name="connsiteX2" fmla="*/ 3252291 w 3440015"/>
              <a:gd name="connsiteY2" fmla="*/ 363338 h 363339"/>
              <a:gd name="connsiteX3" fmla="*/ 1513752 w 3440015"/>
              <a:gd name="connsiteY3" fmla="*/ 363339 h 363339"/>
              <a:gd name="connsiteX4" fmla="*/ 0 w 3440015"/>
              <a:gd name="connsiteY4" fmla="*/ 0 h 363339"/>
              <a:gd name="connsiteX0" fmla="*/ 0 w 3440015"/>
              <a:gd name="connsiteY0" fmla="*/ 0 h 363339"/>
              <a:gd name="connsiteX1" fmla="*/ 3440015 w 3440015"/>
              <a:gd name="connsiteY1" fmla="*/ 0 h 363339"/>
              <a:gd name="connsiteX2" fmla="*/ 3252291 w 3440015"/>
              <a:gd name="connsiteY2" fmla="*/ 363338 h 363339"/>
              <a:gd name="connsiteX3" fmla="*/ 1 w 3440015"/>
              <a:gd name="connsiteY3" fmla="*/ 363339 h 363339"/>
              <a:gd name="connsiteX4" fmla="*/ 0 w 3440015"/>
              <a:gd name="connsiteY4" fmla="*/ 0 h 363339"/>
              <a:gd name="connsiteX0" fmla="*/ 0 w 3440015"/>
              <a:gd name="connsiteY0" fmla="*/ 0 h 363339"/>
              <a:gd name="connsiteX1" fmla="*/ 3440015 w 3440015"/>
              <a:gd name="connsiteY1" fmla="*/ 0 h 363339"/>
              <a:gd name="connsiteX2" fmla="*/ 3252291 w 3440015"/>
              <a:gd name="connsiteY2" fmla="*/ 363338 h 363339"/>
              <a:gd name="connsiteX3" fmla="*/ 192223 w 3440015"/>
              <a:gd name="connsiteY3" fmla="*/ 363339 h 363339"/>
              <a:gd name="connsiteX4" fmla="*/ 0 w 3440015"/>
              <a:gd name="connsiteY4" fmla="*/ 0 h 363339"/>
              <a:gd name="connsiteX0" fmla="*/ 0 w 3247793"/>
              <a:gd name="connsiteY0" fmla="*/ 0 h 363339"/>
              <a:gd name="connsiteX1" fmla="*/ 3247793 w 3247793"/>
              <a:gd name="connsiteY1" fmla="*/ 0 h 363339"/>
              <a:gd name="connsiteX2" fmla="*/ 3060069 w 3247793"/>
              <a:gd name="connsiteY2" fmla="*/ 363338 h 363339"/>
              <a:gd name="connsiteX3" fmla="*/ 1 w 3247793"/>
              <a:gd name="connsiteY3" fmla="*/ 363339 h 363339"/>
              <a:gd name="connsiteX4" fmla="*/ 0 w 3247793"/>
              <a:gd name="connsiteY4" fmla="*/ 0 h 3633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47793" h="363339">
                <a:moveTo>
                  <a:pt x="0" y="0"/>
                </a:moveTo>
                <a:lnTo>
                  <a:pt x="3247793" y="0"/>
                </a:lnTo>
                <a:lnTo>
                  <a:pt x="3060069" y="363338"/>
                </a:lnTo>
                <a:lnTo>
                  <a:pt x="1" y="363339"/>
                </a:lnTo>
                <a:cubicBezTo>
                  <a:pt x="1" y="242226"/>
                  <a:pt x="0" y="121113"/>
                  <a:pt x="0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Rectangle 29">
            <a:extLst>
              <a:ext uri="{FF2B5EF4-FFF2-40B4-BE49-F238E27FC236}">
                <a16:creationId xmlns:a16="http://schemas.microsoft.com/office/drawing/2014/main" id="{92F5964F-F3B9-4899-ABF8-363D4DBB9A2B}"/>
              </a:ext>
            </a:extLst>
          </p:cNvPr>
          <p:cNvSpPr/>
          <p:nvPr/>
        </p:nvSpPr>
        <p:spPr>
          <a:xfrm>
            <a:off x="289423" y="5623243"/>
            <a:ext cx="887268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b="1" dirty="0">
                <a:solidFill>
                  <a:prstClr val="white"/>
                </a:solidFill>
              </a:rPr>
              <a:t>Line speed can be significantly increased by time savings of 10-25% </a:t>
            </a:r>
            <a:br>
              <a:rPr lang="en-US" b="1" dirty="0">
                <a:solidFill>
                  <a:prstClr val="white"/>
                </a:solidFill>
              </a:rPr>
            </a:br>
            <a:r>
              <a:rPr lang="en-US" b="1" dirty="0">
                <a:solidFill>
                  <a:prstClr val="white"/>
                </a:solidFill>
              </a:rPr>
              <a:t>for the complete curing process </a:t>
            </a:r>
            <a:r>
              <a:rPr lang="en-US" dirty="0">
                <a:solidFill>
                  <a:prstClr val="white"/>
                </a:solidFill>
              </a:rPr>
              <a:t>(depending on the part thickness).   </a:t>
            </a:r>
          </a:p>
        </p:txBody>
      </p:sp>
      <p:cxnSp>
        <p:nvCxnSpPr>
          <p:cNvPr id="61" name="Verbinder: gewinkelt 60">
            <a:extLst>
              <a:ext uri="{FF2B5EF4-FFF2-40B4-BE49-F238E27FC236}">
                <a16:creationId xmlns:a16="http://schemas.microsoft.com/office/drawing/2014/main" id="{C592FE63-B790-4469-837B-3E70BCFBCE4A}"/>
              </a:ext>
            </a:extLst>
          </p:cNvPr>
          <p:cNvCxnSpPr>
            <a:stCxn id="38" idx="3"/>
            <a:endCxn id="51" idx="3"/>
          </p:cNvCxnSpPr>
          <p:nvPr/>
        </p:nvCxnSpPr>
        <p:spPr>
          <a:xfrm flipH="1">
            <a:off x="6861551" y="3471981"/>
            <a:ext cx="778265" cy="671604"/>
          </a:xfrm>
          <a:prstGeom prst="bentConnector3">
            <a:avLst>
              <a:gd name="adj1" fmla="val -15841"/>
            </a:avLst>
          </a:prstGeom>
          <a:ln w="12700">
            <a:solidFill>
              <a:schemeClr val="accent4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5" name="Gleichschenkliges Dreieck 64">
            <a:extLst>
              <a:ext uri="{FF2B5EF4-FFF2-40B4-BE49-F238E27FC236}">
                <a16:creationId xmlns:a16="http://schemas.microsoft.com/office/drawing/2014/main" id="{3EE548C3-DB4C-4C23-98CF-1E4FF2F39E63}"/>
              </a:ext>
            </a:extLst>
          </p:cNvPr>
          <p:cNvSpPr/>
          <p:nvPr/>
        </p:nvSpPr>
        <p:spPr>
          <a:xfrm>
            <a:off x="6466603" y="4139928"/>
            <a:ext cx="1568160" cy="1041672"/>
          </a:xfrm>
          <a:prstGeom prst="triangle">
            <a:avLst/>
          </a:prstGeom>
          <a:solidFill>
            <a:srgbClr val="00B14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4B701C81-E4D3-44B8-95CC-60DDE0780135}"/>
              </a:ext>
            </a:extLst>
          </p:cNvPr>
          <p:cNvSpPr/>
          <p:nvPr/>
        </p:nvSpPr>
        <p:spPr>
          <a:xfrm>
            <a:off x="6830476" y="4853029"/>
            <a:ext cx="86113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GB" sz="1400" b="1" dirty="0">
                <a:solidFill>
                  <a:schemeClr val="bg1"/>
                </a:solidFill>
              </a:rPr>
              <a:t>-10-25%</a:t>
            </a:r>
          </a:p>
        </p:txBody>
      </p:sp>
      <p:pic>
        <p:nvPicPr>
          <p:cNvPr id="68" name="Grafik 67" descr="Sanduhr">
            <a:extLst>
              <a:ext uri="{FF2B5EF4-FFF2-40B4-BE49-F238E27FC236}">
                <a16:creationId xmlns:a16="http://schemas.microsoft.com/office/drawing/2014/main" id="{68E1C494-406A-4FB7-99A0-66034C824641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039417" y="4429134"/>
            <a:ext cx="422531" cy="422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663246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hteck 39">
            <a:extLst>
              <a:ext uri="{FF2B5EF4-FFF2-40B4-BE49-F238E27FC236}">
                <a16:creationId xmlns:a16="http://schemas.microsoft.com/office/drawing/2014/main" id="{EB27DE0A-B15E-4FEB-ACB5-124FFCD80495}"/>
              </a:ext>
            </a:extLst>
          </p:cNvPr>
          <p:cNvSpPr/>
          <p:nvPr/>
        </p:nvSpPr>
        <p:spPr>
          <a:xfrm>
            <a:off x="766216" y="1260132"/>
            <a:ext cx="1504373" cy="13823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Title 3">
            <a:extLst>
              <a:ext uri="{FF2B5EF4-FFF2-40B4-BE49-F238E27FC236}">
                <a16:creationId xmlns:a16="http://schemas.microsoft.com/office/drawing/2014/main" id="{703D39C9-9B85-4F87-8271-E3F961C6AA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2884" y="323849"/>
            <a:ext cx="11670783" cy="859536"/>
          </a:xfrm>
        </p:spPr>
        <p:txBody>
          <a:bodyPr/>
          <a:lstStyle/>
          <a:p>
            <a:r>
              <a:rPr lang="en-US" dirty="0"/>
              <a:t>Become more efficient!</a:t>
            </a:r>
            <a:br>
              <a:rPr lang="en-US" dirty="0"/>
            </a:br>
            <a:r>
              <a:rPr lang="en-US" sz="2500" dirty="0" err="1">
                <a:solidFill>
                  <a:schemeClr val="accent1"/>
                </a:solidFill>
              </a:rPr>
              <a:t>EnergX</a:t>
            </a:r>
            <a:r>
              <a:rPr lang="en-US" sz="2500" dirty="0">
                <a:solidFill>
                  <a:schemeClr val="accent1"/>
                </a:solidFill>
              </a:rPr>
              <a:t> ULTRA</a:t>
            </a:r>
            <a:r>
              <a:rPr lang="en-US" sz="2500" b="0" dirty="0">
                <a:solidFill>
                  <a:schemeClr val="accent1"/>
                </a:solidFill>
              </a:rPr>
              <a:t> speedcure option – a case study</a:t>
            </a:r>
            <a:endParaRPr lang="pl-PL" sz="2500" b="0" dirty="0">
              <a:solidFill>
                <a:schemeClr val="accent1"/>
              </a:solidFill>
            </a:endParaRP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295A37D5-7853-4540-BDCE-52C84D24E104}"/>
              </a:ext>
            </a:extLst>
          </p:cNvPr>
          <p:cNvSpPr txBox="1">
            <a:spLocks/>
          </p:cNvSpPr>
          <p:nvPr/>
        </p:nvSpPr>
        <p:spPr>
          <a:xfrm>
            <a:off x="321503" y="6496407"/>
            <a:ext cx="455756" cy="17222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chemeClr val="tx2"/>
                </a:solidFill>
                <a:latin typeface="+mn-lt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666666"/>
                </a:solidFill>
                <a:latin typeface="Arial" panose="020B0604020202020204"/>
              </a:rPr>
              <a:t>17</a:t>
            </a:r>
          </a:p>
        </p:txBody>
      </p:sp>
      <p:sp>
        <p:nvSpPr>
          <p:cNvPr id="19" name="Footer Placeholder 1">
            <a:extLst>
              <a:ext uri="{FF2B5EF4-FFF2-40B4-BE49-F238E27FC236}">
                <a16:creationId xmlns:a16="http://schemas.microsoft.com/office/drawing/2014/main" id="{9CBA4AA6-5E8D-1849-AC86-CEA08B9AE6E9}"/>
              </a:ext>
            </a:extLst>
          </p:cNvPr>
          <p:cNvSpPr txBox="1">
            <a:spLocks/>
          </p:cNvSpPr>
          <p:nvPr/>
        </p:nvSpPr>
        <p:spPr>
          <a:xfrm>
            <a:off x="763811" y="6496407"/>
            <a:ext cx="9460550" cy="17222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chemeClr val="tx2"/>
                </a:solidFill>
                <a:latin typeface="+mn-lt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666666"/>
                </a:solidFill>
                <a:latin typeface="Arial" panose="020B0604020202020204"/>
              </a:rPr>
              <a:t>Powder Coatings from PPG ©2023 PPG Industries, Inc. All rights reserved</a:t>
            </a:r>
          </a:p>
        </p:txBody>
      </p:sp>
      <p:sp>
        <p:nvSpPr>
          <p:cNvPr id="8" name="Freeform 22">
            <a:extLst>
              <a:ext uri="{FF2B5EF4-FFF2-40B4-BE49-F238E27FC236}">
                <a16:creationId xmlns:a16="http://schemas.microsoft.com/office/drawing/2014/main" id="{6335FE08-1085-4DFF-9DE6-F8565C36918B}"/>
              </a:ext>
            </a:extLst>
          </p:cNvPr>
          <p:cNvSpPr/>
          <p:nvPr/>
        </p:nvSpPr>
        <p:spPr>
          <a:xfrm rot="10800000">
            <a:off x="1559700" y="1456024"/>
            <a:ext cx="4197036" cy="1046930"/>
          </a:xfrm>
          <a:custGeom>
            <a:avLst/>
            <a:gdLst>
              <a:gd name="connsiteX0" fmla="*/ 0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0 w 2676588"/>
              <a:gd name="connsiteY4" fmla="*/ 0 h 363338"/>
              <a:gd name="connsiteX0" fmla="*/ 888545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888545 w 2676588"/>
              <a:gd name="connsiteY4" fmla="*/ 0 h 363338"/>
              <a:gd name="connsiteX0" fmla="*/ 0 w 1788043"/>
              <a:gd name="connsiteY0" fmla="*/ 0 h 363338"/>
              <a:gd name="connsiteX1" fmla="*/ 1788043 w 1788043"/>
              <a:gd name="connsiteY1" fmla="*/ 0 h 363338"/>
              <a:gd name="connsiteX2" fmla="*/ 1600319 w 1788043"/>
              <a:gd name="connsiteY2" fmla="*/ 363338 h 363338"/>
              <a:gd name="connsiteX3" fmla="*/ 0 w 1788043"/>
              <a:gd name="connsiteY3" fmla="*/ 363338 h 363338"/>
              <a:gd name="connsiteX4" fmla="*/ 0 w 1788043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138221 w 1926264"/>
              <a:gd name="connsiteY3" fmla="*/ 363338 h 363338"/>
              <a:gd name="connsiteX4" fmla="*/ 0 w 1926264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6284 w 1926264"/>
              <a:gd name="connsiteY3" fmla="*/ 363338 h 363338"/>
              <a:gd name="connsiteX4" fmla="*/ 0 w 1926264"/>
              <a:gd name="connsiteY4" fmla="*/ 0 h 363338"/>
              <a:gd name="connsiteX0" fmla="*/ 43978 w 1970242"/>
              <a:gd name="connsiteY0" fmla="*/ 0 h 363338"/>
              <a:gd name="connsiteX1" fmla="*/ 1970242 w 1970242"/>
              <a:gd name="connsiteY1" fmla="*/ 0 h 363338"/>
              <a:gd name="connsiteX2" fmla="*/ 1782518 w 1970242"/>
              <a:gd name="connsiteY2" fmla="*/ 363338 h 363338"/>
              <a:gd name="connsiteX3" fmla="*/ 0 w 1970242"/>
              <a:gd name="connsiteY3" fmla="*/ 363338 h 363338"/>
              <a:gd name="connsiteX4" fmla="*/ 43978 w 1970242"/>
              <a:gd name="connsiteY4" fmla="*/ 0 h 363338"/>
              <a:gd name="connsiteX0" fmla="*/ 0 w 1926264"/>
              <a:gd name="connsiteY0" fmla="*/ 0 h 369620"/>
              <a:gd name="connsiteX1" fmla="*/ 1926264 w 1926264"/>
              <a:gd name="connsiteY1" fmla="*/ 0 h 369620"/>
              <a:gd name="connsiteX2" fmla="*/ 1738540 w 1926264"/>
              <a:gd name="connsiteY2" fmla="*/ 363338 h 369620"/>
              <a:gd name="connsiteX3" fmla="*/ 6284 w 1926264"/>
              <a:gd name="connsiteY3" fmla="*/ 369620 h 369620"/>
              <a:gd name="connsiteX4" fmla="*/ 0 w 1926264"/>
              <a:gd name="connsiteY4" fmla="*/ 0 h 369620"/>
              <a:gd name="connsiteX0" fmla="*/ 6281 w 1932545"/>
              <a:gd name="connsiteY0" fmla="*/ 0 h 369620"/>
              <a:gd name="connsiteX1" fmla="*/ 1932545 w 1932545"/>
              <a:gd name="connsiteY1" fmla="*/ 0 h 369620"/>
              <a:gd name="connsiteX2" fmla="*/ 1744821 w 1932545"/>
              <a:gd name="connsiteY2" fmla="*/ 363338 h 369620"/>
              <a:gd name="connsiteX3" fmla="*/ 0 w 1932545"/>
              <a:gd name="connsiteY3" fmla="*/ 369620 h 369620"/>
              <a:gd name="connsiteX4" fmla="*/ 6281 w 1932545"/>
              <a:gd name="connsiteY4" fmla="*/ 0 h 369620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25132 w 1926264"/>
              <a:gd name="connsiteY3" fmla="*/ 357055 h 363338"/>
              <a:gd name="connsiteX4" fmla="*/ 0 w 1926264"/>
              <a:gd name="connsiteY4" fmla="*/ 0 h 363338"/>
              <a:gd name="connsiteX0" fmla="*/ 12564 w 1938828"/>
              <a:gd name="connsiteY0" fmla="*/ 0 h 363338"/>
              <a:gd name="connsiteX1" fmla="*/ 1938828 w 1938828"/>
              <a:gd name="connsiteY1" fmla="*/ 0 h 363338"/>
              <a:gd name="connsiteX2" fmla="*/ 1751104 w 1938828"/>
              <a:gd name="connsiteY2" fmla="*/ 363338 h 363338"/>
              <a:gd name="connsiteX3" fmla="*/ 0 w 1938828"/>
              <a:gd name="connsiteY3" fmla="*/ 363338 h 363338"/>
              <a:gd name="connsiteX4" fmla="*/ 12564 w 1938828"/>
              <a:gd name="connsiteY4" fmla="*/ 0 h 363338"/>
              <a:gd name="connsiteX0" fmla="*/ 0 w 1926264"/>
              <a:gd name="connsiteY0" fmla="*/ 0 h 369621"/>
              <a:gd name="connsiteX1" fmla="*/ 1926264 w 1926264"/>
              <a:gd name="connsiteY1" fmla="*/ 0 h 369621"/>
              <a:gd name="connsiteX2" fmla="*/ 1738540 w 1926264"/>
              <a:gd name="connsiteY2" fmla="*/ 363338 h 369621"/>
              <a:gd name="connsiteX3" fmla="*/ 6284 w 1926264"/>
              <a:gd name="connsiteY3" fmla="*/ 369621 h 369621"/>
              <a:gd name="connsiteX4" fmla="*/ 0 w 1926264"/>
              <a:gd name="connsiteY4" fmla="*/ 0 h 369621"/>
              <a:gd name="connsiteX0" fmla="*/ 43978 w 1970242"/>
              <a:gd name="connsiteY0" fmla="*/ 0 h 363339"/>
              <a:gd name="connsiteX1" fmla="*/ 1970242 w 1970242"/>
              <a:gd name="connsiteY1" fmla="*/ 0 h 363339"/>
              <a:gd name="connsiteX2" fmla="*/ 1782518 w 1970242"/>
              <a:gd name="connsiteY2" fmla="*/ 363338 h 363339"/>
              <a:gd name="connsiteX3" fmla="*/ 0 w 1970242"/>
              <a:gd name="connsiteY3" fmla="*/ 363339 h 363339"/>
              <a:gd name="connsiteX4" fmla="*/ 43978 w 1970242"/>
              <a:gd name="connsiteY4" fmla="*/ 0 h 363339"/>
              <a:gd name="connsiteX0" fmla="*/ 0 w 1926264"/>
              <a:gd name="connsiteY0" fmla="*/ 0 h 363339"/>
              <a:gd name="connsiteX1" fmla="*/ 1926264 w 1926264"/>
              <a:gd name="connsiteY1" fmla="*/ 0 h 363339"/>
              <a:gd name="connsiteX2" fmla="*/ 1738540 w 1926264"/>
              <a:gd name="connsiteY2" fmla="*/ 363338 h 363339"/>
              <a:gd name="connsiteX3" fmla="*/ 1 w 1926264"/>
              <a:gd name="connsiteY3" fmla="*/ 363339 h 363339"/>
              <a:gd name="connsiteX4" fmla="*/ 0 w 1926264"/>
              <a:gd name="connsiteY4" fmla="*/ 0 h 363339"/>
              <a:gd name="connsiteX0" fmla="*/ 469670 w 1926263"/>
              <a:gd name="connsiteY0" fmla="*/ 0 h 363339"/>
              <a:gd name="connsiteX1" fmla="*/ 1926263 w 1926263"/>
              <a:gd name="connsiteY1" fmla="*/ 0 h 363339"/>
              <a:gd name="connsiteX2" fmla="*/ 1738539 w 1926263"/>
              <a:gd name="connsiteY2" fmla="*/ 363338 h 363339"/>
              <a:gd name="connsiteX3" fmla="*/ 0 w 1926263"/>
              <a:gd name="connsiteY3" fmla="*/ 363339 h 363339"/>
              <a:gd name="connsiteX4" fmla="*/ 469670 w 1926263"/>
              <a:gd name="connsiteY4" fmla="*/ 0 h 363339"/>
              <a:gd name="connsiteX0" fmla="*/ 0 w 1456593"/>
              <a:gd name="connsiteY0" fmla="*/ 0 h 363339"/>
              <a:gd name="connsiteX1" fmla="*/ 1456593 w 1456593"/>
              <a:gd name="connsiteY1" fmla="*/ 0 h 363339"/>
              <a:gd name="connsiteX2" fmla="*/ 1268869 w 1456593"/>
              <a:gd name="connsiteY2" fmla="*/ 363338 h 363339"/>
              <a:gd name="connsiteX3" fmla="*/ 1 w 1456593"/>
              <a:gd name="connsiteY3" fmla="*/ 363339 h 363339"/>
              <a:gd name="connsiteX4" fmla="*/ 0 w 1456593"/>
              <a:gd name="connsiteY4" fmla="*/ 0 h 3633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56593" h="363339">
                <a:moveTo>
                  <a:pt x="0" y="0"/>
                </a:moveTo>
                <a:lnTo>
                  <a:pt x="1456593" y="0"/>
                </a:lnTo>
                <a:lnTo>
                  <a:pt x="1268869" y="363338"/>
                </a:lnTo>
                <a:lnTo>
                  <a:pt x="1" y="363339"/>
                </a:lnTo>
                <a:cubicBezTo>
                  <a:pt x="1" y="242226"/>
                  <a:pt x="0" y="121113"/>
                  <a:pt x="0" y="0"/>
                </a:cubicBezTo>
                <a:close/>
              </a:path>
            </a:pathLst>
          </a:custGeom>
          <a:solidFill>
            <a:schemeClr val="accent2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Freeform 20">
            <a:extLst>
              <a:ext uri="{FF2B5EF4-FFF2-40B4-BE49-F238E27FC236}">
                <a16:creationId xmlns:a16="http://schemas.microsoft.com/office/drawing/2014/main" id="{5440B1DC-FA7C-47AF-973B-C769193D44C1}"/>
              </a:ext>
            </a:extLst>
          </p:cNvPr>
          <p:cNvSpPr/>
          <p:nvPr/>
        </p:nvSpPr>
        <p:spPr>
          <a:xfrm>
            <a:off x="303808" y="1456024"/>
            <a:ext cx="4197036" cy="1046930"/>
          </a:xfrm>
          <a:custGeom>
            <a:avLst/>
            <a:gdLst>
              <a:gd name="connsiteX0" fmla="*/ 0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0 w 2676588"/>
              <a:gd name="connsiteY4" fmla="*/ 0 h 363338"/>
              <a:gd name="connsiteX0" fmla="*/ 888545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888545 w 2676588"/>
              <a:gd name="connsiteY4" fmla="*/ 0 h 363338"/>
              <a:gd name="connsiteX0" fmla="*/ 0 w 1788043"/>
              <a:gd name="connsiteY0" fmla="*/ 0 h 363338"/>
              <a:gd name="connsiteX1" fmla="*/ 1788043 w 1788043"/>
              <a:gd name="connsiteY1" fmla="*/ 0 h 363338"/>
              <a:gd name="connsiteX2" fmla="*/ 1600319 w 1788043"/>
              <a:gd name="connsiteY2" fmla="*/ 363338 h 363338"/>
              <a:gd name="connsiteX3" fmla="*/ 0 w 1788043"/>
              <a:gd name="connsiteY3" fmla="*/ 363338 h 363338"/>
              <a:gd name="connsiteX4" fmla="*/ 0 w 1788043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138221 w 1926264"/>
              <a:gd name="connsiteY3" fmla="*/ 363338 h 363338"/>
              <a:gd name="connsiteX4" fmla="*/ 0 w 1926264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6284 w 1926264"/>
              <a:gd name="connsiteY3" fmla="*/ 363338 h 363338"/>
              <a:gd name="connsiteX4" fmla="*/ 0 w 1926264"/>
              <a:gd name="connsiteY4" fmla="*/ 0 h 363338"/>
              <a:gd name="connsiteX0" fmla="*/ 43978 w 1970242"/>
              <a:gd name="connsiteY0" fmla="*/ 0 h 363338"/>
              <a:gd name="connsiteX1" fmla="*/ 1970242 w 1970242"/>
              <a:gd name="connsiteY1" fmla="*/ 0 h 363338"/>
              <a:gd name="connsiteX2" fmla="*/ 1782518 w 1970242"/>
              <a:gd name="connsiteY2" fmla="*/ 363338 h 363338"/>
              <a:gd name="connsiteX3" fmla="*/ 0 w 1970242"/>
              <a:gd name="connsiteY3" fmla="*/ 363338 h 363338"/>
              <a:gd name="connsiteX4" fmla="*/ 43978 w 1970242"/>
              <a:gd name="connsiteY4" fmla="*/ 0 h 363338"/>
              <a:gd name="connsiteX0" fmla="*/ 0 w 1926264"/>
              <a:gd name="connsiteY0" fmla="*/ 0 h 369620"/>
              <a:gd name="connsiteX1" fmla="*/ 1926264 w 1926264"/>
              <a:gd name="connsiteY1" fmla="*/ 0 h 369620"/>
              <a:gd name="connsiteX2" fmla="*/ 1738540 w 1926264"/>
              <a:gd name="connsiteY2" fmla="*/ 363338 h 369620"/>
              <a:gd name="connsiteX3" fmla="*/ 6284 w 1926264"/>
              <a:gd name="connsiteY3" fmla="*/ 369620 h 369620"/>
              <a:gd name="connsiteX4" fmla="*/ 0 w 1926264"/>
              <a:gd name="connsiteY4" fmla="*/ 0 h 369620"/>
              <a:gd name="connsiteX0" fmla="*/ 6281 w 1932545"/>
              <a:gd name="connsiteY0" fmla="*/ 0 h 369620"/>
              <a:gd name="connsiteX1" fmla="*/ 1932545 w 1932545"/>
              <a:gd name="connsiteY1" fmla="*/ 0 h 369620"/>
              <a:gd name="connsiteX2" fmla="*/ 1744821 w 1932545"/>
              <a:gd name="connsiteY2" fmla="*/ 363338 h 369620"/>
              <a:gd name="connsiteX3" fmla="*/ 0 w 1932545"/>
              <a:gd name="connsiteY3" fmla="*/ 369620 h 369620"/>
              <a:gd name="connsiteX4" fmla="*/ 6281 w 1932545"/>
              <a:gd name="connsiteY4" fmla="*/ 0 h 369620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25132 w 1926264"/>
              <a:gd name="connsiteY3" fmla="*/ 357055 h 363338"/>
              <a:gd name="connsiteX4" fmla="*/ 0 w 1926264"/>
              <a:gd name="connsiteY4" fmla="*/ 0 h 363338"/>
              <a:gd name="connsiteX0" fmla="*/ 12564 w 1938828"/>
              <a:gd name="connsiteY0" fmla="*/ 0 h 363338"/>
              <a:gd name="connsiteX1" fmla="*/ 1938828 w 1938828"/>
              <a:gd name="connsiteY1" fmla="*/ 0 h 363338"/>
              <a:gd name="connsiteX2" fmla="*/ 1751104 w 1938828"/>
              <a:gd name="connsiteY2" fmla="*/ 363338 h 363338"/>
              <a:gd name="connsiteX3" fmla="*/ 0 w 1938828"/>
              <a:gd name="connsiteY3" fmla="*/ 363338 h 363338"/>
              <a:gd name="connsiteX4" fmla="*/ 12564 w 1938828"/>
              <a:gd name="connsiteY4" fmla="*/ 0 h 363338"/>
              <a:gd name="connsiteX0" fmla="*/ 0 w 1926264"/>
              <a:gd name="connsiteY0" fmla="*/ 0 h 369621"/>
              <a:gd name="connsiteX1" fmla="*/ 1926264 w 1926264"/>
              <a:gd name="connsiteY1" fmla="*/ 0 h 369621"/>
              <a:gd name="connsiteX2" fmla="*/ 1738540 w 1926264"/>
              <a:gd name="connsiteY2" fmla="*/ 363338 h 369621"/>
              <a:gd name="connsiteX3" fmla="*/ 6284 w 1926264"/>
              <a:gd name="connsiteY3" fmla="*/ 369621 h 369621"/>
              <a:gd name="connsiteX4" fmla="*/ 0 w 1926264"/>
              <a:gd name="connsiteY4" fmla="*/ 0 h 369621"/>
              <a:gd name="connsiteX0" fmla="*/ 43978 w 1970242"/>
              <a:gd name="connsiteY0" fmla="*/ 0 h 363339"/>
              <a:gd name="connsiteX1" fmla="*/ 1970242 w 1970242"/>
              <a:gd name="connsiteY1" fmla="*/ 0 h 363339"/>
              <a:gd name="connsiteX2" fmla="*/ 1782518 w 1970242"/>
              <a:gd name="connsiteY2" fmla="*/ 363338 h 363339"/>
              <a:gd name="connsiteX3" fmla="*/ 0 w 1970242"/>
              <a:gd name="connsiteY3" fmla="*/ 363339 h 363339"/>
              <a:gd name="connsiteX4" fmla="*/ 43978 w 1970242"/>
              <a:gd name="connsiteY4" fmla="*/ 0 h 363339"/>
              <a:gd name="connsiteX0" fmla="*/ 0 w 1926264"/>
              <a:gd name="connsiteY0" fmla="*/ 0 h 363339"/>
              <a:gd name="connsiteX1" fmla="*/ 1926264 w 1926264"/>
              <a:gd name="connsiteY1" fmla="*/ 0 h 363339"/>
              <a:gd name="connsiteX2" fmla="*/ 1738540 w 1926264"/>
              <a:gd name="connsiteY2" fmla="*/ 363338 h 363339"/>
              <a:gd name="connsiteX3" fmla="*/ 1 w 1926264"/>
              <a:gd name="connsiteY3" fmla="*/ 363339 h 363339"/>
              <a:gd name="connsiteX4" fmla="*/ 0 w 1926264"/>
              <a:gd name="connsiteY4" fmla="*/ 0 h 363339"/>
              <a:gd name="connsiteX0" fmla="*/ 469670 w 1926263"/>
              <a:gd name="connsiteY0" fmla="*/ 0 h 363339"/>
              <a:gd name="connsiteX1" fmla="*/ 1926263 w 1926263"/>
              <a:gd name="connsiteY1" fmla="*/ 0 h 363339"/>
              <a:gd name="connsiteX2" fmla="*/ 1738539 w 1926263"/>
              <a:gd name="connsiteY2" fmla="*/ 363338 h 363339"/>
              <a:gd name="connsiteX3" fmla="*/ 0 w 1926263"/>
              <a:gd name="connsiteY3" fmla="*/ 363339 h 363339"/>
              <a:gd name="connsiteX4" fmla="*/ 469670 w 1926263"/>
              <a:gd name="connsiteY4" fmla="*/ 0 h 363339"/>
              <a:gd name="connsiteX0" fmla="*/ 0 w 1456593"/>
              <a:gd name="connsiteY0" fmla="*/ 0 h 363339"/>
              <a:gd name="connsiteX1" fmla="*/ 1456593 w 1456593"/>
              <a:gd name="connsiteY1" fmla="*/ 0 h 363339"/>
              <a:gd name="connsiteX2" fmla="*/ 1268869 w 1456593"/>
              <a:gd name="connsiteY2" fmla="*/ 363338 h 363339"/>
              <a:gd name="connsiteX3" fmla="*/ 1 w 1456593"/>
              <a:gd name="connsiteY3" fmla="*/ 363339 h 363339"/>
              <a:gd name="connsiteX4" fmla="*/ 0 w 1456593"/>
              <a:gd name="connsiteY4" fmla="*/ 0 h 3633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56593" h="363339">
                <a:moveTo>
                  <a:pt x="0" y="0"/>
                </a:moveTo>
                <a:lnTo>
                  <a:pt x="1456593" y="0"/>
                </a:lnTo>
                <a:lnTo>
                  <a:pt x="1268869" y="363338"/>
                </a:lnTo>
                <a:lnTo>
                  <a:pt x="1" y="363339"/>
                </a:lnTo>
                <a:cubicBezTo>
                  <a:pt x="1" y="242226"/>
                  <a:pt x="0" y="121113"/>
                  <a:pt x="0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B5DC9AF8-ED05-4693-8828-70B34C873635}"/>
              </a:ext>
            </a:extLst>
          </p:cNvPr>
          <p:cNvSpPr/>
          <p:nvPr/>
        </p:nvSpPr>
        <p:spPr>
          <a:xfrm>
            <a:off x="312884" y="2720552"/>
            <a:ext cx="5443852" cy="3384973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180975" lvl="0" indent="-180975">
              <a:spcAft>
                <a:spcPts val="9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prstClr val="black"/>
                </a:solidFill>
              </a:rPr>
              <a:t>Agricultural and construction machinery segment</a:t>
            </a:r>
          </a:p>
          <a:p>
            <a:pPr marL="180975" lvl="0" indent="-180975">
              <a:spcAft>
                <a:spcPts val="9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prstClr val="black"/>
                </a:solidFill>
              </a:rPr>
              <a:t>Ultradurable standard bake </a:t>
            </a:r>
            <a:r>
              <a:rPr lang="en-US" sz="1600" dirty="0">
                <a:solidFill>
                  <a:prstClr val="black"/>
                </a:solidFill>
              </a:rPr>
              <a:t>polyester powder topcoat as existing system</a:t>
            </a:r>
          </a:p>
          <a:p>
            <a:pPr lvl="0">
              <a:spcAft>
                <a:spcPts val="900"/>
              </a:spcAft>
              <a:buClr>
                <a:schemeClr val="accent6"/>
              </a:buClr>
            </a:pPr>
            <a:r>
              <a:rPr lang="en-US" sz="1600" b="1" dirty="0">
                <a:solidFill>
                  <a:schemeClr val="accent2"/>
                </a:solidFill>
              </a:rPr>
              <a:t>Situation</a:t>
            </a:r>
          </a:p>
          <a:p>
            <a:pPr marL="177800" lvl="0" indent="-177800">
              <a:spcAft>
                <a:spcPts val="9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1600" b="1" dirty="0"/>
              <a:t>Long curing times </a:t>
            </a:r>
            <a:r>
              <a:rPr lang="en-US" sz="1600" dirty="0"/>
              <a:t>of the powder coatings lead to recurring problems with short-term capacity increases</a:t>
            </a:r>
          </a:p>
          <a:p>
            <a:pPr marL="177800" lvl="0" indent="-177800">
              <a:spcAft>
                <a:spcPts val="9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1600" b="1" dirty="0"/>
              <a:t>Powder coating line </a:t>
            </a:r>
            <a:r>
              <a:rPr lang="en-US" sz="1600" dirty="0"/>
              <a:t>has become a </a:t>
            </a:r>
            <a:r>
              <a:rPr lang="en-US" sz="1600" b="1" dirty="0"/>
              <a:t>bottleneck</a:t>
            </a:r>
            <a:r>
              <a:rPr lang="en-US" sz="1600" dirty="0"/>
              <a:t> in the overall production of machineries </a:t>
            </a:r>
          </a:p>
          <a:p>
            <a:pPr marL="177800" lvl="0" indent="-177800">
              <a:spcAft>
                <a:spcPts val="9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1600" b="1" dirty="0"/>
              <a:t>Extra shifts </a:t>
            </a:r>
            <a:r>
              <a:rPr lang="en-US" sz="1600" dirty="0"/>
              <a:t>or weekend work must be introduced to create needed extra capacity</a:t>
            </a:r>
          </a:p>
          <a:p>
            <a:pPr marL="177800" lvl="0" indent="-177800">
              <a:spcAft>
                <a:spcPts val="9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endParaRPr lang="en-US" sz="1600" dirty="0"/>
          </a:p>
          <a:p>
            <a:pPr lvl="0">
              <a:spcAft>
                <a:spcPts val="900"/>
              </a:spcAft>
              <a:buClr>
                <a:schemeClr val="accent6"/>
              </a:buClr>
            </a:pPr>
            <a:endParaRPr lang="en-US" sz="1600" dirty="0"/>
          </a:p>
        </p:txBody>
      </p:sp>
      <p:sp>
        <p:nvSpPr>
          <p:cNvPr id="11" name="TextBox 19">
            <a:extLst>
              <a:ext uri="{FF2B5EF4-FFF2-40B4-BE49-F238E27FC236}">
                <a16:creationId xmlns:a16="http://schemas.microsoft.com/office/drawing/2014/main" id="{5BFF69E8-7257-436B-9762-37FCB9A1CFF1}"/>
              </a:ext>
            </a:extLst>
          </p:cNvPr>
          <p:cNvSpPr txBox="1"/>
          <p:nvPr/>
        </p:nvSpPr>
        <p:spPr>
          <a:xfrm>
            <a:off x="396192" y="1779433"/>
            <a:ext cx="326202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bg1"/>
                </a:solidFill>
              </a:rPr>
              <a:t>Customers Challenge</a:t>
            </a:r>
          </a:p>
        </p:txBody>
      </p:sp>
      <p:sp>
        <p:nvSpPr>
          <p:cNvPr id="12" name="Freeform 22">
            <a:extLst>
              <a:ext uri="{FF2B5EF4-FFF2-40B4-BE49-F238E27FC236}">
                <a16:creationId xmlns:a16="http://schemas.microsoft.com/office/drawing/2014/main" id="{416BF281-B41F-493B-AD56-54C335F9908F}"/>
              </a:ext>
            </a:extLst>
          </p:cNvPr>
          <p:cNvSpPr/>
          <p:nvPr/>
        </p:nvSpPr>
        <p:spPr>
          <a:xfrm rot="10800000">
            <a:off x="7562967" y="1456024"/>
            <a:ext cx="4197036" cy="1046930"/>
          </a:xfrm>
          <a:custGeom>
            <a:avLst/>
            <a:gdLst>
              <a:gd name="connsiteX0" fmla="*/ 0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0 w 2676588"/>
              <a:gd name="connsiteY4" fmla="*/ 0 h 363338"/>
              <a:gd name="connsiteX0" fmla="*/ 888545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888545 w 2676588"/>
              <a:gd name="connsiteY4" fmla="*/ 0 h 363338"/>
              <a:gd name="connsiteX0" fmla="*/ 0 w 1788043"/>
              <a:gd name="connsiteY0" fmla="*/ 0 h 363338"/>
              <a:gd name="connsiteX1" fmla="*/ 1788043 w 1788043"/>
              <a:gd name="connsiteY1" fmla="*/ 0 h 363338"/>
              <a:gd name="connsiteX2" fmla="*/ 1600319 w 1788043"/>
              <a:gd name="connsiteY2" fmla="*/ 363338 h 363338"/>
              <a:gd name="connsiteX3" fmla="*/ 0 w 1788043"/>
              <a:gd name="connsiteY3" fmla="*/ 363338 h 363338"/>
              <a:gd name="connsiteX4" fmla="*/ 0 w 1788043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138221 w 1926264"/>
              <a:gd name="connsiteY3" fmla="*/ 363338 h 363338"/>
              <a:gd name="connsiteX4" fmla="*/ 0 w 1926264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6284 w 1926264"/>
              <a:gd name="connsiteY3" fmla="*/ 363338 h 363338"/>
              <a:gd name="connsiteX4" fmla="*/ 0 w 1926264"/>
              <a:gd name="connsiteY4" fmla="*/ 0 h 363338"/>
              <a:gd name="connsiteX0" fmla="*/ 43978 w 1970242"/>
              <a:gd name="connsiteY0" fmla="*/ 0 h 363338"/>
              <a:gd name="connsiteX1" fmla="*/ 1970242 w 1970242"/>
              <a:gd name="connsiteY1" fmla="*/ 0 h 363338"/>
              <a:gd name="connsiteX2" fmla="*/ 1782518 w 1970242"/>
              <a:gd name="connsiteY2" fmla="*/ 363338 h 363338"/>
              <a:gd name="connsiteX3" fmla="*/ 0 w 1970242"/>
              <a:gd name="connsiteY3" fmla="*/ 363338 h 363338"/>
              <a:gd name="connsiteX4" fmla="*/ 43978 w 1970242"/>
              <a:gd name="connsiteY4" fmla="*/ 0 h 363338"/>
              <a:gd name="connsiteX0" fmla="*/ 0 w 1926264"/>
              <a:gd name="connsiteY0" fmla="*/ 0 h 369620"/>
              <a:gd name="connsiteX1" fmla="*/ 1926264 w 1926264"/>
              <a:gd name="connsiteY1" fmla="*/ 0 h 369620"/>
              <a:gd name="connsiteX2" fmla="*/ 1738540 w 1926264"/>
              <a:gd name="connsiteY2" fmla="*/ 363338 h 369620"/>
              <a:gd name="connsiteX3" fmla="*/ 6284 w 1926264"/>
              <a:gd name="connsiteY3" fmla="*/ 369620 h 369620"/>
              <a:gd name="connsiteX4" fmla="*/ 0 w 1926264"/>
              <a:gd name="connsiteY4" fmla="*/ 0 h 369620"/>
              <a:gd name="connsiteX0" fmla="*/ 6281 w 1932545"/>
              <a:gd name="connsiteY0" fmla="*/ 0 h 369620"/>
              <a:gd name="connsiteX1" fmla="*/ 1932545 w 1932545"/>
              <a:gd name="connsiteY1" fmla="*/ 0 h 369620"/>
              <a:gd name="connsiteX2" fmla="*/ 1744821 w 1932545"/>
              <a:gd name="connsiteY2" fmla="*/ 363338 h 369620"/>
              <a:gd name="connsiteX3" fmla="*/ 0 w 1932545"/>
              <a:gd name="connsiteY3" fmla="*/ 369620 h 369620"/>
              <a:gd name="connsiteX4" fmla="*/ 6281 w 1932545"/>
              <a:gd name="connsiteY4" fmla="*/ 0 h 369620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25132 w 1926264"/>
              <a:gd name="connsiteY3" fmla="*/ 357055 h 363338"/>
              <a:gd name="connsiteX4" fmla="*/ 0 w 1926264"/>
              <a:gd name="connsiteY4" fmla="*/ 0 h 363338"/>
              <a:gd name="connsiteX0" fmla="*/ 12564 w 1938828"/>
              <a:gd name="connsiteY0" fmla="*/ 0 h 363338"/>
              <a:gd name="connsiteX1" fmla="*/ 1938828 w 1938828"/>
              <a:gd name="connsiteY1" fmla="*/ 0 h 363338"/>
              <a:gd name="connsiteX2" fmla="*/ 1751104 w 1938828"/>
              <a:gd name="connsiteY2" fmla="*/ 363338 h 363338"/>
              <a:gd name="connsiteX3" fmla="*/ 0 w 1938828"/>
              <a:gd name="connsiteY3" fmla="*/ 363338 h 363338"/>
              <a:gd name="connsiteX4" fmla="*/ 12564 w 1938828"/>
              <a:gd name="connsiteY4" fmla="*/ 0 h 363338"/>
              <a:gd name="connsiteX0" fmla="*/ 0 w 1926264"/>
              <a:gd name="connsiteY0" fmla="*/ 0 h 369621"/>
              <a:gd name="connsiteX1" fmla="*/ 1926264 w 1926264"/>
              <a:gd name="connsiteY1" fmla="*/ 0 h 369621"/>
              <a:gd name="connsiteX2" fmla="*/ 1738540 w 1926264"/>
              <a:gd name="connsiteY2" fmla="*/ 363338 h 369621"/>
              <a:gd name="connsiteX3" fmla="*/ 6284 w 1926264"/>
              <a:gd name="connsiteY3" fmla="*/ 369621 h 369621"/>
              <a:gd name="connsiteX4" fmla="*/ 0 w 1926264"/>
              <a:gd name="connsiteY4" fmla="*/ 0 h 369621"/>
              <a:gd name="connsiteX0" fmla="*/ 43978 w 1970242"/>
              <a:gd name="connsiteY0" fmla="*/ 0 h 363339"/>
              <a:gd name="connsiteX1" fmla="*/ 1970242 w 1970242"/>
              <a:gd name="connsiteY1" fmla="*/ 0 h 363339"/>
              <a:gd name="connsiteX2" fmla="*/ 1782518 w 1970242"/>
              <a:gd name="connsiteY2" fmla="*/ 363338 h 363339"/>
              <a:gd name="connsiteX3" fmla="*/ 0 w 1970242"/>
              <a:gd name="connsiteY3" fmla="*/ 363339 h 363339"/>
              <a:gd name="connsiteX4" fmla="*/ 43978 w 1970242"/>
              <a:gd name="connsiteY4" fmla="*/ 0 h 363339"/>
              <a:gd name="connsiteX0" fmla="*/ 0 w 1926264"/>
              <a:gd name="connsiteY0" fmla="*/ 0 h 363339"/>
              <a:gd name="connsiteX1" fmla="*/ 1926264 w 1926264"/>
              <a:gd name="connsiteY1" fmla="*/ 0 h 363339"/>
              <a:gd name="connsiteX2" fmla="*/ 1738540 w 1926264"/>
              <a:gd name="connsiteY2" fmla="*/ 363338 h 363339"/>
              <a:gd name="connsiteX3" fmla="*/ 1 w 1926264"/>
              <a:gd name="connsiteY3" fmla="*/ 363339 h 363339"/>
              <a:gd name="connsiteX4" fmla="*/ 0 w 1926264"/>
              <a:gd name="connsiteY4" fmla="*/ 0 h 363339"/>
              <a:gd name="connsiteX0" fmla="*/ 469670 w 1926263"/>
              <a:gd name="connsiteY0" fmla="*/ 0 h 363339"/>
              <a:gd name="connsiteX1" fmla="*/ 1926263 w 1926263"/>
              <a:gd name="connsiteY1" fmla="*/ 0 h 363339"/>
              <a:gd name="connsiteX2" fmla="*/ 1738539 w 1926263"/>
              <a:gd name="connsiteY2" fmla="*/ 363338 h 363339"/>
              <a:gd name="connsiteX3" fmla="*/ 0 w 1926263"/>
              <a:gd name="connsiteY3" fmla="*/ 363339 h 363339"/>
              <a:gd name="connsiteX4" fmla="*/ 469670 w 1926263"/>
              <a:gd name="connsiteY4" fmla="*/ 0 h 363339"/>
              <a:gd name="connsiteX0" fmla="*/ 0 w 1456593"/>
              <a:gd name="connsiteY0" fmla="*/ 0 h 363339"/>
              <a:gd name="connsiteX1" fmla="*/ 1456593 w 1456593"/>
              <a:gd name="connsiteY1" fmla="*/ 0 h 363339"/>
              <a:gd name="connsiteX2" fmla="*/ 1268869 w 1456593"/>
              <a:gd name="connsiteY2" fmla="*/ 363338 h 363339"/>
              <a:gd name="connsiteX3" fmla="*/ 1 w 1456593"/>
              <a:gd name="connsiteY3" fmla="*/ 363339 h 363339"/>
              <a:gd name="connsiteX4" fmla="*/ 0 w 1456593"/>
              <a:gd name="connsiteY4" fmla="*/ 0 h 3633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56593" h="363339">
                <a:moveTo>
                  <a:pt x="0" y="0"/>
                </a:moveTo>
                <a:lnTo>
                  <a:pt x="1456593" y="0"/>
                </a:lnTo>
                <a:lnTo>
                  <a:pt x="1268869" y="363338"/>
                </a:lnTo>
                <a:lnTo>
                  <a:pt x="1" y="363339"/>
                </a:lnTo>
                <a:cubicBezTo>
                  <a:pt x="1" y="242226"/>
                  <a:pt x="0" y="121113"/>
                  <a:pt x="0" y="0"/>
                </a:cubicBezTo>
                <a:close/>
              </a:path>
            </a:pathLst>
          </a:custGeom>
          <a:solidFill>
            <a:schemeClr val="accent4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Freeform 20">
            <a:extLst>
              <a:ext uri="{FF2B5EF4-FFF2-40B4-BE49-F238E27FC236}">
                <a16:creationId xmlns:a16="http://schemas.microsoft.com/office/drawing/2014/main" id="{53D1D034-1BBB-4CC6-9A87-4BDE172DC792}"/>
              </a:ext>
            </a:extLst>
          </p:cNvPr>
          <p:cNvSpPr/>
          <p:nvPr/>
        </p:nvSpPr>
        <p:spPr>
          <a:xfrm>
            <a:off x="6307075" y="1456024"/>
            <a:ext cx="4197036" cy="1046930"/>
          </a:xfrm>
          <a:custGeom>
            <a:avLst/>
            <a:gdLst>
              <a:gd name="connsiteX0" fmla="*/ 0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0 w 2676588"/>
              <a:gd name="connsiteY4" fmla="*/ 0 h 363338"/>
              <a:gd name="connsiteX0" fmla="*/ 888545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888545 w 2676588"/>
              <a:gd name="connsiteY4" fmla="*/ 0 h 363338"/>
              <a:gd name="connsiteX0" fmla="*/ 0 w 1788043"/>
              <a:gd name="connsiteY0" fmla="*/ 0 h 363338"/>
              <a:gd name="connsiteX1" fmla="*/ 1788043 w 1788043"/>
              <a:gd name="connsiteY1" fmla="*/ 0 h 363338"/>
              <a:gd name="connsiteX2" fmla="*/ 1600319 w 1788043"/>
              <a:gd name="connsiteY2" fmla="*/ 363338 h 363338"/>
              <a:gd name="connsiteX3" fmla="*/ 0 w 1788043"/>
              <a:gd name="connsiteY3" fmla="*/ 363338 h 363338"/>
              <a:gd name="connsiteX4" fmla="*/ 0 w 1788043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138221 w 1926264"/>
              <a:gd name="connsiteY3" fmla="*/ 363338 h 363338"/>
              <a:gd name="connsiteX4" fmla="*/ 0 w 1926264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6284 w 1926264"/>
              <a:gd name="connsiteY3" fmla="*/ 363338 h 363338"/>
              <a:gd name="connsiteX4" fmla="*/ 0 w 1926264"/>
              <a:gd name="connsiteY4" fmla="*/ 0 h 363338"/>
              <a:gd name="connsiteX0" fmla="*/ 43978 w 1970242"/>
              <a:gd name="connsiteY0" fmla="*/ 0 h 363338"/>
              <a:gd name="connsiteX1" fmla="*/ 1970242 w 1970242"/>
              <a:gd name="connsiteY1" fmla="*/ 0 h 363338"/>
              <a:gd name="connsiteX2" fmla="*/ 1782518 w 1970242"/>
              <a:gd name="connsiteY2" fmla="*/ 363338 h 363338"/>
              <a:gd name="connsiteX3" fmla="*/ 0 w 1970242"/>
              <a:gd name="connsiteY3" fmla="*/ 363338 h 363338"/>
              <a:gd name="connsiteX4" fmla="*/ 43978 w 1970242"/>
              <a:gd name="connsiteY4" fmla="*/ 0 h 363338"/>
              <a:gd name="connsiteX0" fmla="*/ 0 w 1926264"/>
              <a:gd name="connsiteY0" fmla="*/ 0 h 369620"/>
              <a:gd name="connsiteX1" fmla="*/ 1926264 w 1926264"/>
              <a:gd name="connsiteY1" fmla="*/ 0 h 369620"/>
              <a:gd name="connsiteX2" fmla="*/ 1738540 w 1926264"/>
              <a:gd name="connsiteY2" fmla="*/ 363338 h 369620"/>
              <a:gd name="connsiteX3" fmla="*/ 6284 w 1926264"/>
              <a:gd name="connsiteY3" fmla="*/ 369620 h 369620"/>
              <a:gd name="connsiteX4" fmla="*/ 0 w 1926264"/>
              <a:gd name="connsiteY4" fmla="*/ 0 h 369620"/>
              <a:gd name="connsiteX0" fmla="*/ 6281 w 1932545"/>
              <a:gd name="connsiteY0" fmla="*/ 0 h 369620"/>
              <a:gd name="connsiteX1" fmla="*/ 1932545 w 1932545"/>
              <a:gd name="connsiteY1" fmla="*/ 0 h 369620"/>
              <a:gd name="connsiteX2" fmla="*/ 1744821 w 1932545"/>
              <a:gd name="connsiteY2" fmla="*/ 363338 h 369620"/>
              <a:gd name="connsiteX3" fmla="*/ 0 w 1932545"/>
              <a:gd name="connsiteY3" fmla="*/ 369620 h 369620"/>
              <a:gd name="connsiteX4" fmla="*/ 6281 w 1932545"/>
              <a:gd name="connsiteY4" fmla="*/ 0 h 369620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25132 w 1926264"/>
              <a:gd name="connsiteY3" fmla="*/ 357055 h 363338"/>
              <a:gd name="connsiteX4" fmla="*/ 0 w 1926264"/>
              <a:gd name="connsiteY4" fmla="*/ 0 h 363338"/>
              <a:gd name="connsiteX0" fmla="*/ 12564 w 1938828"/>
              <a:gd name="connsiteY0" fmla="*/ 0 h 363338"/>
              <a:gd name="connsiteX1" fmla="*/ 1938828 w 1938828"/>
              <a:gd name="connsiteY1" fmla="*/ 0 h 363338"/>
              <a:gd name="connsiteX2" fmla="*/ 1751104 w 1938828"/>
              <a:gd name="connsiteY2" fmla="*/ 363338 h 363338"/>
              <a:gd name="connsiteX3" fmla="*/ 0 w 1938828"/>
              <a:gd name="connsiteY3" fmla="*/ 363338 h 363338"/>
              <a:gd name="connsiteX4" fmla="*/ 12564 w 1938828"/>
              <a:gd name="connsiteY4" fmla="*/ 0 h 363338"/>
              <a:gd name="connsiteX0" fmla="*/ 0 w 1926264"/>
              <a:gd name="connsiteY0" fmla="*/ 0 h 369621"/>
              <a:gd name="connsiteX1" fmla="*/ 1926264 w 1926264"/>
              <a:gd name="connsiteY1" fmla="*/ 0 h 369621"/>
              <a:gd name="connsiteX2" fmla="*/ 1738540 w 1926264"/>
              <a:gd name="connsiteY2" fmla="*/ 363338 h 369621"/>
              <a:gd name="connsiteX3" fmla="*/ 6284 w 1926264"/>
              <a:gd name="connsiteY3" fmla="*/ 369621 h 369621"/>
              <a:gd name="connsiteX4" fmla="*/ 0 w 1926264"/>
              <a:gd name="connsiteY4" fmla="*/ 0 h 369621"/>
              <a:gd name="connsiteX0" fmla="*/ 43978 w 1970242"/>
              <a:gd name="connsiteY0" fmla="*/ 0 h 363339"/>
              <a:gd name="connsiteX1" fmla="*/ 1970242 w 1970242"/>
              <a:gd name="connsiteY1" fmla="*/ 0 h 363339"/>
              <a:gd name="connsiteX2" fmla="*/ 1782518 w 1970242"/>
              <a:gd name="connsiteY2" fmla="*/ 363338 h 363339"/>
              <a:gd name="connsiteX3" fmla="*/ 0 w 1970242"/>
              <a:gd name="connsiteY3" fmla="*/ 363339 h 363339"/>
              <a:gd name="connsiteX4" fmla="*/ 43978 w 1970242"/>
              <a:gd name="connsiteY4" fmla="*/ 0 h 363339"/>
              <a:gd name="connsiteX0" fmla="*/ 0 w 1926264"/>
              <a:gd name="connsiteY0" fmla="*/ 0 h 363339"/>
              <a:gd name="connsiteX1" fmla="*/ 1926264 w 1926264"/>
              <a:gd name="connsiteY1" fmla="*/ 0 h 363339"/>
              <a:gd name="connsiteX2" fmla="*/ 1738540 w 1926264"/>
              <a:gd name="connsiteY2" fmla="*/ 363338 h 363339"/>
              <a:gd name="connsiteX3" fmla="*/ 1 w 1926264"/>
              <a:gd name="connsiteY3" fmla="*/ 363339 h 363339"/>
              <a:gd name="connsiteX4" fmla="*/ 0 w 1926264"/>
              <a:gd name="connsiteY4" fmla="*/ 0 h 363339"/>
              <a:gd name="connsiteX0" fmla="*/ 469670 w 1926263"/>
              <a:gd name="connsiteY0" fmla="*/ 0 h 363339"/>
              <a:gd name="connsiteX1" fmla="*/ 1926263 w 1926263"/>
              <a:gd name="connsiteY1" fmla="*/ 0 h 363339"/>
              <a:gd name="connsiteX2" fmla="*/ 1738539 w 1926263"/>
              <a:gd name="connsiteY2" fmla="*/ 363338 h 363339"/>
              <a:gd name="connsiteX3" fmla="*/ 0 w 1926263"/>
              <a:gd name="connsiteY3" fmla="*/ 363339 h 363339"/>
              <a:gd name="connsiteX4" fmla="*/ 469670 w 1926263"/>
              <a:gd name="connsiteY4" fmla="*/ 0 h 363339"/>
              <a:gd name="connsiteX0" fmla="*/ 0 w 1456593"/>
              <a:gd name="connsiteY0" fmla="*/ 0 h 363339"/>
              <a:gd name="connsiteX1" fmla="*/ 1456593 w 1456593"/>
              <a:gd name="connsiteY1" fmla="*/ 0 h 363339"/>
              <a:gd name="connsiteX2" fmla="*/ 1268869 w 1456593"/>
              <a:gd name="connsiteY2" fmla="*/ 363338 h 363339"/>
              <a:gd name="connsiteX3" fmla="*/ 1 w 1456593"/>
              <a:gd name="connsiteY3" fmla="*/ 363339 h 363339"/>
              <a:gd name="connsiteX4" fmla="*/ 0 w 1456593"/>
              <a:gd name="connsiteY4" fmla="*/ 0 h 3633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56593" h="363339">
                <a:moveTo>
                  <a:pt x="0" y="0"/>
                </a:moveTo>
                <a:lnTo>
                  <a:pt x="1456593" y="0"/>
                </a:lnTo>
                <a:lnTo>
                  <a:pt x="1268869" y="363338"/>
                </a:lnTo>
                <a:lnTo>
                  <a:pt x="1" y="363339"/>
                </a:lnTo>
                <a:cubicBezTo>
                  <a:pt x="1" y="242226"/>
                  <a:pt x="0" y="121113"/>
                  <a:pt x="0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9">
            <a:extLst>
              <a:ext uri="{FF2B5EF4-FFF2-40B4-BE49-F238E27FC236}">
                <a16:creationId xmlns:a16="http://schemas.microsoft.com/office/drawing/2014/main" id="{221F1E74-999F-455C-AD11-8BA23FB99623}"/>
              </a:ext>
            </a:extLst>
          </p:cNvPr>
          <p:cNvSpPr txBox="1"/>
          <p:nvPr/>
        </p:nvSpPr>
        <p:spPr>
          <a:xfrm>
            <a:off x="6399459" y="1779433"/>
            <a:ext cx="326202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bg1"/>
                </a:solidFill>
              </a:rPr>
              <a:t>Solution</a:t>
            </a:r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1B88AC4D-9881-4835-8D19-6FD2C7303830}"/>
              </a:ext>
            </a:extLst>
          </p:cNvPr>
          <p:cNvGrpSpPr/>
          <p:nvPr/>
        </p:nvGrpSpPr>
        <p:grpSpPr>
          <a:xfrm>
            <a:off x="10753320" y="1587871"/>
            <a:ext cx="806400" cy="806400"/>
            <a:chOff x="10100911" y="2893836"/>
            <a:chExt cx="806400" cy="806400"/>
          </a:xfrm>
        </p:grpSpPr>
        <p:sp>
          <p:nvSpPr>
            <p:cNvPr id="22" name="Ellipse 21">
              <a:extLst>
                <a:ext uri="{FF2B5EF4-FFF2-40B4-BE49-F238E27FC236}">
                  <a16:creationId xmlns:a16="http://schemas.microsoft.com/office/drawing/2014/main" id="{D6A8C5FF-1C8F-4C26-89D4-E77005556C49}"/>
                </a:ext>
              </a:extLst>
            </p:cNvPr>
            <p:cNvSpPr/>
            <p:nvPr/>
          </p:nvSpPr>
          <p:spPr>
            <a:xfrm>
              <a:off x="10100911" y="2893836"/>
              <a:ext cx="806400" cy="806400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23" name="Grafik 22" descr="Glühbirne und Zahnrad">
              <a:extLst>
                <a:ext uri="{FF2B5EF4-FFF2-40B4-BE49-F238E27FC236}">
                  <a16:creationId xmlns:a16="http://schemas.microsoft.com/office/drawing/2014/main" id="{2BE2D3C0-2EEE-4241-8C24-92312596744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180111" y="2981630"/>
              <a:ext cx="648000" cy="648000"/>
            </a:xfrm>
            <a:prstGeom prst="rect">
              <a:avLst/>
            </a:prstGeom>
          </p:spPr>
        </p:pic>
      </p:grpSp>
      <p:sp>
        <p:nvSpPr>
          <p:cNvPr id="25" name="Ellipse 24">
            <a:extLst>
              <a:ext uri="{FF2B5EF4-FFF2-40B4-BE49-F238E27FC236}">
                <a16:creationId xmlns:a16="http://schemas.microsoft.com/office/drawing/2014/main" id="{015C0E07-9F24-4237-9775-C159217AD60B}"/>
              </a:ext>
            </a:extLst>
          </p:cNvPr>
          <p:cNvSpPr/>
          <p:nvPr/>
        </p:nvSpPr>
        <p:spPr>
          <a:xfrm>
            <a:off x="4750433" y="1596465"/>
            <a:ext cx="806400" cy="80640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7" name="Grafik 16" descr="Verkehrsleitkegel">
            <a:extLst>
              <a:ext uri="{FF2B5EF4-FFF2-40B4-BE49-F238E27FC236}">
                <a16:creationId xmlns:a16="http://schemas.microsoft.com/office/drawing/2014/main" id="{71857C98-94E8-436D-89C1-56485C99AA6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826261" y="1675665"/>
            <a:ext cx="648000" cy="648000"/>
          </a:xfrm>
          <a:prstGeom prst="rect">
            <a:avLst/>
          </a:prstGeom>
        </p:spPr>
      </p:pic>
      <p:sp>
        <p:nvSpPr>
          <p:cNvPr id="28" name="Rechteck 27">
            <a:extLst>
              <a:ext uri="{FF2B5EF4-FFF2-40B4-BE49-F238E27FC236}">
                <a16:creationId xmlns:a16="http://schemas.microsoft.com/office/drawing/2014/main" id="{5AF3D405-131A-4032-B009-784103DCD5B1}"/>
              </a:ext>
            </a:extLst>
          </p:cNvPr>
          <p:cNvSpPr/>
          <p:nvPr/>
        </p:nvSpPr>
        <p:spPr>
          <a:xfrm>
            <a:off x="6307075" y="2714547"/>
            <a:ext cx="5443852" cy="3384973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lvl="0" algn="ctr">
              <a:spcAft>
                <a:spcPts val="900"/>
              </a:spcAft>
              <a:buClr>
                <a:schemeClr val="accent6"/>
              </a:buClr>
            </a:pPr>
            <a:r>
              <a:rPr lang="en-US" i="1" dirty="0">
                <a:solidFill>
                  <a:prstClr val="black"/>
                </a:solidFill>
              </a:rPr>
              <a:t>“Is there any product solution at the quality of existing ultradurable standard bake systems, but with reduced curing times?” </a:t>
            </a:r>
            <a:endParaRPr lang="en-US" i="1" dirty="0"/>
          </a:p>
          <a:p>
            <a:pPr lvl="0">
              <a:spcAft>
                <a:spcPts val="900"/>
              </a:spcAft>
              <a:buClr>
                <a:schemeClr val="accent6"/>
              </a:buClr>
            </a:pPr>
            <a:endParaRPr lang="en-US" sz="1600" dirty="0"/>
          </a:p>
          <a:p>
            <a:pPr lvl="0">
              <a:spcAft>
                <a:spcPts val="900"/>
              </a:spcAft>
              <a:buClr>
                <a:schemeClr val="accent6"/>
              </a:buClr>
            </a:pPr>
            <a:endParaRPr lang="en-US" sz="1600" dirty="0"/>
          </a:p>
        </p:txBody>
      </p:sp>
      <p:sp>
        <p:nvSpPr>
          <p:cNvPr id="27" name="Parallelogramm 26">
            <a:extLst>
              <a:ext uri="{FF2B5EF4-FFF2-40B4-BE49-F238E27FC236}">
                <a16:creationId xmlns:a16="http://schemas.microsoft.com/office/drawing/2014/main" id="{F89BAC2D-934B-4811-B8D2-BAD0423A828B}"/>
              </a:ext>
            </a:extLst>
          </p:cNvPr>
          <p:cNvSpPr/>
          <p:nvPr/>
        </p:nvSpPr>
        <p:spPr>
          <a:xfrm>
            <a:off x="7480401" y="4078373"/>
            <a:ext cx="3023710" cy="840136"/>
          </a:xfrm>
          <a:prstGeom prst="parallelogram">
            <a:avLst>
              <a:gd name="adj" fmla="val 0"/>
            </a:avLst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/>
              <a:t>ENVIROCRON </a:t>
            </a:r>
            <a:r>
              <a:rPr lang="en-GB" b="1" dirty="0" err="1"/>
              <a:t>EnergX</a:t>
            </a:r>
            <a:r>
              <a:rPr lang="en-GB" b="1" dirty="0"/>
              <a:t> ULTRA</a:t>
            </a:r>
          </a:p>
          <a:p>
            <a:pPr algn="ctr"/>
            <a:r>
              <a:rPr lang="en-GB" b="1" dirty="0"/>
              <a:t>Speedcure Option</a:t>
            </a:r>
          </a:p>
        </p:txBody>
      </p:sp>
    </p:spTree>
    <p:extLst>
      <p:ext uri="{BB962C8B-B14F-4D97-AF65-F5344CB8AC3E}">
        <p14:creationId xmlns:p14="http://schemas.microsoft.com/office/powerpoint/2010/main" val="368155239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3">
            <a:extLst>
              <a:ext uri="{FF2B5EF4-FFF2-40B4-BE49-F238E27FC236}">
                <a16:creationId xmlns:a16="http://schemas.microsoft.com/office/drawing/2014/main" id="{703D39C9-9B85-4F87-8271-E3F961C6AA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2884" y="323849"/>
            <a:ext cx="11670783" cy="859536"/>
          </a:xfrm>
        </p:spPr>
        <p:txBody>
          <a:bodyPr/>
          <a:lstStyle/>
          <a:p>
            <a:r>
              <a:rPr lang="en-US" dirty="0"/>
              <a:t>Become more efficient!</a:t>
            </a:r>
            <a:br>
              <a:rPr lang="en-US" dirty="0"/>
            </a:br>
            <a:r>
              <a:rPr lang="en-US" sz="2500" dirty="0" err="1">
                <a:solidFill>
                  <a:schemeClr val="accent1"/>
                </a:solidFill>
              </a:rPr>
              <a:t>EnergX</a:t>
            </a:r>
            <a:r>
              <a:rPr lang="en-US" sz="2500" dirty="0">
                <a:solidFill>
                  <a:schemeClr val="accent1"/>
                </a:solidFill>
              </a:rPr>
              <a:t> ULTRA</a:t>
            </a:r>
            <a:r>
              <a:rPr lang="en-US" sz="2500" b="0" dirty="0">
                <a:solidFill>
                  <a:schemeClr val="accent1"/>
                </a:solidFill>
              </a:rPr>
              <a:t> speedcure option – a case study</a:t>
            </a:r>
            <a:endParaRPr lang="pl-PL" sz="2500" b="0" dirty="0">
              <a:solidFill>
                <a:schemeClr val="accent1"/>
              </a:solidFill>
            </a:endParaRP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295A37D5-7853-4540-BDCE-52C84D24E104}"/>
              </a:ext>
            </a:extLst>
          </p:cNvPr>
          <p:cNvSpPr txBox="1">
            <a:spLocks/>
          </p:cNvSpPr>
          <p:nvPr/>
        </p:nvSpPr>
        <p:spPr>
          <a:xfrm>
            <a:off x="321503" y="6496407"/>
            <a:ext cx="455756" cy="17222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chemeClr val="tx2"/>
                </a:solidFill>
                <a:latin typeface="+mn-lt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666666"/>
                </a:solidFill>
                <a:latin typeface="Arial" panose="020B0604020202020204"/>
              </a:rPr>
              <a:t>17</a:t>
            </a:r>
          </a:p>
        </p:txBody>
      </p:sp>
      <p:sp>
        <p:nvSpPr>
          <p:cNvPr id="19" name="Footer Placeholder 1">
            <a:extLst>
              <a:ext uri="{FF2B5EF4-FFF2-40B4-BE49-F238E27FC236}">
                <a16:creationId xmlns:a16="http://schemas.microsoft.com/office/drawing/2014/main" id="{9CBA4AA6-5E8D-1849-AC86-CEA08B9AE6E9}"/>
              </a:ext>
            </a:extLst>
          </p:cNvPr>
          <p:cNvSpPr txBox="1">
            <a:spLocks/>
          </p:cNvSpPr>
          <p:nvPr/>
        </p:nvSpPr>
        <p:spPr>
          <a:xfrm>
            <a:off x="763811" y="6496407"/>
            <a:ext cx="9460550" cy="17222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chemeClr val="tx2"/>
                </a:solidFill>
                <a:latin typeface="+mn-lt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666666"/>
                </a:solidFill>
                <a:latin typeface="Arial" panose="020B0604020202020204"/>
              </a:rPr>
              <a:t>Powder Coatings from PPG ©2023 PPG Industries, Inc. All rights reserved</a:t>
            </a:r>
          </a:p>
        </p:txBody>
      </p:sp>
      <p:graphicFrame>
        <p:nvGraphicFramePr>
          <p:cNvPr id="36" name="Tabelle 35">
            <a:extLst>
              <a:ext uri="{FF2B5EF4-FFF2-40B4-BE49-F238E27FC236}">
                <a16:creationId xmlns:a16="http://schemas.microsoft.com/office/drawing/2014/main" id="{97132018-57B1-49A8-A635-EB83948D075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97205239"/>
              </p:ext>
            </p:extLst>
          </p:nvPr>
        </p:nvGraphicFramePr>
        <p:xfrm>
          <a:off x="7912636" y="1441693"/>
          <a:ext cx="2700000" cy="327600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620000">
                  <a:extLst>
                    <a:ext uri="{9D8B030D-6E8A-4147-A177-3AD203B41FA5}">
                      <a16:colId xmlns:a16="http://schemas.microsoft.com/office/drawing/2014/main" val="3488453097"/>
                    </a:ext>
                  </a:extLst>
                </a:gridCol>
                <a:gridCol w="1080000">
                  <a:extLst>
                    <a:ext uri="{9D8B030D-6E8A-4147-A177-3AD203B41FA5}">
                      <a16:colId xmlns:a16="http://schemas.microsoft.com/office/drawing/2014/main" val="2426581768"/>
                    </a:ext>
                  </a:extLst>
                </a:gridCol>
              </a:tblGrid>
              <a:tr h="468000">
                <a:tc>
                  <a:txBody>
                    <a:bodyPr/>
                    <a:lstStyle/>
                    <a:p>
                      <a:r>
                        <a:rPr lang="en-GB" sz="1200" dirty="0">
                          <a:solidFill>
                            <a:schemeClr val="bg1"/>
                          </a:solidFill>
                        </a:rPr>
                        <a:t>Syste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8A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>
                          <a:solidFill>
                            <a:schemeClr val="bg1"/>
                          </a:solidFill>
                        </a:rPr>
                        <a:t>ultradurable </a:t>
                      </a:r>
                      <a:br>
                        <a:rPr lang="en-GB" sz="1200" b="1" dirty="0">
                          <a:solidFill>
                            <a:schemeClr val="bg1"/>
                          </a:solidFill>
                        </a:rPr>
                      </a:br>
                      <a:r>
                        <a:rPr lang="en-GB" sz="1200" b="1" dirty="0">
                          <a:solidFill>
                            <a:schemeClr val="bg1"/>
                          </a:solidFill>
                        </a:rPr>
                        <a:t>standar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715120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r>
                        <a:rPr lang="en-GB" sz="1200" dirty="0"/>
                        <a:t>Part thicknes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8A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/>
                        <a:t>10 m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alpha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8778404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r>
                        <a:rPr lang="en-GB" sz="1200" dirty="0"/>
                        <a:t>Curing condition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8A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/>
                        <a:t>10 min </a:t>
                      </a:r>
                    </a:p>
                    <a:p>
                      <a:pPr algn="ctr"/>
                      <a:r>
                        <a:rPr lang="en-GB" sz="1200" dirty="0"/>
                        <a:t>180°C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alpha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8338311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r>
                        <a:rPr lang="en-GB" sz="1200" dirty="0"/>
                        <a:t>Oven temperatur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8A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>
                          <a:solidFill>
                            <a:schemeClr val="tx1"/>
                          </a:solidFill>
                        </a:rPr>
                        <a:t>230°C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alpha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0154103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r>
                        <a:rPr lang="en-GB" sz="1200" dirty="0"/>
                        <a:t>Target object temperature afte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8A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>
                          <a:solidFill>
                            <a:schemeClr val="accent5"/>
                          </a:solidFill>
                        </a:rPr>
                        <a:t>26 mi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alpha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6789755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r>
                        <a:rPr lang="en-GB" sz="1200" dirty="0"/>
                        <a:t>Dwell time at target object temperatur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8A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/>
                        <a:t>10 mi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alpha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6357230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r>
                        <a:rPr lang="en-GB" sz="1200" dirty="0"/>
                        <a:t>Object completely cured afte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8A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>
                          <a:solidFill>
                            <a:schemeClr val="accent5"/>
                          </a:solidFill>
                        </a:rPr>
                        <a:t>36 mi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alpha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8539911"/>
                  </a:ext>
                </a:extLst>
              </a:tr>
            </a:tbl>
          </a:graphicData>
        </a:graphic>
      </p:graphicFrame>
      <p:graphicFrame>
        <p:nvGraphicFramePr>
          <p:cNvPr id="17" name="Diagramm 16">
            <a:extLst>
              <a:ext uri="{FF2B5EF4-FFF2-40B4-BE49-F238E27FC236}">
                <a16:creationId xmlns:a16="http://schemas.microsoft.com/office/drawing/2014/main" id="{6CBFC623-D46F-4D83-B3A0-A42853465CC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55586483"/>
              </p:ext>
            </p:extLst>
          </p:nvPr>
        </p:nvGraphicFramePr>
        <p:xfrm>
          <a:off x="321502" y="1320800"/>
          <a:ext cx="7191381" cy="4851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Pfeil: nach rechts 5">
            <a:extLst>
              <a:ext uri="{FF2B5EF4-FFF2-40B4-BE49-F238E27FC236}">
                <a16:creationId xmlns:a16="http://schemas.microsoft.com/office/drawing/2014/main" id="{97AF57A3-E73B-44DF-8095-50BF9BC4F7B5}"/>
              </a:ext>
            </a:extLst>
          </p:cNvPr>
          <p:cNvSpPr/>
          <p:nvPr/>
        </p:nvSpPr>
        <p:spPr>
          <a:xfrm>
            <a:off x="3817091" y="2743198"/>
            <a:ext cx="925033" cy="435934"/>
          </a:xfrm>
          <a:prstGeom prst="rightArrow">
            <a:avLst/>
          </a:prstGeom>
          <a:gradFill flip="none" rotWithShape="1">
            <a:gsLst>
              <a:gs pos="0">
                <a:schemeClr val="accent1">
                  <a:lumMod val="5000"/>
                  <a:lumOff val="95000"/>
                </a:schemeClr>
              </a:gs>
              <a:gs pos="66000">
                <a:schemeClr val="bg2">
                  <a:lumMod val="65000"/>
                </a:schemeClr>
              </a:gs>
              <a:gs pos="84000">
                <a:schemeClr val="tx1">
                  <a:lumMod val="50000"/>
                  <a:lumOff val="50000"/>
                </a:schemeClr>
              </a:gs>
              <a:gs pos="100000">
                <a:schemeClr val="tx2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dirty="0">
                <a:solidFill>
                  <a:schemeClr val="tx1"/>
                </a:solidFill>
              </a:rPr>
              <a:t>10 min</a:t>
            </a:r>
          </a:p>
        </p:txBody>
      </p:sp>
    </p:spTree>
    <p:extLst>
      <p:ext uri="{BB962C8B-B14F-4D97-AF65-F5344CB8AC3E}">
        <p14:creationId xmlns:p14="http://schemas.microsoft.com/office/powerpoint/2010/main" val="312587746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3">
            <a:extLst>
              <a:ext uri="{FF2B5EF4-FFF2-40B4-BE49-F238E27FC236}">
                <a16:creationId xmlns:a16="http://schemas.microsoft.com/office/drawing/2014/main" id="{703D39C9-9B85-4F87-8271-E3F961C6AA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2884" y="323849"/>
            <a:ext cx="11670783" cy="859536"/>
          </a:xfrm>
        </p:spPr>
        <p:txBody>
          <a:bodyPr/>
          <a:lstStyle/>
          <a:p>
            <a:r>
              <a:rPr lang="en-US" dirty="0"/>
              <a:t>Become more efficient!</a:t>
            </a:r>
            <a:br>
              <a:rPr lang="en-US" dirty="0"/>
            </a:br>
            <a:r>
              <a:rPr lang="en-US" sz="2500" dirty="0" err="1">
                <a:solidFill>
                  <a:schemeClr val="accent1"/>
                </a:solidFill>
              </a:rPr>
              <a:t>EnergX</a:t>
            </a:r>
            <a:r>
              <a:rPr lang="en-US" sz="2500" dirty="0">
                <a:solidFill>
                  <a:schemeClr val="accent1"/>
                </a:solidFill>
              </a:rPr>
              <a:t> ULTRA</a:t>
            </a:r>
            <a:r>
              <a:rPr lang="en-US" sz="2500" b="0" dirty="0">
                <a:solidFill>
                  <a:schemeClr val="accent1"/>
                </a:solidFill>
              </a:rPr>
              <a:t> speedcure option – a case study</a:t>
            </a:r>
            <a:endParaRPr lang="pl-PL" sz="2500" b="0" dirty="0">
              <a:solidFill>
                <a:schemeClr val="accent1"/>
              </a:solidFill>
            </a:endParaRP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295A37D5-7853-4540-BDCE-52C84D24E104}"/>
              </a:ext>
            </a:extLst>
          </p:cNvPr>
          <p:cNvSpPr txBox="1">
            <a:spLocks/>
          </p:cNvSpPr>
          <p:nvPr/>
        </p:nvSpPr>
        <p:spPr>
          <a:xfrm>
            <a:off x="321503" y="6496407"/>
            <a:ext cx="455756" cy="17222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chemeClr val="tx2"/>
                </a:solidFill>
                <a:latin typeface="+mn-lt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666666"/>
                </a:solidFill>
                <a:latin typeface="Arial" panose="020B0604020202020204"/>
              </a:rPr>
              <a:t>17</a:t>
            </a:r>
          </a:p>
        </p:txBody>
      </p:sp>
      <p:sp>
        <p:nvSpPr>
          <p:cNvPr id="19" name="Footer Placeholder 1">
            <a:extLst>
              <a:ext uri="{FF2B5EF4-FFF2-40B4-BE49-F238E27FC236}">
                <a16:creationId xmlns:a16="http://schemas.microsoft.com/office/drawing/2014/main" id="{9CBA4AA6-5E8D-1849-AC86-CEA08B9AE6E9}"/>
              </a:ext>
            </a:extLst>
          </p:cNvPr>
          <p:cNvSpPr txBox="1">
            <a:spLocks/>
          </p:cNvSpPr>
          <p:nvPr/>
        </p:nvSpPr>
        <p:spPr>
          <a:xfrm>
            <a:off x="763811" y="6496407"/>
            <a:ext cx="9460550" cy="17222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chemeClr val="tx2"/>
                </a:solidFill>
                <a:latin typeface="+mn-lt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666666"/>
                </a:solidFill>
                <a:latin typeface="Arial" panose="020B0604020202020204"/>
              </a:rPr>
              <a:t>Powder Coatings from PPG ©2023 PPG Industries, Inc. All rights reserved</a:t>
            </a:r>
          </a:p>
        </p:txBody>
      </p:sp>
      <p:graphicFrame>
        <p:nvGraphicFramePr>
          <p:cNvPr id="16" name="Tabelle 15">
            <a:extLst>
              <a:ext uri="{FF2B5EF4-FFF2-40B4-BE49-F238E27FC236}">
                <a16:creationId xmlns:a16="http://schemas.microsoft.com/office/drawing/2014/main" id="{421DF3FD-9410-41CC-A73F-3F33FA23701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64916532"/>
              </p:ext>
            </p:extLst>
          </p:nvPr>
        </p:nvGraphicFramePr>
        <p:xfrm>
          <a:off x="7912636" y="1445065"/>
          <a:ext cx="3780000" cy="327600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620000">
                  <a:extLst>
                    <a:ext uri="{9D8B030D-6E8A-4147-A177-3AD203B41FA5}">
                      <a16:colId xmlns:a16="http://schemas.microsoft.com/office/drawing/2014/main" val="3488453097"/>
                    </a:ext>
                  </a:extLst>
                </a:gridCol>
                <a:gridCol w="1080000">
                  <a:extLst>
                    <a:ext uri="{9D8B030D-6E8A-4147-A177-3AD203B41FA5}">
                      <a16:colId xmlns:a16="http://schemas.microsoft.com/office/drawing/2014/main" val="2426581768"/>
                    </a:ext>
                  </a:extLst>
                </a:gridCol>
                <a:gridCol w="1080000">
                  <a:extLst>
                    <a:ext uri="{9D8B030D-6E8A-4147-A177-3AD203B41FA5}">
                      <a16:colId xmlns:a16="http://schemas.microsoft.com/office/drawing/2014/main" val="788080618"/>
                    </a:ext>
                  </a:extLst>
                </a:gridCol>
              </a:tblGrid>
              <a:tr h="468000">
                <a:tc>
                  <a:txBody>
                    <a:bodyPr/>
                    <a:lstStyle/>
                    <a:p>
                      <a:r>
                        <a:rPr lang="en-GB" sz="1200" dirty="0">
                          <a:solidFill>
                            <a:schemeClr val="bg1"/>
                          </a:solidFill>
                        </a:rPr>
                        <a:t>Syste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8A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>
                          <a:solidFill>
                            <a:schemeClr val="bg1"/>
                          </a:solidFill>
                        </a:rPr>
                        <a:t>ultradurable </a:t>
                      </a:r>
                      <a:br>
                        <a:rPr lang="en-GB" sz="1200" b="1" dirty="0">
                          <a:solidFill>
                            <a:schemeClr val="bg1"/>
                          </a:solidFill>
                        </a:rPr>
                      </a:br>
                      <a:r>
                        <a:rPr lang="en-GB" sz="1200" b="1" dirty="0">
                          <a:solidFill>
                            <a:schemeClr val="bg1"/>
                          </a:solidFill>
                        </a:rPr>
                        <a:t>standar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err="1">
                          <a:solidFill>
                            <a:schemeClr val="bg1"/>
                          </a:solidFill>
                        </a:rPr>
                        <a:t>EnergX</a:t>
                      </a:r>
                      <a:r>
                        <a:rPr lang="en-GB" sz="1200" b="1" dirty="0">
                          <a:solidFill>
                            <a:schemeClr val="bg1"/>
                          </a:solidFill>
                        </a:rPr>
                        <a:t> ULTR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715120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r>
                        <a:rPr lang="en-GB" sz="1200" dirty="0"/>
                        <a:t>Part thicknes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8A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/>
                        <a:t>10 m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/>
                        <a:t>10 m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alpha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3461789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r>
                        <a:rPr lang="en-GB" sz="1200" dirty="0"/>
                        <a:t>Curing condition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8A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/>
                        <a:t>10 min </a:t>
                      </a:r>
                    </a:p>
                    <a:p>
                      <a:pPr algn="ctr"/>
                      <a:r>
                        <a:rPr lang="en-GB" sz="1200" dirty="0"/>
                        <a:t>180°C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/>
                        <a:t>10 min</a:t>
                      </a:r>
                    </a:p>
                    <a:p>
                      <a:pPr algn="ctr"/>
                      <a:r>
                        <a:rPr lang="en-GB" sz="1200" dirty="0"/>
                        <a:t>160°C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alpha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8338311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r>
                        <a:rPr lang="en-GB" sz="1200" dirty="0"/>
                        <a:t>Oven temperatur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8A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>
                          <a:solidFill>
                            <a:schemeClr val="tx1"/>
                          </a:solidFill>
                        </a:rPr>
                        <a:t>230°C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>
                          <a:solidFill>
                            <a:schemeClr val="tx1"/>
                          </a:solidFill>
                        </a:rPr>
                        <a:t>230°C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alpha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0154103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r>
                        <a:rPr lang="en-GB" sz="1200" dirty="0"/>
                        <a:t>Target object temperature afte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8A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>
                          <a:solidFill>
                            <a:schemeClr val="accent5"/>
                          </a:solidFill>
                        </a:rPr>
                        <a:t>26 mi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>
                          <a:solidFill>
                            <a:srgbClr val="00B149"/>
                          </a:solidFill>
                        </a:rPr>
                        <a:t>18 mi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alpha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6789755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r>
                        <a:rPr lang="en-GB" sz="1200" dirty="0"/>
                        <a:t>Dwell time at target object temperatur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8A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/>
                        <a:t>10 mi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/>
                        <a:t>10 mi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alpha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6357230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r>
                        <a:rPr lang="en-GB" sz="1200" dirty="0"/>
                        <a:t>Object completely cured afte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8A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>
                          <a:solidFill>
                            <a:schemeClr val="accent5"/>
                          </a:solidFill>
                        </a:rPr>
                        <a:t>36 mi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>
                          <a:solidFill>
                            <a:srgbClr val="00B149"/>
                          </a:solidFill>
                        </a:rPr>
                        <a:t>28 mi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alpha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8539911"/>
                  </a:ext>
                </a:extLst>
              </a:tr>
            </a:tbl>
          </a:graphicData>
        </a:graphic>
      </p:graphicFrame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4FBFE8A0-2DCC-476B-8F70-786696F94DEF}"/>
              </a:ext>
            </a:extLst>
          </p:cNvPr>
          <p:cNvCxnSpPr/>
          <p:nvPr/>
        </p:nvCxnSpPr>
        <p:spPr>
          <a:xfrm flipH="1">
            <a:off x="1038254" y="2688087"/>
            <a:ext cx="1944000" cy="0"/>
          </a:xfrm>
          <a:prstGeom prst="line">
            <a:avLst/>
          </a:prstGeom>
          <a:ln w="25400"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3D0DF32E-DB99-4494-90F9-8E2C11B85D09}"/>
              </a:ext>
            </a:extLst>
          </p:cNvPr>
          <p:cNvCxnSpPr/>
          <p:nvPr/>
        </p:nvCxnSpPr>
        <p:spPr>
          <a:xfrm>
            <a:off x="2982254" y="2745000"/>
            <a:ext cx="0" cy="2052000"/>
          </a:xfrm>
          <a:prstGeom prst="line">
            <a:avLst/>
          </a:prstGeom>
          <a:ln w="25400"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feld 3">
            <a:extLst>
              <a:ext uri="{FF2B5EF4-FFF2-40B4-BE49-F238E27FC236}">
                <a16:creationId xmlns:a16="http://schemas.microsoft.com/office/drawing/2014/main" id="{B2986492-99C9-47C3-9EF1-D3C6DAD8D562}"/>
              </a:ext>
            </a:extLst>
          </p:cNvPr>
          <p:cNvSpPr txBox="1"/>
          <p:nvPr/>
        </p:nvSpPr>
        <p:spPr>
          <a:xfrm>
            <a:off x="2720847" y="4837504"/>
            <a:ext cx="522813" cy="2181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non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100" b="1" dirty="0">
                <a:solidFill>
                  <a:schemeClr val="accent4"/>
                </a:solidFill>
              </a:rPr>
              <a:t>18</a:t>
            </a:r>
          </a:p>
        </p:txBody>
      </p:sp>
      <p:sp>
        <p:nvSpPr>
          <p:cNvPr id="39" name="Textfeld 3">
            <a:extLst>
              <a:ext uri="{FF2B5EF4-FFF2-40B4-BE49-F238E27FC236}">
                <a16:creationId xmlns:a16="http://schemas.microsoft.com/office/drawing/2014/main" id="{F80169E0-8A35-4990-96BE-E26CA7C738AC}"/>
              </a:ext>
            </a:extLst>
          </p:cNvPr>
          <p:cNvSpPr txBox="1"/>
          <p:nvPr/>
        </p:nvSpPr>
        <p:spPr>
          <a:xfrm>
            <a:off x="1826118" y="2555207"/>
            <a:ext cx="522814" cy="265759"/>
          </a:xfrm>
          <a:prstGeom prst="rect">
            <a:avLst/>
          </a:prstGeom>
          <a:solidFill>
            <a:schemeClr val="bg1"/>
          </a:solidFill>
        </p:spPr>
        <p:txBody>
          <a:bodyPr wrap="non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de-DE" sz="1100" b="1" dirty="0">
                <a:solidFill>
                  <a:schemeClr val="accent4"/>
                </a:solidFill>
              </a:rPr>
              <a:t>160°C</a:t>
            </a:r>
          </a:p>
        </p:txBody>
      </p: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3524F3F1-997E-4ABD-895A-9F990CDB364A}"/>
              </a:ext>
            </a:extLst>
          </p:cNvPr>
          <p:cNvCxnSpPr>
            <a:cxnSpLocks/>
          </p:cNvCxnSpPr>
          <p:nvPr/>
        </p:nvCxnSpPr>
        <p:spPr>
          <a:xfrm>
            <a:off x="4049054" y="2280712"/>
            <a:ext cx="0" cy="2495022"/>
          </a:xfrm>
          <a:prstGeom prst="line">
            <a:avLst/>
          </a:prstGeom>
          <a:ln w="25400"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feld 3">
            <a:extLst>
              <a:ext uri="{FF2B5EF4-FFF2-40B4-BE49-F238E27FC236}">
                <a16:creationId xmlns:a16="http://schemas.microsoft.com/office/drawing/2014/main" id="{66F93430-0437-4977-8EB9-759B6513606E}"/>
              </a:ext>
            </a:extLst>
          </p:cNvPr>
          <p:cNvSpPr txBox="1"/>
          <p:nvPr/>
        </p:nvSpPr>
        <p:spPr>
          <a:xfrm>
            <a:off x="3851054" y="4837504"/>
            <a:ext cx="396000" cy="2181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non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100" b="1" dirty="0">
                <a:solidFill>
                  <a:schemeClr val="accent4"/>
                </a:solidFill>
              </a:rPr>
              <a:t>28</a:t>
            </a:r>
          </a:p>
        </p:txBody>
      </p:sp>
      <p:sp>
        <p:nvSpPr>
          <p:cNvPr id="42" name="Pfeil: nach rechts 41">
            <a:extLst>
              <a:ext uri="{FF2B5EF4-FFF2-40B4-BE49-F238E27FC236}">
                <a16:creationId xmlns:a16="http://schemas.microsoft.com/office/drawing/2014/main" id="{FEB569C6-8A9B-4F46-A4DC-EF94054A41C5}"/>
              </a:ext>
            </a:extLst>
          </p:cNvPr>
          <p:cNvSpPr/>
          <p:nvPr/>
        </p:nvSpPr>
        <p:spPr>
          <a:xfrm>
            <a:off x="3817091" y="2743198"/>
            <a:ext cx="925033" cy="435934"/>
          </a:xfrm>
          <a:prstGeom prst="rightArrow">
            <a:avLst/>
          </a:prstGeom>
          <a:gradFill flip="none" rotWithShape="1">
            <a:gsLst>
              <a:gs pos="0">
                <a:schemeClr val="accent1">
                  <a:lumMod val="5000"/>
                  <a:lumOff val="95000"/>
                </a:schemeClr>
              </a:gs>
              <a:gs pos="66000">
                <a:schemeClr val="bg2">
                  <a:lumMod val="65000"/>
                </a:schemeClr>
              </a:gs>
              <a:gs pos="84000">
                <a:schemeClr val="tx1">
                  <a:lumMod val="50000"/>
                  <a:lumOff val="50000"/>
                </a:schemeClr>
              </a:gs>
              <a:gs pos="100000">
                <a:schemeClr val="tx2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dirty="0">
                <a:solidFill>
                  <a:schemeClr val="tx1"/>
                </a:solidFill>
              </a:rPr>
              <a:t>10 min</a:t>
            </a:r>
          </a:p>
        </p:txBody>
      </p:sp>
      <p:sp>
        <p:nvSpPr>
          <p:cNvPr id="43" name="Pfeil: nach rechts 42">
            <a:extLst>
              <a:ext uri="{FF2B5EF4-FFF2-40B4-BE49-F238E27FC236}">
                <a16:creationId xmlns:a16="http://schemas.microsoft.com/office/drawing/2014/main" id="{F45EEF99-66D9-4B21-9CF7-D0695433FBB1}"/>
              </a:ext>
            </a:extLst>
          </p:cNvPr>
          <p:cNvSpPr/>
          <p:nvPr/>
        </p:nvSpPr>
        <p:spPr>
          <a:xfrm>
            <a:off x="3053138" y="3141830"/>
            <a:ext cx="925033" cy="435934"/>
          </a:xfrm>
          <a:prstGeom prst="rightArrow">
            <a:avLst/>
          </a:prstGeom>
          <a:gradFill flip="none" rotWithShape="1">
            <a:gsLst>
              <a:gs pos="0">
                <a:schemeClr val="accent1">
                  <a:lumMod val="5000"/>
                  <a:lumOff val="95000"/>
                </a:schemeClr>
              </a:gs>
              <a:gs pos="66000">
                <a:schemeClr val="bg2">
                  <a:lumMod val="65000"/>
                </a:schemeClr>
              </a:gs>
              <a:gs pos="84000">
                <a:schemeClr val="tx1">
                  <a:lumMod val="50000"/>
                  <a:lumOff val="50000"/>
                </a:schemeClr>
              </a:gs>
              <a:gs pos="100000">
                <a:schemeClr val="tx2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dirty="0">
                <a:solidFill>
                  <a:schemeClr val="tx1"/>
                </a:solidFill>
              </a:rPr>
              <a:t>10 min</a:t>
            </a:r>
          </a:p>
        </p:txBody>
      </p:sp>
      <p:sp>
        <p:nvSpPr>
          <p:cNvPr id="44" name="Pfeil: nach rechts 43">
            <a:extLst>
              <a:ext uri="{FF2B5EF4-FFF2-40B4-BE49-F238E27FC236}">
                <a16:creationId xmlns:a16="http://schemas.microsoft.com/office/drawing/2014/main" id="{9FAF2B99-73D1-485C-8D89-415130B617BA}"/>
              </a:ext>
            </a:extLst>
          </p:cNvPr>
          <p:cNvSpPr/>
          <p:nvPr/>
        </p:nvSpPr>
        <p:spPr>
          <a:xfrm flipH="1">
            <a:off x="4052600" y="4089608"/>
            <a:ext cx="710789" cy="435934"/>
          </a:xfrm>
          <a:prstGeom prst="rightArrow">
            <a:avLst/>
          </a:prstGeom>
          <a:gradFill flip="none" rotWithShape="1">
            <a:gsLst>
              <a:gs pos="0">
                <a:srgbClr val="E5F7EC"/>
              </a:gs>
              <a:gs pos="3000">
                <a:srgbClr val="E5F7EC"/>
              </a:gs>
              <a:gs pos="85000">
                <a:schemeClr val="accent4"/>
              </a:gs>
              <a:gs pos="100000">
                <a:schemeClr val="accent4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>
                <a:solidFill>
                  <a:schemeClr val="bg1"/>
                </a:solidFill>
              </a:rPr>
              <a:t>-8 min</a:t>
            </a:r>
          </a:p>
        </p:txBody>
      </p:sp>
      <p:sp>
        <p:nvSpPr>
          <p:cNvPr id="25" name="Rechteck 9">
            <a:extLst>
              <a:ext uri="{FF2B5EF4-FFF2-40B4-BE49-F238E27FC236}">
                <a16:creationId xmlns:a16="http://schemas.microsoft.com/office/drawing/2014/main" id="{2F9E1472-5B97-1246-B4D9-963AE89EA12E}"/>
              </a:ext>
            </a:extLst>
          </p:cNvPr>
          <p:cNvSpPr/>
          <p:nvPr/>
        </p:nvSpPr>
        <p:spPr>
          <a:xfrm>
            <a:off x="9172876" y="4873406"/>
            <a:ext cx="2519760" cy="907462"/>
          </a:xfrm>
          <a:prstGeom prst="rect">
            <a:avLst/>
          </a:prstGeom>
          <a:solidFill>
            <a:srgbClr val="00B149">
              <a:alpha val="10196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Rechteck 10">
            <a:extLst>
              <a:ext uri="{FF2B5EF4-FFF2-40B4-BE49-F238E27FC236}">
                <a16:creationId xmlns:a16="http://schemas.microsoft.com/office/drawing/2014/main" id="{D526A5F9-2423-F744-8FEE-72903DF502FC}"/>
              </a:ext>
            </a:extLst>
          </p:cNvPr>
          <p:cNvSpPr/>
          <p:nvPr/>
        </p:nvSpPr>
        <p:spPr>
          <a:xfrm>
            <a:off x="9172876" y="4896653"/>
            <a:ext cx="2519760" cy="8438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lvl="0" algn="ctr" defTabSz="914400">
              <a:spcBef>
                <a:spcPts val="100"/>
              </a:spcBef>
              <a:defRPr/>
            </a:pPr>
            <a:r>
              <a:rPr lang="en-US" sz="1600" b="1" dirty="0">
                <a:cs typeface="Arial"/>
              </a:rPr>
              <a:t>Savings </a:t>
            </a:r>
            <a:r>
              <a:rPr lang="en-US" sz="1600" b="1" dirty="0">
                <a:solidFill>
                  <a:srgbClr val="00AF50"/>
                </a:solidFill>
                <a:cs typeface="Arial"/>
              </a:rPr>
              <a:t>-</a:t>
            </a:r>
            <a:r>
              <a:rPr lang="en-US" sz="1600" b="1" spc="-30" dirty="0">
                <a:solidFill>
                  <a:srgbClr val="00AF50"/>
                </a:solidFill>
                <a:cs typeface="Arial"/>
              </a:rPr>
              <a:t> </a:t>
            </a:r>
            <a:r>
              <a:rPr lang="en-US" sz="1600" b="1" spc="-5" dirty="0">
                <a:solidFill>
                  <a:srgbClr val="00AF50"/>
                </a:solidFill>
                <a:cs typeface="Arial"/>
              </a:rPr>
              <a:t>8</a:t>
            </a:r>
            <a:r>
              <a:rPr lang="en-US" sz="1600" b="1" spc="-30" dirty="0">
                <a:solidFill>
                  <a:srgbClr val="00AF50"/>
                </a:solidFill>
                <a:cs typeface="Arial"/>
              </a:rPr>
              <a:t> </a:t>
            </a:r>
            <a:r>
              <a:rPr lang="en-US" sz="1600" b="1" spc="-5" dirty="0">
                <a:solidFill>
                  <a:srgbClr val="00AF50"/>
                </a:solidFill>
                <a:cs typeface="Arial"/>
              </a:rPr>
              <a:t>min</a:t>
            </a:r>
          </a:p>
          <a:p>
            <a:pPr marL="12700" lvl="0" algn="ctr" defTabSz="914400">
              <a:spcBef>
                <a:spcPts val="100"/>
              </a:spcBef>
              <a:defRPr/>
            </a:pPr>
            <a:r>
              <a:rPr lang="en-US" sz="1600" dirty="0">
                <a:solidFill>
                  <a:srgbClr val="00AF50"/>
                </a:solidFill>
                <a:cs typeface="Arial"/>
              </a:rPr>
              <a:t>~</a:t>
            </a:r>
            <a:r>
              <a:rPr lang="en-US" sz="1600" spc="-5" dirty="0">
                <a:solidFill>
                  <a:srgbClr val="00AF50"/>
                </a:solidFill>
                <a:cs typeface="Arial"/>
              </a:rPr>
              <a:t>20%</a:t>
            </a:r>
            <a:r>
              <a:rPr lang="en-US" sz="1600" spc="-15" dirty="0">
                <a:solidFill>
                  <a:srgbClr val="00AF50"/>
                </a:solidFill>
                <a:cs typeface="Arial"/>
              </a:rPr>
              <a:t> </a:t>
            </a:r>
            <a:r>
              <a:rPr lang="en-US" sz="1600" spc="-5" dirty="0">
                <a:solidFill>
                  <a:srgbClr val="00AF50"/>
                </a:solidFill>
                <a:cs typeface="Arial"/>
              </a:rPr>
              <a:t>reduction</a:t>
            </a:r>
            <a:r>
              <a:rPr lang="en-US" sz="1600" spc="10" dirty="0">
                <a:solidFill>
                  <a:srgbClr val="00AF50"/>
                </a:solidFill>
                <a:cs typeface="Arial"/>
              </a:rPr>
              <a:t> </a:t>
            </a:r>
            <a:br>
              <a:rPr lang="en-US" sz="1600" spc="10" dirty="0">
                <a:solidFill>
                  <a:srgbClr val="00AF50"/>
                </a:solidFill>
                <a:cs typeface="Arial"/>
              </a:rPr>
            </a:br>
            <a:r>
              <a:rPr lang="en-US" sz="1600" spc="-5" dirty="0">
                <a:solidFill>
                  <a:srgbClr val="00AF50"/>
                </a:solidFill>
                <a:cs typeface="Arial"/>
              </a:rPr>
              <a:t>of</a:t>
            </a:r>
            <a:r>
              <a:rPr lang="en-US" sz="1600" spc="-20" dirty="0">
                <a:solidFill>
                  <a:srgbClr val="00AF50"/>
                </a:solidFill>
                <a:cs typeface="Arial"/>
              </a:rPr>
              <a:t> </a:t>
            </a:r>
            <a:r>
              <a:rPr lang="en-US" sz="1600" spc="-5" dirty="0">
                <a:solidFill>
                  <a:srgbClr val="00AF50"/>
                </a:solidFill>
                <a:cs typeface="Arial"/>
              </a:rPr>
              <a:t>curing </a:t>
            </a:r>
            <a:r>
              <a:rPr lang="en-US" sz="1600" dirty="0">
                <a:solidFill>
                  <a:srgbClr val="00AF50"/>
                </a:solidFill>
                <a:cs typeface="Arial"/>
              </a:rPr>
              <a:t>time</a:t>
            </a:r>
            <a:endParaRPr lang="en-US" sz="1600" dirty="0">
              <a:solidFill>
                <a:prstClr val="black"/>
              </a:solidFill>
              <a:cs typeface="Arial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E2100EC6-BF04-7849-8DCA-78F6DB498C00}"/>
              </a:ext>
            </a:extLst>
          </p:cNvPr>
          <p:cNvGrpSpPr/>
          <p:nvPr/>
        </p:nvGrpSpPr>
        <p:grpSpPr>
          <a:xfrm>
            <a:off x="7909905" y="4873406"/>
            <a:ext cx="907462" cy="907462"/>
            <a:chOff x="7909905" y="4873406"/>
            <a:chExt cx="907462" cy="907462"/>
          </a:xfrm>
        </p:grpSpPr>
        <p:sp>
          <p:nvSpPr>
            <p:cNvPr id="23" name="Ellipse 6">
              <a:extLst>
                <a:ext uri="{FF2B5EF4-FFF2-40B4-BE49-F238E27FC236}">
                  <a16:creationId xmlns:a16="http://schemas.microsoft.com/office/drawing/2014/main" id="{6284A739-9B72-2240-9945-7FFD0223C642}"/>
                </a:ext>
              </a:extLst>
            </p:cNvPr>
            <p:cNvSpPr/>
            <p:nvPr/>
          </p:nvSpPr>
          <p:spPr>
            <a:xfrm>
              <a:off x="7909905" y="4873406"/>
              <a:ext cx="907462" cy="907462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9" name="Grafik 8" descr="Messgerät">
              <a:extLst>
                <a:ext uri="{FF2B5EF4-FFF2-40B4-BE49-F238E27FC236}">
                  <a16:creationId xmlns:a16="http://schemas.microsoft.com/office/drawing/2014/main" id="{F96CB0DB-BEBC-488D-99F5-B1087F5321B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8019020" y="4896653"/>
              <a:ext cx="689232" cy="689232"/>
            </a:xfrm>
            <a:prstGeom prst="rect">
              <a:avLst/>
            </a:prstGeom>
          </p:spPr>
        </p:pic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8A4B4BEA-3941-6A88-FC98-5BBA5D8F895D}"/>
              </a:ext>
            </a:extLst>
          </p:cNvPr>
          <p:cNvGrpSpPr/>
          <p:nvPr/>
        </p:nvGrpSpPr>
        <p:grpSpPr>
          <a:xfrm>
            <a:off x="321502" y="1320800"/>
            <a:ext cx="7191381" cy="4851400"/>
            <a:chOff x="321502" y="1320800"/>
            <a:chExt cx="7191381" cy="4851400"/>
          </a:xfrm>
        </p:grpSpPr>
        <p:graphicFrame>
          <p:nvGraphicFramePr>
            <p:cNvPr id="35" name="Diagramm 34">
              <a:extLst>
                <a:ext uri="{FF2B5EF4-FFF2-40B4-BE49-F238E27FC236}">
                  <a16:creationId xmlns:a16="http://schemas.microsoft.com/office/drawing/2014/main" id="{D01FD446-30E6-4C9E-8551-EEE1F01A9B87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1695649967"/>
                </p:ext>
              </p:extLst>
            </p:nvPr>
          </p:nvGraphicFramePr>
          <p:xfrm>
            <a:off x="321502" y="1320800"/>
            <a:ext cx="7191381" cy="485140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5"/>
            </a:graphicData>
          </a:graphic>
        </p:graphicFrame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837B4A17-EDFD-17DA-6061-D6776410C011}"/>
                </a:ext>
              </a:extLst>
            </p:cNvPr>
            <p:cNvSpPr txBox="1"/>
            <p:nvPr/>
          </p:nvSpPr>
          <p:spPr>
            <a:xfrm>
              <a:off x="2266401" y="5833788"/>
              <a:ext cx="1195252" cy="246221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rtlCol="0">
              <a:spAutoFit/>
            </a:bodyPr>
            <a:lstStyle/>
            <a:p>
              <a:r>
                <a:rPr lang="it-IT" sz="1000" dirty="0" err="1">
                  <a:solidFill>
                    <a:srgbClr val="111111"/>
                  </a:solidFill>
                </a:rPr>
                <a:t>EnergX</a:t>
              </a:r>
              <a:r>
                <a:rPr lang="it-IT" sz="1000" dirty="0">
                  <a:solidFill>
                    <a:srgbClr val="111111"/>
                  </a:solidFill>
                </a:rPr>
                <a:t> ULTRA</a:t>
              </a:r>
              <a:endParaRPr lang="en-US" sz="1000" dirty="0">
                <a:solidFill>
                  <a:srgbClr val="11111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1316960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Freeform 18">
            <a:extLst>
              <a:ext uri="{FF2B5EF4-FFF2-40B4-BE49-F238E27FC236}">
                <a16:creationId xmlns:a16="http://schemas.microsoft.com/office/drawing/2014/main" id="{FB87413F-050F-4A46-8BF6-01EC87B18F23}"/>
              </a:ext>
            </a:extLst>
          </p:cNvPr>
          <p:cNvSpPr/>
          <p:nvPr/>
        </p:nvSpPr>
        <p:spPr>
          <a:xfrm rot="10800000">
            <a:off x="9088711" y="1390699"/>
            <a:ext cx="2158338" cy="497994"/>
          </a:xfrm>
          <a:custGeom>
            <a:avLst/>
            <a:gdLst>
              <a:gd name="connsiteX0" fmla="*/ 0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0 w 2676588"/>
              <a:gd name="connsiteY4" fmla="*/ 0 h 363338"/>
              <a:gd name="connsiteX0" fmla="*/ 888545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888545 w 2676588"/>
              <a:gd name="connsiteY4" fmla="*/ 0 h 363338"/>
              <a:gd name="connsiteX0" fmla="*/ 0 w 1788043"/>
              <a:gd name="connsiteY0" fmla="*/ 0 h 363338"/>
              <a:gd name="connsiteX1" fmla="*/ 1788043 w 1788043"/>
              <a:gd name="connsiteY1" fmla="*/ 0 h 363338"/>
              <a:gd name="connsiteX2" fmla="*/ 1600319 w 1788043"/>
              <a:gd name="connsiteY2" fmla="*/ 363338 h 363338"/>
              <a:gd name="connsiteX3" fmla="*/ 0 w 1788043"/>
              <a:gd name="connsiteY3" fmla="*/ 363338 h 363338"/>
              <a:gd name="connsiteX4" fmla="*/ 0 w 1788043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138221 w 1926264"/>
              <a:gd name="connsiteY3" fmla="*/ 363338 h 363338"/>
              <a:gd name="connsiteX4" fmla="*/ 0 w 1926264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6284 w 1926264"/>
              <a:gd name="connsiteY3" fmla="*/ 363338 h 363338"/>
              <a:gd name="connsiteX4" fmla="*/ 0 w 1926264"/>
              <a:gd name="connsiteY4" fmla="*/ 0 h 363338"/>
              <a:gd name="connsiteX0" fmla="*/ 43978 w 1970242"/>
              <a:gd name="connsiteY0" fmla="*/ 0 h 363338"/>
              <a:gd name="connsiteX1" fmla="*/ 1970242 w 1970242"/>
              <a:gd name="connsiteY1" fmla="*/ 0 h 363338"/>
              <a:gd name="connsiteX2" fmla="*/ 1782518 w 1970242"/>
              <a:gd name="connsiteY2" fmla="*/ 363338 h 363338"/>
              <a:gd name="connsiteX3" fmla="*/ 0 w 1970242"/>
              <a:gd name="connsiteY3" fmla="*/ 363338 h 363338"/>
              <a:gd name="connsiteX4" fmla="*/ 43978 w 1970242"/>
              <a:gd name="connsiteY4" fmla="*/ 0 h 363338"/>
              <a:gd name="connsiteX0" fmla="*/ 0 w 1926264"/>
              <a:gd name="connsiteY0" fmla="*/ 0 h 369620"/>
              <a:gd name="connsiteX1" fmla="*/ 1926264 w 1926264"/>
              <a:gd name="connsiteY1" fmla="*/ 0 h 369620"/>
              <a:gd name="connsiteX2" fmla="*/ 1738540 w 1926264"/>
              <a:gd name="connsiteY2" fmla="*/ 363338 h 369620"/>
              <a:gd name="connsiteX3" fmla="*/ 6284 w 1926264"/>
              <a:gd name="connsiteY3" fmla="*/ 369620 h 369620"/>
              <a:gd name="connsiteX4" fmla="*/ 0 w 1926264"/>
              <a:gd name="connsiteY4" fmla="*/ 0 h 369620"/>
              <a:gd name="connsiteX0" fmla="*/ 6281 w 1932545"/>
              <a:gd name="connsiteY0" fmla="*/ 0 h 369620"/>
              <a:gd name="connsiteX1" fmla="*/ 1932545 w 1932545"/>
              <a:gd name="connsiteY1" fmla="*/ 0 h 369620"/>
              <a:gd name="connsiteX2" fmla="*/ 1744821 w 1932545"/>
              <a:gd name="connsiteY2" fmla="*/ 363338 h 369620"/>
              <a:gd name="connsiteX3" fmla="*/ 0 w 1932545"/>
              <a:gd name="connsiteY3" fmla="*/ 369620 h 369620"/>
              <a:gd name="connsiteX4" fmla="*/ 6281 w 1932545"/>
              <a:gd name="connsiteY4" fmla="*/ 0 h 369620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25132 w 1926264"/>
              <a:gd name="connsiteY3" fmla="*/ 357055 h 363338"/>
              <a:gd name="connsiteX4" fmla="*/ 0 w 1926264"/>
              <a:gd name="connsiteY4" fmla="*/ 0 h 363338"/>
              <a:gd name="connsiteX0" fmla="*/ 12564 w 1938828"/>
              <a:gd name="connsiteY0" fmla="*/ 0 h 363338"/>
              <a:gd name="connsiteX1" fmla="*/ 1938828 w 1938828"/>
              <a:gd name="connsiteY1" fmla="*/ 0 h 363338"/>
              <a:gd name="connsiteX2" fmla="*/ 1751104 w 1938828"/>
              <a:gd name="connsiteY2" fmla="*/ 363338 h 363338"/>
              <a:gd name="connsiteX3" fmla="*/ 0 w 1938828"/>
              <a:gd name="connsiteY3" fmla="*/ 363338 h 363338"/>
              <a:gd name="connsiteX4" fmla="*/ 12564 w 1938828"/>
              <a:gd name="connsiteY4" fmla="*/ 0 h 363338"/>
              <a:gd name="connsiteX0" fmla="*/ 0 w 1926264"/>
              <a:gd name="connsiteY0" fmla="*/ 0 h 369621"/>
              <a:gd name="connsiteX1" fmla="*/ 1926264 w 1926264"/>
              <a:gd name="connsiteY1" fmla="*/ 0 h 369621"/>
              <a:gd name="connsiteX2" fmla="*/ 1738540 w 1926264"/>
              <a:gd name="connsiteY2" fmla="*/ 363338 h 369621"/>
              <a:gd name="connsiteX3" fmla="*/ 6284 w 1926264"/>
              <a:gd name="connsiteY3" fmla="*/ 369621 h 369621"/>
              <a:gd name="connsiteX4" fmla="*/ 0 w 1926264"/>
              <a:gd name="connsiteY4" fmla="*/ 0 h 369621"/>
              <a:gd name="connsiteX0" fmla="*/ 43978 w 1970242"/>
              <a:gd name="connsiteY0" fmla="*/ 0 h 363339"/>
              <a:gd name="connsiteX1" fmla="*/ 1970242 w 1970242"/>
              <a:gd name="connsiteY1" fmla="*/ 0 h 363339"/>
              <a:gd name="connsiteX2" fmla="*/ 1782518 w 1970242"/>
              <a:gd name="connsiteY2" fmla="*/ 363338 h 363339"/>
              <a:gd name="connsiteX3" fmla="*/ 0 w 1970242"/>
              <a:gd name="connsiteY3" fmla="*/ 363339 h 363339"/>
              <a:gd name="connsiteX4" fmla="*/ 43978 w 1970242"/>
              <a:gd name="connsiteY4" fmla="*/ 0 h 363339"/>
              <a:gd name="connsiteX0" fmla="*/ 0 w 1926264"/>
              <a:gd name="connsiteY0" fmla="*/ 0 h 363339"/>
              <a:gd name="connsiteX1" fmla="*/ 1926264 w 1926264"/>
              <a:gd name="connsiteY1" fmla="*/ 0 h 363339"/>
              <a:gd name="connsiteX2" fmla="*/ 1738540 w 1926264"/>
              <a:gd name="connsiteY2" fmla="*/ 363338 h 363339"/>
              <a:gd name="connsiteX3" fmla="*/ 1 w 1926264"/>
              <a:gd name="connsiteY3" fmla="*/ 363339 h 363339"/>
              <a:gd name="connsiteX4" fmla="*/ 0 w 1926264"/>
              <a:gd name="connsiteY4" fmla="*/ 0 h 363339"/>
              <a:gd name="connsiteX0" fmla="*/ 0 w 1926264"/>
              <a:gd name="connsiteY0" fmla="*/ 0 h 363339"/>
              <a:gd name="connsiteX1" fmla="*/ 1926264 w 1926264"/>
              <a:gd name="connsiteY1" fmla="*/ 0 h 363339"/>
              <a:gd name="connsiteX2" fmla="*/ 1678394 w 1926264"/>
              <a:gd name="connsiteY2" fmla="*/ 363338 h 363339"/>
              <a:gd name="connsiteX3" fmla="*/ 1 w 1926264"/>
              <a:gd name="connsiteY3" fmla="*/ 363339 h 363339"/>
              <a:gd name="connsiteX4" fmla="*/ 0 w 1926264"/>
              <a:gd name="connsiteY4" fmla="*/ 0 h 363339"/>
              <a:gd name="connsiteX0" fmla="*/ 0 w 1926264"/>
              <a:gd name="connsiteY0" fmla="*/ 0 h 363339"/>
              <a:gd name="connsiteX1" fmla="*/ 1926264 w 1926264"/>
              <a:gd name="connsiteY1" fmla="*/ 0 h 363339"/>
              <a:gd name="connsiteX2" fmla="*/ 1702453 w 1926264"/>
              <a:gd name="connsiteY2" fmla="*/ 363338 h 363339"/>
              <a:gd name="connsiteX3" fmla="*/ 1 w 1926264"/>
              <a:gd name="connsiteY3" fmla="*/ 363339 h 363339"/>
              <a:gd name="connsiteX4" fmla="*/ 0 w 1926264"/>
              <a:gd name="connsiteY4" fmla="*/ 0 h 363339"/>
              <a:gd name="connsiteX0" fmla="*/ 0 w 1926264"/>
              <a:gd name="connsiteY0" fmla="*/ 0 h 363339"/>
              <a:gd name="connsiteX1" fmla="*/ 1926264 w 1926264"/>
              <a:gd name="connsiteY1" fmla="*/ 0 h 363339"/>
              <a:gd name="connsiteX2" fmla="*/ 1714482 w 1926264"/>
              <a:gd name="connsiteY2" fmla="*/ 354072 h 363339"/>
              <a:gd name="connsiteX3" fmla="*/ 1 w 1926264"/>
              <a:gd name="connsiteY3" fmla="*/ 363339 h 363339"/>
              <a:gd name="connsiteX4" fmla="*/ 0 w 1926264"/>
              <a:gd name="connsiteY4" fmla="*/ 0 h 3633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6264" h="363339">
                <a:moveTo>
                  <a:pt x="0" y="0"/>
                </a:moveTo>
                <a:lnTo>
                  <a:pt x="1926264" y="0"/>
                </a:lnTo>
                <a:lnTo>
                  <a:pt x="1714482" y="354072"/>
                </a:lnTo>
                <a:lnTo>
                  <a:pt x="1" y="363339"/>
                </a:lnTo>
                <a:cubicBezTo>
                  <a:pt x="1" y="242226"/>
                  <a:pt x="0" y="121113"/>
                  <a:pt x="0" y="0"/>
                </a:cubicBezTo>
                <a:close/>
              </a:path>
            </a:pathLst>
          </a:custGeom>
          <a:solidFill>
            <a:schemeClr val="accent1"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4" name="Freeform 18">
            <a:extLst>
              <a:ext uri="{FF2B5EF4-FFF2-40B4-BE49-F238E27FC236}">
                <a16:creationId xmlns:a16="http://schemas.microsoft.com/office/drawing/2014/main" id="{95C37F2C-A4A0-6D45-8A12-33C0AB2E4162}"/>
              </a:ext>
            </a:extLst>
          </p:cNvPr>
          <p:cNvSpPr/>
          <p:nvPr/>
        </p:nvSpPr>
        <p:spPr>
          <a:xfrm rot="10800000">
            <a:off x="449539" y="1390698"/>
            <a:ext cx="2158338" cy="497994"/>
          </a:xfrm>
          <a:custGeom>
            <a:avLst/>
            <a:gdLst>
              <a:gd name="connsiteX0" fmla="*/ 0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0 w 2676588"/>
              <a:gd name="connsiteY4" fmla="*/ 0 h 363338"/>
              <a:gd name="connsiteX0" fmla="*/ 888545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888545 w 2676588"/>
              <a:gd name="connsiteY4" fmla="*/ 0 h 363338"/>
              <a:gd name="connsiteX0" fmla="*/ 0 w 1788043"/>
              <a:gd name="connsiteY0" fmla="*/ 0 h 363338"/>
              <a:gd name="connsiteX1" fmla="*/ 1788043 w 1788043"/>
              <a:gd name="connsiteY1" fmla="*/ 0 h 363338"/>
              <a:gd name="connsiteX2" fmla="*/ 1600319 w 1788043"/>
              <a:gd name="connsiteY2" fmla="*/ 363338 h 363338"/>
              <a:gd name="connsiteX3" fmla="*/ 0 w 1788043"/>
              <a:gd name="connsiteY3" fmla="*/ 363338 h 363338"/>
              <a:gd name="connsiteX4" fmla="*/ 0 w 1788043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138221 w 1926264"/>
              <a:gd name="connsiteY3" fmla="*/ 363338 h 363338"/>
              <a:gd name="connsiteX4" fmla="*/ 0 w 1926264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6284 w 1926264"/>
              <a:gd name="connsiteY3" fmla="*/ 363338 h 363338"/>
              <a:gd name="connsiteX4" fmla="*/ 0 w 1926264"/>
              <a:gd name="connsiteY4" fmla="*/ 0 h 363338"/>
              <a:gd name="connsiteX0" fmla="*/ 43978 w 1970242"/>
              <a:gd name="connsiteY0" fmla="*/ 0 h 363338"/>
              <a:gd name="connsiteX1" fmla="*/ 1970242 w 1970242"/>
              <a:gd name="connsiteY1" fmla="*/ 0 h 363338"/>
              <a:gd name="connsiteX2" fmla="*/ 1782518 w 1970242"/>
              <a:gd name="connsiteY2" fmla="*/ 363338 h 363338"/>
              <a:gd name="connsiteX3" fmla="*/ 0 w 1970242"/>
              <a:gd name="connsiteY3" fmla="*/ 363338 h 363338"/>
              <a:gd name="connsiteX4" fmla="*/ 43978 w 1970242"/>
              <a:gd name="connsiteY4" fmla="*/ 0 h 363338"/>
              <a:gd name="connsiteX0" fmla="*/ 0 w 1926264"/>
              <a:gd name="connsiteY0" fmla="*/ 0 h 369620"/>
              <a:gd name="connsiteX1" fmla="*/ 1926264 w 1926264"/>
              <a:gd name="connsiteY1" fmla="*/ 0 h 369620"/>
              <a:gd name="connsiteX2" fmla="*/ 1738540 w 1926264"/>
              <a:gd name="connsiteY2" fmla="*/ 363338 h 369620"/>
              <a:gd name="connsiteX3" fmla="*/ 6284 w 1926264"/>
              <a:gd name="connsiteY3" fmla="*/ 369620 h 369620"/>
              <a:gd name="connsiteX4" fmla="*/ 0 w 1926264"/>
              <a:gd name="connsiteY4" fmla="*/ 0 h 369620"/>
              <a:gd name="connsiteX0" fmla="*/ 6281 w 1932545"/>
              <a:gd name="connsiteY0" fmla="*/ 0 h 369620"/>
              <a:gd name="connsiteX1" fmla="*/ 1932545 w 1932545"/>
              <a:gd name="connsiteY1" fmla="*/ 0 h 369620"/>
              <a:gd name="connsiteX2" fmla="*/ 1744821 w 1932545"/>
              <a:gd name="connsiteY2" fmla="*/ 363338 h 369620"/>
              <a:gd name="connsiteX3" fmla="*/ 0 w 1932545"/>
              <a:gd name="connsiteY3" fmla="*/ 369620 h 369620"/>
              <a:gd name="connsiteX4" fmla="*/ 6281 w 1932545"/>
              <a:gd name="connsiteY4" fmla="*/ 0 h 369620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25132 w 1926264"/>
              <a:gd name="connsiteY3" fmla="*/ 357055 h 363338"/>
              <a:gd name="connsiteX4" fmla="*/ 0 w 1926264"/>
              <a:gd name="connsiteY4" fmla="*/ 0 h 363338"/>
              <a:gd name="connsiteX0" fmla="*/ 12564 w 1938828"/>
              <a:gd name="connsiteY0" fmla="*/ 0 h 363338"/>
              <a:gd name="connsiteX1" fmla="*/ 1938828 w 1938828"/>
              <a:gd name="connsiteY1" fmla="*/ 0 h 363338"/>
              <a:gd name="connsiteX2" fmla="*/ 1751104 w 1938828"/>
              <a:gd name="connsiteY2" fmla="*/ 363338 h 363338"/>
              <a:gd name="connsiteX3" fmla="*/ 0 w 1938828"/>
              <a:gd name="connsiteY3" fmla="*/ 363338 h 363338"/>
              <a:gd name="connsiteX4" fmla="*/ 12564 w 1938828"/>
              <a:gd name="connsiteY4" fmla="*/ 0 h 363338"/>
              <a:gd name="connsiteX0" fmla="*/ 0 w 1926264"/>
              <a:gd name="connsiteY0" fmla="*/ 0 h 369621"/>
              <a:gd name="connsiteX1" fmla="*/ 1926264 w 1926264"/>
              <a:gd name="connsiteY1" fmla="*/ 0 h 369621"/>
              <a:gd name="connsiteX2" fmla="*/ 1738540 w 1926264"/>
              <a:gd name="connsiteY2" fmla="*/ 363338 h 369621"/>
              <a:gd name="connsiteX3" fmla="*/ 6284 w 1926264"/>
              <a:gd name="connsiteY3" fmla="*/ 369621 h 369621"/>
              <a:gd name="connsiteX4" fmla="*/ 0 w 1926264"/>
              <a:gd name="connsiteY4" fmla="*/ 0 h 369621"/>
              <a:gd name="connsiteX0" fmla="*/ 43978 w 1970242"/>
              <a:gd name="connsiteY0" fmla="*/ 0 h 363339"/>
              <a:gd name="connsiteX1" fmla="*/ 1970242 w 1970242"/>
              <a:gd name="connsiteY1" fmla="*/ 0 h 363339"/>
              <a:gd name="connsiteX2" fmla="*/ 1782518 w 1970242"/>
              <a:gd name="connsiteY2" fmla="*/ 363338 h 363339"/>
              <a:gd name="connsiteX3" fmla="*/ 0 w 1970242"/>
              <a:gd name="connsiteY3" fmla="*/ 363339 h 363339"/>
              <a:gd name="connsiteX4" fmla="*/ 43978 w 1970242"/>
              <a:gd name="connsiteY4" fmla="*/ 0 h 363339"/>
              <a:gd name="connsiteX0" fmla="*/ 0 w 1926264"/>
              <a:gd name="connsiteY0" fmla="*/ 0 h 363339"/>
              <a:gd name="connsiteX1" fmla="*/ 1926264 w 1926264"/>
              <a:gd name="connsiteY1" fmla="*/ 0 h 363339"/>
              <a:gd name="connsiteX2" fmla="*/ 1738540 w 1926264"/>
              <a:gd name="connsiteY2" fmla="*/ 363338 h 363339"/>
              <a:gd name="connsiteX3" fmla="*/ 1 w 1926264"/>
              <a:gd name="connsiteY3" fmla="*/ 363339 h 363339"/>
              <a:gd name="connsiteX4" fmla="*/ 0 w 1926264"/>
              <a:gd name="connsiteY4" fmla="*/ 0 h 363339"/>
              <a:gd name="connsiteX0" fmla="*/ 0 w 1926264"/>
              <a:gd name="connsiteY0" fmla="*/ 0 h 363339"/>
              <a:gd name="connsiteX1" fmla="*/ 1926264 w 1926264"/>
              <a:gd name="connsiteY1" fmla="*/ 0 h 363339"/>
              <a:gd name="connsiteX2" fmla="*/ 1678394 w 1926264"/>
              <a:gd name="connsiteY2" fmla="*/ 363338 h 363339"/>
              <a:gd name="connsiteX3" fmla="*/ 1 w 1926264"/>
              <a:gd name="connsiteY3" fmla="*/ 363339 h 363339"/>
              <a:gd name="connsiteX4" fmla="*/ 0 w 1926264"/>
              <a:gd name="connsiteY4" fmla="*/ 0 h 363339"/>
              <a:gd name="connsiteX0" fmla="*/ 0 w 1926264"/>
              <a:gd name="connsiteY0" fmla="*/ 0 h 363339"/>
              <a:gd name="connsiteX1" fmla="*/ 1926264 w 1926264"/>
              <a:gd name="connsiteY1" fmla="*/ 0 h 363339"/>
              <a:gd name="connsiteX2" fmla="*/ 1702453 w 1926264"/>
              <a:gd name="connsiteY2" fmla="*/ 363338 h 363339"/>
              <a:gd name="connsiteX3" fmla="*/ 1 w 1926264"/>
              <a:gd name="connsiteY3" fmla="*/ 363339 h 363339"/>
              <a:gd name="connsiteX4" fmla="*/ 0 w 1926264"/>
              <a:gd name="connsiteY4" fmla="*/ 0 h 363339"/>
              <a:gd name="connsiteX0" fmla="*/ 0 w 1926264"/>
              <a:gd name="connsiteY0" fmla="*/ 0 h 363339"/>
              <a:gd name="connsiteX1" fmla="*/ 1926264 w 1926264"/>
              <a:gd name="connsiteY1" fmla="*/ 0 h 363339"/>
              <a:gd name="connsiteX2" fmla="*/ 1714482 w 1926264"/>
              <a:gd name="connsiteY2" fmla="*/ 354072 h 363339"/>
              <a:gd name="connsiteX3" fmla="*/ 1 w 1926264"/>
              <a:gd name="connsiteY3" fmla="*/ 363339 h 363339"/>
              <a:gd name="connsiteX4" fmla="*/ 0 w 1926264"/>
              <a:gd name="connsiteY4" fmla="*/ 0 h 3633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6264" h="363339">
                <a:moveTo>
                  <a:pt x="0" y="0"/>
                </a:moveTo>
                <a:lnTo>
                  <a:pt x="1926264" y="0"/>
                </a:lnTo>
                <a:lnTo>
                  <a:pt x="1714482" y="354072"/>
                </a:lnTo>
                <a:lnTo>
                  <a:pt x="1" y="363339"/>
                </a:lnTo>
                <a:cubicBezTo>
                  <a:pt x="1" y="242226"/>
                  <a:pt x="0" y="121113"/>
                  <a:pt x="0" y="0"/>
                </a:cubicBezTo>
                <a:close/>
              </a:path>
            </a:pathLst>
          </a:custGeom>
          <a:solidFill>
            <a:schemeClr val="accent1"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Freeform 18">
            <a:extLst>
              <a:ext uri="{FF2B5EF4-FFF2-40B4-BE49-F238E27FC236}">
                <a16:creationId xmlns:a16="http://schemas.microsoft.com/office/drawing/2014/main" id="{3F310689-9B86-944E-9760-69BE9D04D860}"/>
              </a:ext>
            </a:extLst>
          </p:cNvPr>
          <p:cNvSpPr/>
          <p:nvPr/>
        </p:nvSpPr>
        <p:spPr>
          <a:xfrm rot="10800000">
            <a:off x="6117220" y="1390698"/>
            <a:ext cx="2158338" cy="505666"/>
          </a:xfrm>
          <a:custGeom>
            <a:avLst/>
            <a:gdLst>
              <a:gd name="connsiteX0" fmla="*/ 0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0 w 2676588"/>
              <a:gd name="connsiteY4" fmla="*/ 0 h 363338"/>
              <a:gd name="connsiteX0" fmla="*/ 888545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888545 w 2676588"/>
              <a:gd name="connsiteY4" fmla="*/ 0 h 363338"/>
              <a:gd name="connsiteX0" fmla="*/ 0 w 1788043"/>
              <a:gd name="connsiteY0" fmla="*/ 0 h 363338"/>
              <a:gd name="connsiteX1" fmla="*/ 1788043 w 1788043"/>
              <a:gd name="connsiteY1" fmla="*/ 0 h 363338"/>
              <a:gd name="connsiteX2" fmla="*/ 1600319 w 1788043"/>
              <a:gd name="connsiteY2" fmla="*/ 363338 h 363338"/>
              <a:gd name="connsiteX3" fmla="*/ 0 w 1788043"/>
              <a:gd name="connsiteY3" fmla="*/ 363338 h 363338"/>
              <a:gd name="connsiteX4" fmla="*/ 0 w 1788043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138221 w 1926264"/>
              <a:gd name="connsiteY3" fmla="*/ 363338 h 363338"/>
              <a:gd name="connsiteX4" fmla="*/ 0 w 1926264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6284 w 1926264"/>
              <a:gd name="connsiteY3" fmla="*/ 363338 h 363338"/>
              <a:gd name="connsiteX4" fmla="*/ 0 w 1926264"/>
              <a:gd name="connsiteY4" fmla="*/ 0 h 363338"/>
              <a:gd name="connsiteX0" fmla="*/ 43978 w 1970242"/>
              <a:gd name="connsiteY0" fmla="*/ 0 h 363338"/>
              <a:gd name="connsiteX1" fmla="*/ 1970242 w 1970242"/>
              <a:gd name="connsiteY1" fmla="*/ 0 h 363338"/>
              <a:gd name="connsiteX2" fmla="*/ 1782518 w 1970242"/>
              <a:gd name="connsiteY2" fmla="*/ 363338 h 363338"/>
              <a:gd name="connsiteX3" fmla="*/ 0 w 1970242"/>
              <a:gd name="connsiteY3" fmla="*/ 363338 h 363338"/>
              <a:gd name="connsiteX4" fmla="*/ 43978 w 1970242"/>
              <a:gd name="connsiteY4" fmla="*/ 0 h 363338"/>
              <a:gd name="connsiteX0" fmla="*/ 0 w 1926264"/>
              <a:gd name="connsiteY0" fmla="*/ 0 h 369620"/>
              <a:gd name="connsiteX1" fmla="*/ 1926264 w 1926264"/>
              <a:gd name="connsiteY1" fmla="*/ 0 h 369620"/>
              <a:gd name="connsiteX2" fmla="*/ 1738540 w 1926264"/>
              <a:gd name="connsiteY2" fmla="*/ 363338 h 369620"/>
              <a:gd name="connsiteX3" fmla="*/ 6284 w 1926264"/>
              <a:gd name="connsiteY3" fmla="*/ 369620 h 369620"/>
              <a:gd name="connsiteX4" fmla="*/ 0 w 1926264"/>
              <a:gd name="connsiteY4" fmla="*/ 0 h 369620"/>
              <a:gd name="connsiteX0" fmla="*/ 6281 w 1932545"/>
              <a:gd name="connsiteY0" fmla="*/ 0 h 369620"/>
              <a:gd name="connsiteX1" fmla="*/ 1932545 w 1932545"/>
              <a:gd name="connsiteY1" fmla="*/ 0 h 369620"/>
              <a:gd name="connsiteX2" fmla="*/ 1744821 w 1932545"/>
              <a:gd name="connsiteY2" fmla="*/ 363338 h 369620"/>
              <a:gd name="connsiteX3" fmla="*/ 0 w 1932545"/>
              <a:gd name="connsiteY3" fmla="*/ 369620 h 369620"/>
              <a:gd name="connsiteX4" fmla="*/ 6281 w 1932545"/>
              <a:gd name="connsiteY4" fmla="*/ 0 h 369620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25132 w 1926264"/>
              <a:gd name="connsiteY3" fmla="*/ 357055 h 363338"/>
              <a:gd name="connsiteX4" fmla="*/ 0 w 1926264"/>
              <a:gd name="connsiteY4" fmla="*/ 0 h 363338"/>
              <a:gd name="connsiteX0" fmla="*/ 12564 w 1938828"/>
              <a:gd name="connsiteY0" fmla="*/ 0 h 363338"/>
              <a:gd name="connsiteX1" fmla="*/ 1938828 w 1938828"/>
              <a:gd name="connsiteY1" fmla="*/ 0 h 363338"/>
              <a:gd name="connsiteX2" fmla="*/ 1751104 w 1938828"/>
              <a:gd name="connsiteY2" fmla="*/ 363338 h 363338"/>
              <a:gd name="connsiteX3" fmla="*/ 0 w 1938828"/>
              <a:gd name="connsiteY3" fmla="*/ 363338 h 363338"/>
              <a:gd name="connsiteX4" fmla="*/ 12564 w 1938828"/>
              <a:gd name="connsiteY4" fmla="*/ 0 h 363338"/>
              <a:gd name="connsiteX0" fmla="*/ 0 w 1926264"/>
              <a:gd name="connsiteY0" fmla="*/ 0 h 369621"/>
              <a:gd name="connsiteX1" fmla="*/ 1926264 w 1926264"/>
              <a:gd name="connsiteY1" fmla="*/ 0 h 369621"/>
              <a:gd name="connsiteX2" fmla="*/ 1738540 w 1926264"/>
              <a:gd name="connsiteY2" fmla="*/ 363338 h 369621"/>
              <a:gd name="connsiteX3" fmla="*/ 6284 w 1926264"/>
              <a:gd name="connsiteY3" fmla="*/ 369621 h 369621"/>
              <a:gd name="connsiteX4" fmla="*/ 0 w 1926264"/>
              <a:gd name="connsiteY4" fmla="*/ 0 h 369621"/>
              <a:gd name="connsiteX0" fmla="*/ 43978 w 1970242"/>
              <a:gd name="connsiteY0" fmla="*/ 0 h 363339"/>
              <a:gd name="connsiteX1" fmla="*/ 1970242 w 1970242"/>
              <a:gd name="connsiteY1" fmla="*/ 0 h 363339"/>
              <a:gd name="connsiteX2" fmla="*/ 1782518 w 1970242"/>
              <a:gd name="connsiteY2" fmla="*/ 363338 h 363339"/>
              <a:gd name="connsiteX3" fmla="*/ 0 w 1970242"/>
              <a:gd name="connsiteY3" fmla="*/ 363339 h 363339"/>
              <a:gd name="connsiteX4" fmla="*/ 43978 w 1970242"/>
              <a:gd name="connsiteY4" fmla="*/ 0 h 363339"/>
              <a:gd name="connsiteX0" fmla="*/ 0 w 1926264"/>
              <a:gd name="connsiteY0" fmla="*/ 0 h 363339"/>
              <a:gd name="connsiteX1" fmla="*/ 1926264 w 1926264"/>
              <a:gd name="connsiteY1" fmla="*/ 0 h 363339"/>
              <a:gd name="connsiteX2" fmla="*/ 1738540 w 1926264"/>
              <a:gd name="connsiteY2" fmla="*/ 363338 h 363339"/>
              <a:gd name="connsiteX3" fmla="*/ 1 w 1926264"/>
              <a:gd name="connsiteY3" fmla="*/ 363339 h 363339"/>
              <a:gd name="connsiteX4" fmla="*/ 0 w 1926264"/>
              <a:gd name="connsiteY4" fmla="*/ 0 h 363339"/>
              <a:gd name="connsiteX0" fmla="*/ 0 w 1926264"/>
              <a:gd name="connsiteY0" fmla="*/ 0 h 363339"/>
              <a:gd name="connsiteX1" fmla="*/ 1926264 w 1926264"/>
              <a:gd name="connsiteY1" fmla="*/ 0 h 363339"/>
              <a:gd name="connsiteX2" fmla="*/ 1678394 w 1926264"/>
              <a:gd name="connsiteY2" fmla="*/ 363338 h 363339"/>
              <a:gd name="connsiteX3" fmla="*/ 1 w 1926264"/>
              <a:gd name="connsiteY3" fmla="*/ 363339 h 363339"/>
              <a:gd name="connsiteX4" fmla="*/ 0 w 1926264"/>
              <a:gd name="connsiteY4" fmla="*/ 0 h 363339"/>
              <a:gd name="connsiteX0" fmla="*/ 0 w 1926264"/>
              <a:gd name="connsiteY0" fmla="*/ 0 h 363339"/>
              <a:gd name="connsiteX1" fmla="*/ 1926264 w 1926264"/>
              <a:gd name="connsiteY1" fmla="*/ 0 h 363339"/>
              <a:gd name="connsiteX2" fmla="*/ 1702453 w 1926264"/>
              <a:gd name="connsiteY2" fmla="*/ 363338 h 363339"/>
              <a:gd name="connsiteX3" fmla="*/ 1 w 1926264"/>
              <a:gd name="connsiteY3" fmla="*/ 363339 h 363339"/>
              <a:gd name="connsiteX4" fmla="*/ 0 w 1926264"/>
              <a:gd name="connsiteY4" fmla="*/ 0 h 363339"/>
              <a:gd name="connsiteX0" fmla="*/ 0 w 1926264"/>
              <a:gd name="connsiteY0" fmla="*/ 0 h 363339"/>
              <a:gd name="connsiteX1" fmla="*/ 1926264 w 1926264"/>
              <a:gd name="connsiteY1" fmla="*/ 0 h 363339"/>
              <a:gd name="connsiteX2" fmla="*/ 1714482 w 1926264"/>
              <a:gd name="connsiteY2" fmla="*/ 354072 h 363339"/>
              <a:gd name="connsiteX3" fmla="*/ 1 w 1926264"/>
              <a:gd name="connsiteY3" fmla="*/ 363339 h 363339"/>
              <a:gd name="connsiteX4" fmla="*/ 0 w 1926264"/>
              <a:gd name="connsiteY4" fmla="*/ 0 h 3633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6264" h="363339">
                <a:moveTo>
                  <a:pt x="0" y="0"/>
                </a:moveTo>
                <a:lnTo>
                  <a:pt x="1926264" y="0"/>
                </a:lnTo>
                <a:lnTo>
                  <a:pt x="1714482" y="354072"/>
                </a:lnTo>
                <a:lnTo>
                  <a:pt x="1" y="363339"/>
                </a:lnTo>
                <a:cubicBezTo>
                  <a:pt x="1" y="242226"/>
                  <a:pt x="0" y="121113"/>
                  <a:pt x="0" y="0"/>
                </a:cubicBezTo>
                <a:close/>
              </a:path>
            </a:pathLst>
          </a:custGeom>
          <a:solidFill>
            <a:schemeClr val="accent1"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EB27DE0A-B15E-4FEB-ACB5-124FFCD80495}"/>
              </a:ext>
            </a:extLst>
          </p:cNvPr>
          <p:cNvSpPr/>
          <p:nvPr/>
        </p:nvSpPr>
        <p:spPr>
          <a:xfrm>
            <a:off x="766216" y="1260132"/>
            <a:ext cx="1504373" cy="13823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295A37D5-7853-4540-BDCE-52C84D24E104}"/>
              </a:ext>
            </a:extLst>
          </p:cNvPr>
          <p:cNvSpPr txBox="1">
            <a:spLocks/>
          </p:cNvSpPr>
          <p:nvPr/>
        </p:nvSpPr>
        <p:spPr>
          <a:xfrm>
            <a:off x="321503" y="6496407"/>
            <a:ext cx="455756" cy="17222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chemeClr val="tx2"/>
                </a:solidFill>
                <a:latin typeface="+mn-lt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666666"/>
                </a:solidFill>
                <a:latin typeface="Arial" panose="020B0604020202020204"/>
              </a:rPr>
              <a:t>17</a:t>
            </a:r>
          </a:p>
        </p:txBody>
      </p:sp>
      <p:sp>
        <p:nvSpPr>
          <p:cNvPr id="19" name="Footer Placeholder 1">
            <a:extLst>
              <a:ext uri="{FF2B5EF4-FFF2-40B4-BE49-F238E27FC236}">
                <a16:creationId xmlns:a16="http://schemas.microsoft.com/office/drawing/2014/main" id="{9CBA4AA6-5E8D-1849-AC86-CEA08B9AE6E9}"/>
              </a:ext>
            </a:extLst>
          </p:cNvPr>
          <p:cNvSpPr txBox="1">
            <a:spLocks/>
          </p:cNvSpPr>
          <p:nvPr/>
        </p:nvSpPr>
        <p:spPr>
          <a:xfrm>
            <a:off x="763811" y="6496407"/>
            <a:ext cx="9460550" cy="17222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chemeClr val="tx2"/>
                </a:solidFill>
                <a:latin typeface="+mn-lt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666666"/>
                </a:solidFill>
                <a:latin typeface="Arial" panose="020B0604020202020204"/>
              </a:rPr>
              <a:t>Powder Coatings from PPG ©2023 PPG Industries, Inc. All rights reserved</a:t>
            </a:r>
          </a:p>
        </p:txBody>
      </p:sp>
      <p:sp>
        <p:nvSpPr>
          <p:cNvPr id="9" name="TextBox 24">
            <a:extLst>
              <a:ext uri="{FF2B5EF4-FFF2-40B4-BE49-F238E27FC236}">
                <a16:creationId xmlns:a16="http://schemas.microsoft.com/office/drawing/2014/main" id="{33C66E80-4058-40CA-9D64-757A4EA7CFD0}"/>
              </a:ext>
            </a:extLst>
          </p:cNvPr>
          <p:cNvSpPr txBox="1"/>
          <p:nvPr/>
        </p:nvSpPr>
        <p:spPr>
          <a:xfrm>
            <a:off x="338666" y="2042053"/>
            <a:ext cx="1931922" cy="540000"/>
          </a:xfrm>
          <a:prstGeom prst="rect">
            <a:avLst/>
          </a:prstGeom>
          <a:solidFill>
            <a:schemeClr val="accent2"/>
          </a:solidFill>
        </p:spPr>
        <p:txBody>
          <a:bodyPr wrap="square" bIns="72000" rtlCol="0" anchor="ctr">
            <a:no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Standard cure polyester</a:t>
            </a:r>
          </a:p>
        </p:txBody>
      </p:sp>
      <p:sp>
        <p:nvSpPr>
          <p:cNvPr id="11" name="TextBox 36">
            <a:extLst>
              <a:ext uri="{FF2B5EF4-FFF2-40B4-BE49-F238E27FC236}">
                <a16:creationId xmlns:a16="http://schemas.microsoft.com/office/drawing/2014/main" id="{07B8465C-B8FE-45BD-8F9B-7B950D002B06}"/>
              </a:ext>
            </a:extLst>
          </p:cNvPr>
          <p:cNvSpPr txBox="1"/>
          <p:nvPr/>
        </p:nvSpPr>
        <p:spPr>
          <a:xfrm>
            <a:off x="344351" y="4781035"/>
            <a:ext cx="1937765" cy="540000"/>
          </a:xfrm>
          <a:prstGeom prst="rect">
            <a:avLst/>
          </a:prstGeom>
          <a:solidFill>
            <a:schemeClr val="accent4"/>
          </a:solidFill>
        </p:spPr>
        <p:txBody>
          <a:bodyPr wrap="square" bIns="72000" rtlCol="0" anchor="ctr">
            <a:noAutofit/>
          </a:bodyPr>
          <a:lstStyle/>
          <a:p>
            <a:pPr algn="ctr"/>
            <a:r>
              <a:rPr lang="en-US" sz="1400" b="1" dirty="0" err="1">
                <a:solidFill>
                  <a:schemeClr val="bg1"/>
                </a:solidFill>
              </a:rPr>
              <a:t>EnergX</a:t>
            </a:r>
            <a:r>
              <a:rPr lang="en-US" sz="1400" b="1" dirty="0">
                <a:solidFill>
                  <a:schemeClr val="bg1"/>
                </a:solidFill>
              </a:rPr>
              <a:t> ULTRA</a:t>
            </a:r>
          </a:p>
        </p:txBody>
      </p:sp>
      <p:sp>
        <p:nvSpPr>
          <p:cNvPr id="12" name="TextBox 38">
            <a:extLst>
              <a:ext uri="{FF2B5EF4-FFF2-40B4-BE49-F238E27FC236}">
                <a16:creationId xmlns:a16="http://schemas.microsoft.com/office/drawing/2014/main" id="{EA49C5E1-9EBE-4EB0-8A52-9445A671599F}"/>
              </a:ext>
            </a:extLst>
          </p:cNvPr>
          <p:cNvSpPr txBox="1"/>
          <p:nvPr/>
        </p:nvSpPr>
        <p:spPr>
          <a:xfrm>
            <a:off x="344352" y="3201981"/>
            <a:ext cx="900000" cy="360000"/>
          </a:xfrm>
          <a:prstGeom prst="rect">
            <a:avLst/>
          </a:prstGeom>
          <a:solidFill>
            <a:schemeClr val="accent2">
              <a:lumMod val="20000"/>
              <a:lumOff val="80000"/>
              <a:alpha val="10000"/>
            </a:schemeClr>
          </a:solidFill>
          <a:ln>
            <a:solidFill>
              <a:schemeClr val="accent2"/>
            </a:solidFill>
          </a:ln>
        </p:spPr>
        <p:txBody>
          <a:bodyPr wrap="square" bIns="72000" rtlCol="0" anchor="ctr">
            <a:noAutofit/>
          </a:bodyPr>
          <a:lstStyle/>
          <a:p>
            <a:pPr algn="ctr"/>
            <a:r>
              <a:rPr lang="en-US" sz="1400" b="1" dirty="0">
                <a:solidFill>
                  <a:schemeClr val="accent2"/>
                </a:solidFill>
              </a:rPr>
              <a:t>10 min </a:t>
            </a:r>
          </a:p>
        </p:txBody>
      </p:sp>
      <p:sp>
        <p:nvSpPr>
          <p:cNvPr id="17" name="TextBox 38">
            <a:extLst>
              <a:ext uri="{FF2B5EF4-FFF2-40B4-BE49-F238E27FC236}">
                <a16:creationId xmlns:a16="http://schemas.microsoft.com/office/drawing/2014/main" id="{41DFF705-1D5C-4D53-9911-96EC6B12CE18}"/>
              </a:ext>
            </a:extLst>
          </p:cNvPr>
          <p:cNvSpPr txBox="1"/>
          <p:nvPr/>
        </p:nvSpPr>
        <p:spPr>
          <a:xfrm>
            <a:off x="1382117" y="3195073"/>
            <a:ext cx="900000" cy="360000"/>
          </a:xfrm>
          <a:prstGeom prst="rect">
            <a:avLst/>
          </a:prstGeom>
          <a:solidFill>
            <a:schemeClr val="accent2">
              <a:lumMod val="20000"/>
              <a:lumOff val="80000"/>
              <a:alpha val="10000"/>
            </a:schemeClr>
          </a:solidFill>
          <a:ln>
            <a:solidFill>
              <a:schemeClr val="accent2"/>
            </a:solidFill>
          </a:ln>
        </p:spPr>
        <p:txBody>
          <a:bodyPr wrap="square" bIns="72000" rtlCol="0" anchor="ctr">
            <a:noAutofit/>
          </a:bodyPr>
          <a:lstStyle/>
          <a:p>
            <a:pPr algn="ctr"/>
            <a:r>
              <a:rPr lang="en-US" sz="1400" b="1" dirty="0">
                <a:solidFill>
                  <a:schemeClr val="accent2"/>
                </a:solidFill>
              </a:rPr>
              <a:t>180°C</a:t>
            </a:r>
          </a:p>
        </p:txBody>
      </p:sp>
      <p:sp>
        <p:nvSpPr>
          <p:cNvPr id="26" name="TextBox 24">
            <a:extLst>
              <a:ext uri="{FF2B5EF4-FFF2-40B4-BE49-F238E27FC236}">
                <a16:creationId xmlns:a16="http://schemas.microsoft.com/office/drawing/2014/main" id="{97CF3F65-0091-499E-9AFE-BD7FA2D942E0}"/>
              </a:ext>
            </a:extLst>
          </p:cNvPr>
          <p:cNvSpPr txBox="1"/>
          <p:nvPr/>
        </p:nvSpPr>
        <p:spPr>
          <a:xfrm>
            <a:off x="350195" y="2708563"/>
            <a:ext cx="1931922" cy="360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bIns="72000" rtlCol="0" anchor="ctr">
            <a:noAutofit/>
          </a:bodyPr>
          <a:lstStyle/>
          <a:p>
            <a:pPr algn="ctr"/>
            <a:r>
              <a:rPr lang="en-US" sz="1400" dirty="0">
                <a:solidFill>
                  <a:schemeClr val="accent2"/>
                </a:solidFill>
              </a:rPr>
              <a:t>Curing Conditions</a:t>
            </a:r>
          </a:p>
        </p:txBody>
      </p:sp>
      <p:sp>
        <p:nvSpPr>
          <p:cNvPr id="27" name="TextBox 24">
            <a:extLst>
              <a:ext uri="{FF2B5EF4-FFF2-40B4-BE49-F238E27FC236}">
                <a16:creationId xmlns:a16="http://schemas.microsoft.com/office/drawing/2014/main" id="{9E97C661-EF9F-49B8-A9DF-3A7A18B5C733}"/>
              </a:ext>
            </a:extLst>
          </p:cNvPr>
          <p:cNvSpPr txBox="1"/>
          <p:nvPr/>
        </p:nvSpPr>
        <p:spPr>
          <a:xfrm>
            <a:off x="350195" y="4280400"/>
            <a:ext cx="1931921" cy="360000"/>
          </a:xfrm>
          <a:prstGeom prst="rect">
            <a:avLst/>
          </a:prstGeom>
          <a:solidFill>
            <a:srgbClr val="00B149">
              <a:alpha val="10196"/>
            </a:srgbClr>
          </a:solidFill>
        </p:spPr>
        <p:txBody>
          <a:bodyPr wrap="square" bIns="72000" rtlCol="0" anchor="ctr">
            <a:noAutofit/>
          </a:bodyPr>
          <a:lstStyle/>
          <a:p>
            <a:pPr algn="ctr"/>
            <a:r>
              <a:rPr lang="en-US" sz="1400" dirty="0">
                <a:solidFill>
                  <a:schemeClr val="accent4"/>
                </a:solidFill>
              </a:rPr>
              <a:t>Curing Conditions</a:t>
            </a:r>
          </a:p>
        </p:txBody>
      </p:sp>
      <p:sp>
        <p:nvSpPr>
          <p:cNvPr id="28" name="TextBox 38">
            <a:extLst>
              <a:ext uri="{FF2B5EF4-FFF2-40B4-BE49-F238E27FC236}">
                <a16:creationId xmlns:a16="http://schemas.microsoft.com/office/drawing/2014/main" id="{91FF8983-817C-49E4-9425-5DA705459E78}"/>
              </a:ext>
            </a:extLst>
          </p:cNvPr>
          <p:cNvSpPr txBox="1"/>
          <p:nvPr/>
        </p:nvSpPr>
        <p:spPr>
          <a:xfrm>
            <a:off x="344352" y="3779928"/>
            <a:ext cx="900000" cy="360000"/>
          </a:xfrm>
          <a:prstGeom prst="rect">
            <a:avLst/>
          </a:prstGeom>
          <a:solidFill>
            <a:schemeClr val="bg1">
              <a:alpha val="10000"/>
            </a:schemeClr>
          </a:solidFill>
          <a:ln>
            <a:solidFill>
              <a:schemeClr val="accent4"/>
            </a:solidFill>
          </a:ln>
        </p:spPr>
        <p:txBody>
          <a:bodyPr wrap="square" bIns="72000" rtlCol="0" anchor="ctr">
            <a:noAutofit/>
          </a:bodyPr>
          <a:lstStyle/>
          <a:p>
            <a:pPr algn="ctr"/>
            <a:r>
              <a:rPr lang="en-US" sz="1400" b="1" dirty="0">
                <a:solidFill>
                  <a:schemeClr val="accent4"/>
                </a:solidFill>
              </a:rPr>
              <a:t>10 min </a:t>
            </a:r>
          </a:p>
        </p:txBody>
      </p:sp>
      <p:sp>
        <p:nvSpPr>
          <p:cNvPr id="29" name="TextBox 38">
            <a:extLst>
              <a:ext uri="{FF2B5EF4-FFF2-40B4-BE49-F238E27FC236}">
                <a16:creationId xmlns:a16="http://schemas.microsoft.com/office/drawing/2014/main" id="{F3E64596-CAF1-4830-9B10-141FB2E30F53}"/>
              </a:ext>
            </a:extLst>
          </p:cNvPr>
          <p:cNvSpPr txBox="1"/>
          <p:nvPr/>
        </p:nvSpPr>
        <p:spPr>
          <a:xfrm>
            <a:off x="1373949" y="3775775"/>
            <a:ext cx="900000" cy="360000"/>
          </a:xfrm>
          <a:prstGeom prst="rect">
            <a:avLst/>
          </a:prstGeom>
          <a:solidFill>
            <a:schemeClr val="bg1">
              <a:alpha val="10000"/>
            </a:schemeClr>
          </a:solidFill>
          <a:ln>
            <a:solidFill>
              <a:schemeClr val="accent4"/>
            </a:solidFill>
          </a:ln>
        </p:spPr>
        <p:txBody>
          <a:bodyPr wrap="square" bIns="72000" rtlCol="0" anchor="ctr">
            <a:noAutofit/>
          </a:bodyPr>
          <a:lstStyle/>
          <a:p>
            <a:pPr algn="ctr"/>
            <a:r>
              <a:rPr lang="en-US" sz="1400" b="1" dirty="0">
                <a:solidFill>
                  <a:schemeClr val="accent4"/>
                </a:solidFill>
              </a:rPr>
              <a:t>160°C</a:t>
            </a:r>
          </a:p>
        </p:txBody>
      </p:sp>
      <p:sp>
        <p:nvSpPr>
          <p:cNvPr id="31" name="Content Placeholder 10">
            <a:extLst>
              <a:ext uri="{FF2B5EF4-FFF2-40B4-BE49-F238E27FC236}">
                <a16:creationId xmlns:a16="http://schemas.microsoft.com/office/drawing/2014/main" id="{FC0493E4-71FF-4ABD-A4C5-537C004AF920}"/>
              </a:ext>
            </a:extLst>
          </p:cNvPr>
          <p:cNvSpPr txBox="1">
            <a:spLocks/>
          </p:cNvSpPr>
          <p:nvPr/>
        </p:nvSpPr>
        <p:spPr>
          <a:xfrm>
            <a:off x="8491391" y="2036266"/>
            <a:ext cx="3230709" cy="279260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33293" indent="-233293" algn="l" defTabSz="457063" rtl="0" eaLnBrk="1" latinLnBrk="0" hangingPunct="1">
              <a:spcBef>
                <a:spcPts val="528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399" b="0" kern="1200">
                <a:solidFill>
                  <a:schemeClr val="tx1"/>
                </a:solidFill>
                <a:latin typeface="+mn-lt"/>
                <a:ea typeface="+mn-ea"/>
                <a:cs typeface="Arial"/>
              </a:defRPr>
            </a:lvl1pPr>
            <a:lvl2pPr marL="339623" indent="-169812" algn="l" defTabSz="457063" rtl="0" eaLnBrk="1" latinLnBrk="0" hangingPunct="1">
              <a:spcBef>
                <a:spcPts val="528"/>
              </a:spcBef>
              <a:spcAft>
                <a:spcPts val="0"/>
              </a:spcAft>
              <a:buClr>
                <a:schemeClr val="accent1"/>
              </a:buClr>
              <a:buFont typeface="Arial"/>
              <a:buChar char="•"/>
              <a:defRPr sz="2199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509435" indent="-169812" algn="l" defTabSz="457063" rtl="0" eaLnBrk="1" latinLnBrk="0" hangingPunct="1">
              <a:spcBef>
                <a:spcPts val="528"/>
              </a:spcBef>
              <a:spcAft>
                <a:spcPts val="0"/>
              </a:spcAft>
              <a:buClr>
                <a:schemeClr val="accent1"/>
              </a:buClr>
              <a:buFont typeface="Arial"/>
              <a:buChar char="•"/>
              <a:tabLst/>
              <a:defRPr sz="1999" kern="1200">
                <a:solidFill>
                  <a:schemeClr val="tx1"/>
                </a:solidFill>
                <a:latin typeface="+mn-lt"/>
                <a:ea typeface="+mn-ea"/>
                <a:cs typeface="Arial"/>
              </a:defRPr>
            </a:lvl3pPr>
            <a:lvl4pPr marL="690356" indent="-180921" algn="l" defTabSz="457063" rtl="0" eaLnBrk="1" latinLnBrk="0" hangingPunct="1">
              <a:spcBef>
                <a:spcPts val="528"/>
              </a:spcBef>
              <a:spcAft>
                <a:spcPts val="0"/>
              </a:spcAft>
              <a:buClr>
                <a:schemeClr val="accent1"/>
              </a:buClr>
              <a:buFont typeface="Arial"/>
              <a:buChar char="•"/>
              <a:tabLst/>
              <a:defRPr sz="1799" kern="1200">
                <a:solidFill>
                  <a:schemeClr val="tx1"/>
                </a:solidFill>
                <a:latin typeface="+mn-lt"/>
                <a:ea typeface="+mn-ea"/>
                <a:cs typeface="Arial"/>
              </a:defRPr>
            </a:lvl4pPr>
            <a:lvl5pPr marL="856993" indent="-166638" algn="l" defTabSz="457063" rtl="0" eaLnBrk="1" latinLnBrk="0" hangingPunct="1">
              <a:spcBef>
                <a:spcPts val="528"/>
              </a:spcBef>
              <a:spcAft>
                <a:spcPts val="0"/>
              </a:spcAft>
              <a:buClr>
                <a:schemeClr val="accent1"/>
              </a:buClr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/>
              </a:defRPr>
            </a:lvl5pPr>
            <a:lvl6pPr marL="799860" indent="-114266" algn="l" defTabSz="457063" rtl="0" eaLnBrk="1" latinLnBrk="0" hangingPunct="1">
              <a:spcBef>
                <a:spcPts val="528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5713" indent="-115853" algn="l" defTabSz="457063" rtl="0" eaLnBrk="1" latinLnBrk="0" hangingPunct="1">
              <a:spcBef>
                <a:spcPts val="528"/>
              </a:spcBef>
              <a:spcAft>
                <a:spcPts val="0"/>
              </a:spcAft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29979" indent="-114266" algn="l" defTabSz="457063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•"/>
              <a:defRPr sz="105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198203" indent="-106331" algn="l" defTabSz="457063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•"/>
              <a:defRPr sz="105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900"/>
              </a:spcAft>
            </a:pPr>
            <a:r>
              <a:rPr lang="en-US" sz="1400" dirty="0"/>
              <a:t>Lower total oven temperature</a:t>
            </a:r>
          </a:p>
          <a:p>
            <a:pPr>
              <a:spcBef>
                <a:spcPts val="0"/>
              </a:spcBef>
              <a:spcAft>
                <a:spcPts val="900"/>
              </a:spcAft>
            </a:pPr>
            <a:r>
              <a:rPr lang="en-US" sz="1400" dirty="0"/>
              <a:t>Lower gas consumption, thus </a:t>
            </a:r>
            <a:br>
              <a:rPr lang="en-US" sz="1400" dirty="0"/>
            </a:br>
            <a:r>
              <a:rPr lang="en-US" sz="1400" dirty="0"/>
              <a:t>lower energy costs</a:t>
            </a:r>
          </a:p>
          <a:p>
            <a:pPr>
              <a:spcBef>
                <a:spcPts val="0"/>
              </a:spcBef>
              <a:spcAft>
                <a:spcPts val="900"/>
              </a:spcAft>
            </a:pPr>
            <a:r>
              <a:rPr lang="en-US" sz="1400" dirty="0"/>
              <a:t>Reduced CO</a:t>
            </a:r>
            <a:r>
              <a:rPr lang="en-US" sz="1400" baseline="-25000" dirty="0"/>
              <a:t>2</a:t>
            </a:r>
            <a:r>
              <a:rPr lang="en-US" sz="1400" dirty="0"/>
              <a:t> emissions </a:t>
            </a:r>
          </a:p>
          <a:p>
            <a:pPr>
              <a:spcBef>
                <a:spcPts val="0"/>
              </a:spcBef>
              <a:spcAft>
                <a:spcPts val="900"/>
              </a:spcAft>
            </a:pPr>
            <a:r>
              <a:rPr lang="en-US" sz="1400" dirty="0"/>
              <a:t>Option to speedcure if capacity increase is needed </a:t>
            </a:r>
          </a:p>
        </p:txBody>
      </p:sp>
      <p:sp>
        <p:nvSpPr>
          <p:cNvPr id="32" name="Freeform 18">
            <a:extLst>
              <a:ext uri="{FF2B5EF4-FFF2-40B4-BE49-F238E27FC236}">
                <a16:creationId xmlns:a16="http://schemas.microsoft.com/office/drawing/2014/main" id="{66AA9191-DCEC-498B-9AE6-54E241088817}"/>
              </a:ext>
            </a:extLst>
          </p:cNvPr>
          <p:cNvSpPr/>
          <p:nvPr/>
        </p:nvSpPr>
        <p:spPr>
          <a:xfrm>
            <a:off x="8491391" y="1393197"/>
            <a:ext cx="2640137" cy="497994"/>
          </a:xfrm>
          <a:custGeom>
            <a:avLst/>
            <a:gdLst>
              <a:gd name="connsiteX0" fmla="*/ 0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0 w 2676588"/>
              <a:gd name="connsiteY4" fmla="*/ 0 h 363338"/>
              <a:gd name="connsiteX0" fmla="*/ 888545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888545 w 2676588"/>
              <a:gd name="connsiteY4" fmla="*/ 0 h 363338"/>
              <a:gd name="connsiteX0" fmla="*/ 0 w 1788043"/>
              <a:gd name="connsiteY0" fmla="*/ 0 h 363338"/>
              <a:gd name="connsiteX1" fmla="*/ 1788043 w 1788043"/>
              <a:gd name="connsiteY1" fmla="*/ 0 h 363338"/>
              <a:gd name="connsiteX2" fmla="*/ 1600319 w 1788043"/>
              <a:gd name="connsiteY2" fmla="*/ 363338 h 363338"/>
              <a:gd name="connsiteX3" fmla="*/ 0 w 1788043"/>
              <a:gd name="connsiteY3" fmla="*/ 363338 h 363338"/>
              <a:gd name="connsiteX4" fmla="*/ 0 w 1788043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138221 w 1926264"/>
              <a:gd name="connsiteY3" fmla="*/ 363338 h 363338"/>
              <a:gd name="connsiteX4" fmla="*/ 0 w 1926264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6284 w 1926264"/>
              <a:gd name="connsiteY3" fmla="*/ 363338 h 363338"/>
              <a:gd name="connsiteX4" fmla="*/ 0 w 1926264"/>
              <a:gd name="connsiteY4" fmla="*/ 0 h 363338"/>
              <a:gd name="connsiteX0" fmla="*/ 43978 w 1970242"/>
              <a:gd name="connsiteY0" fmla="*/ 0 h 363338"/>
              <a:gd name="connsiteX1" fmla="*/ 1970242 w 1970242"/>
              <a:gd name="connsiteY1" fmla="*/ 0 h 363338"/>
              <a:gd name="connsiteX2" fmla="*/ 1782518 w 1970242"/>
              <a:gd name="connsiteY2" fmla="*/ 363338 h 363338"/>
              <a:gd name="connsiteX3" fmla="*/ 0 w 1970242"/>
              <a:gd name="connsiteY3" fmla="*/ 363338 h 363338"/>
              <a:gd name="connsiteX4" fmla="*/ 43978 w 1970242"/>
              <a:gd name="connsiteY4" fmla="*/ 0 h 363338"/>
              <a:gd name="connsiteX0" fmla="*/ 0 w 1926264"/>
              <a:gd name="connsiteY0" fmla="*/ 0 h 369620"/>
              <a:gd name="connsiteX1" fmla="*/ 1926264 w 1926264"/>
              <a:gd name="connsiteY1" fmla="*/ 0 h 369620"/>
              <a:gd name="connsiteX2" fmla="*/ 1738540 w 1926264"/>
              <a:gd name="connsiteY2" fmla="*/ 363338 h 369620"/>
              <a:gd name="connsiteX3" fmla="*/ 6284 w 1926264"/>
              <a:gd name="connsiteY3" fmla="*/ 369620 h 369620"/>
              <a:gd name="connsiteX4" fmla="*/ 0 w 1926264"/>
              <a:gd name="connsiteY4" fmla="*/ 0 h 369620"/>
              <a:gd name="connsiteX0" fmla="*/ 6281 w 1932545"/>
              <a:gd name="connsiteY0" fmla="*/ 0 h 369620"/>
              <a:gd name="connsiteX1" fmla="*/ 1932545 w 1932545"/>
              <a:gd name="connsiteY1" fmla="*/ 0 h 369620"/>
              <a:gd name="connsiteX2" fmla="*/ 1744821 w 1932545"/>
              <a:gd name="connsiteY2" fmla="*/ 363338 h 369620"/>
              <a:gd name="connsiteX3" fmla="*/ 0 w 1932545"/>
              <a:gd name="connsiteY3" fmla="*/ 369620 h 369620"/>
              <a:gd name="connsiteX4" fmla="*/ 6281 w 1932545"/>
              <a:gd name="connsiteY4" fmla="*/ 0 h 369620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25132 w 1926264"/>
              <a:gd name="connsiteY3" fmla="*/ 357055 h 363338"/>
              <a:gd name="connsiteX4" fmla="*/ 0 w 1926264"/>
              <a:gd name="connsiteY4" fmla="*/ 0 h 363338"/>
              <a:gd name="connsiteX0" fmla="*/ 12564 w 1938828"/>
              <a:gd name="connsiteY0" fmla="*/ 0 h 363338"/>
              <a:gd name="connsiteX1" fmla="*/ 1938828 w 1938828"/>
              <a:gd name="connsiteY1" fmla="*/ 0 h 363338"/>
              <a:gd name="connsiteX2" fmla="*/ 1751104 w 1938828"/>
              <a:gd name="connsiteY2" fmla="*/ 363338 h 363338"/>
              <a:gd name="connsiteX3" fmla="*/ 0 w 1938828"/>
              <a:gd name="connsiteY3" fmla="*/ 363338 h 363338"/>
              <a:gd name="connsiteX4" fmla="*/ 12564 w 1938828"/>
              <a:gd name="connsiteY4" fmla="*/ 0 h 363338"/>
              <a:gd name="connsiteX0" fmla="*/ 0 w 1926264"/>
              <a:gd name="connsiteY0" fmla="*/ 0 h 369621"/>
              <a:gd name="connsiteX1" fmla="*/ 1926264 w 1926264"/>
              <a:gd name="connsiteY1" fmla="*/ 0 h 369621"/>
              <a:gd name="connsiteX2" fmla="*/ 1738540 w 1926264"/>
              <a:gd name="connsiteY2" fmla="*/ 363338 h 369621"/>
              <a:gd name="connsiteX3" fmla="*/ 6284 w 1926264"/>
              <a:gd name="connsiteY3" fmla="*/ 369621 h 369621"/>
              <a:gd name="connsiteX4" fmla="*/ 0 w 1926264"/>
              <a:gd name="connsiteY4" fmla="*/ 0 h 369621"/>
              <a:gd name="connsiteX0" fmla="*/ 43978 w 1970242"/>
              <a:gd name="connsiteY0" fmla="*/ 0 h 363339"/>
              <a:gd name="connsiteX1" fmla="*/ 1970242 w 1970242"/>
              <a:gd name="connsiteY1" fmla="*/ 0 h 363339"/>
              <a:gd name="connsiteX2" fmla="*/ 1782518 w 1970242"/>
              <a:gd name="connsiteY2" fmla="*/ 363338 h 363339"/>
              <a:gd name="connsiteX3" fmla="*/ 0 w 1970242"/>
              <a:gd name="connsiteY3" fmla="*/ 363339 h 363339"/>
              <a:gd name="connsiteX4" fmla="*/ 43978 w 1970242"/>
              <a:gd name="connsiteY4" fmla="*/ 0 h 363339"/>
              <a:gd name="connsiteX0" fmla="*/ 0 w 1926264"/>
              <a:gd name="connsiteY0" fmla="*/ 0 h 363339"/>
              <a:gd name="connsiteX1" fmla="*/ 1926264 w 1926264"/>
              <a:gd name="connsiteY1" fmla="*/ 0 h 363339"/>
              <a:gd name="connsiteX2" fmla="*/ 1738540 w 1926264"/>
              <a:gd name="connsiteY2" fmla="*/ 363338 h 363339"/>
              <a:gd name="connsiteX3" fmla="*/ 1 w 1926264"/>
              <a:gd name="connsiteY3" fmla="*/ 363339 h 363339"/>
              <a:gd name="connsiteX4" fmla="*/ 0 w 1926264"/>
              <a:gd name="connsiteY4" fmla="*/ 0 h 3633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6264" h="363339">
                <a:moveTo>
                  <a:pt x="0" y="0"/>
                </a:moveTo>
                <a:lnTo>
                  <a:pt x="1926264" y="0"/>
                </a:lnTo>
                <a:lnTo>
                  <a:pt x="1738540" y="363338"/>
                </a:lnTo>
                <a:lnTo>
                  <a:pt x="1" y="363339"/>
                </a:lnTo>
                <a:cubicBezTo>
                  <a:pt x="1" y="242226"/>
                  <a:pt x="0" y="121113"/>
                  <a:pt x="0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TextBox 10">
            <a:extLst>
              <a:ext uri="{FF2B5EF4-FFF2-40B4-BE49-F238E27FC236}">
                <a16:creationId xmlns:a16="http://schemas.microsoft.com/office/drawing/2014/main" id="{B9E61501-8441-4205-B381-575154CCF8EF}"/>
              </a:ext>
            </a:extLst>
          </p:cNvPr>
          <p:cNvSpPr txBox="1"/>
          <p:nvPr/>
        </p:nvSpPr>
        <p:spPr>
          <a:xfrm>
            <a:off x="8585972" y="1472917"/>
            <a:ext cx="19391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 dirty="0">
                <a:solidFill>
                  <a:schemeClr val="bg1"/>
                </a:solidFill>
              </a:rPr>
              <a:t>The Benefits</a:t>
            </a:r>
          </a:p>
        </p:txBody>
      </p:sp>
      <p:sp>
        <p:nvSpPr>
          <p:cNvPr id="43" name="Freeform 18">
            <a:extLst>
              <a:ext uri="{FF2B5EF4-FFF2-40B4-BE49-F238E27FC236}">
                <a16:creationId xmlns:a16="http://schemas.microsoft.com/office/drawing/2014/main" id="{F58C0ED7-161D-4EA6-A9BB-91EE6C0D02FD}"/>
              </a:ext>
            </a:extLst>
          </p:cNvPr>
          <p:cNvSpPr/>
          <p:nvPr/>
        </p:nvSpPr>
        <p:spPr>
          <a:xfrm>
            <a:off x="338667" y="1393197"/>
            <a:ext cx="2158338" cy="497994"/>
          </a:xfrm>
          <a:custGeom>
            <a:avLst/>
            <a:gdLst>
              <a:gd name="connsiteX0" fmla="*/ 0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0 w 2676588"/>
              <a:gd name="connsiteY4" fmla="*/ 0 h 363338"/>
              <a:gd name="connsiteX0" fmla="*/ 888545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888545 w 2676588"/>
              <a:gd name="connsiteY4" fmla="*/ 0 h 363338"/>
              <a:gd name="connsiteX0" fmla="*/ 0 w 1788043"/>
              <a:gd name="connsiteY0" fmla="*/ 0 h 363338"/>
              <a:gd name="connsiteX1" fmla="*/ 1788043 w 1788043"/>
              <a:gd name="connsiteY1" fmla="*/ 0 h 363338"/>
              <a:gd name="connsiteX2" fmla="*/ 1600319 w 1788043"/>
              <a:gd name="connsiteY2" fmla="*/ 363338 h 363338"/>
              <a:gd name="connsiteX3" fmla="*/ 0 w 1788043"/>
              <a:gd name="connsiteY3" fmla="*/ 363338 h 363338"/>
              <a:gd name="connsiteX4" fmla="*/ 0 w 1788043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138221 w 1926264"/>
              <a:gd name="connsiteY3" fmla="*/ 363338 h 363338"/>
              <a:gd name="connsiteX4" fmla="*/ 0 w 1926264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6284 w 1926264"/>
              <a:gd name="connsiteY3" fmla="*/ 363338 h 363338"/>
              <a:gd name="connsiteX4" fmla="*/ 0 w 1926264"/>
              <a:gd name="connsiteY4" fmla="*/ 0 h 363338"/>
              <a:gd name="connsiteX0" fmla="*/ 43978 w 1970242"/>
              <a:gd name="connsiteY0" fmla="*/ 0 h 363338"/>
              <a:gd name="connsiteX1" fmla="*/ 1970242 w 1970242"/>
              <a:gd name="connsiteY1" fmla="*/ 0 h 363338"/>
              <a:gd name="connsiteX2" fmla="*/ 1782518 w 1970242"/>
              <a:gd name="connsiteY2" fmla="*/ 363338 h 363338"/>
              <a:gd name="connsiteX3" fmla="*/ 0 w 1970242"/>
              <a:gd name="connsiteY3" fmla="*/ 363338 h 363338"/>
              <a:gd name="connsiteX4" fmla="*/ 43978 w 1970242"/>
              <a:gd name="connsiteY4" fmla="*/ 0 h 363338"/>
              <a:gd name="connsiteX0" fmla="*/ 0 w 1926264"/>
              <a:gd name="connsiteY0" fmla="*/ 0 h 369620"/>
              <a:gd name="connsiteX1" fmla="*/ 1926264 w 1926264"/>
              <a:gd name="connsiteY1" fmla="*/ 0 h 369620"/>
              <a:gd name="connsiteX2" fmla="*/ 1738540 w 1926264"/>
              <a:gd name="connsiteY2" fmla="*/ 363338 h 369620"/>
              <a:gd name="connsiteX3" fmla="*/ 6284 w 1926264"/>
              <a:gd name="connsiteY3" fmla="*/ 369620 h 369620"/>
              <a:gd name="connsiteX4" fmla="*/ 0 w 1926264"/>
              <a:gd name="connsiteY4" fmla="*/ 0 h 369620"/>
              <a:gd name="connsiteX0" fmla="*/ 6281 w 1932545"/>
              <a:gd name="connsiteY0" fmla="*/ 0 h 369620"/>
              <a:gd name="connsiteX1" fmla="*/ 1932545 w 1932545"/>
              <a:gd name="connsiteY1" fmla="*/ 0 h 369620"/>
              <a:gd name="connsiteX2" fmla="*/ 1744821 w 1932545"/>
              <a:gd name="connsiteY2" fmla="*/ 363338 h 369620"/>
              <a:gd name="connsiteX3" fmla="*/ 0 w 1932545"/>
              <a:gd name="connsiteY3" fmla="*/ 369620 h 369620"/>
              <a:gd name="connsiteX4" fmla="*/ 6281 w 1932545"/>
              <a:gd name="connsiteY4" fmla="*/ 0 h 369620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25132 w 1926264"/>
              <a:gd name="connsiteY3" fmla="*/ 357055 h 363338"/>
              <a:gd name="connsiteX4" fmla="*/ 0 w 1926264"/>
              <a:gd name="connsiteY4" fmla="*/ 0 h 363338"/>
              <a:gd name="connsiteX0" fmla="*/ 12564 w 1938828"/>
              <a:gd name="connsiteY0" fmla="*/ 0 h 363338"/>
              <a:gd name="connsiteX1" fmla="*/ 1938828 w 1938828"/>
              <a:gd name="connsiteY1" fmla="*/ 0 h 363338"/>
              <a:gd name="connsiteX2" fmla="*/ 1751104 w 1938828"/>
              <a:gd name="connsiteY2" fmla="*/ 363338 h 363338"/>
              <a:gd name="connsiteX3" fmla="*/ 0 w 1938828"/>
              <a:gd name="connsiteY3" fmla="*/ 363338 h 363338"/>
              <a:gd name="connsiteX4" fmla="*/ 12564 w 1938828"/>
              <a:gd name="connsiteY4" fmla="*/ 0 h 363338"/>
              <a:gd name="connsiteX0" fmla="*/ 0 w 1926264"/>
              <a:gd name="connsiteY0" fmla="*/ 0 h 369621"/>
              <a:gd name="connsiteX1" fmla="*/ 1926264 w 1926264"/>
              <a:gd name="connsiteY1" fmla="*/ 0 h 369621"/>
              <a:gd name="connsiteX2" fmla="*/ 1738540 w 1926264"/>
              <a:gd name="connsiteY2" fmla="*/ 363338 h 369621"/>
              <a:gd name="connsiteX3" fmla="*/ 6284 w 1926264"/>
              <a:gd name="connsiteY3" fmla="*/ 369621 h 369621"/>
              <a:gd name="connsiteX4" fmla="*/ 0 w 1926264"/>
              <a:gd name="connsiteY4" fmla="*/ 0 h 369621"/>
              <a:gd name="connsiteX0" fmla="*/ 43978 w 1970242"/>
              <a:gd name="connsiteY0" fmla="*/ 0 h 363339"/>
              <a:gd name="connsiteX1" fmla="*/ 1970242 w 1970242"/>
              <a:gd name="connsiteY1" fmla="*/ 0 h 363339"/>
              <a:gd name="connsiteX2" fmla="*/ 1782518 w 1970242"/>
              <a:gd name="connsiteY2" fmla="*/ 363338 h 363339"/>
              <a:gd name="connsiteX3" fmla="*/ 0 w 1970242"/>
              <a:gd name="connsiteY3" fmla="*/ 363339 h 363339"/>
              <a:gd name="connsiteX4" fmla="*/ 43978 w 1970242"/>
              <a:gd name="connsiteY4" fmla="*/ 0 h 363339"/>
              <a:gd name="connsiteX0" fmla="*/ 0 w 1926264"/>
              <a:gd name="connsiteY0" fmla="*/ 0 h 363339"/>
              <a:gd name="connsiteX1" fmla="*/ 1926264 w 1926264"/>
              <a:gd name="connsiteY1" fmla="*/ 0 h 363339"/>
              <a:gd name="connsiteX2" fmla="*/ 1738540 w 1926264"/>
              <a:gd name="connsiteY2" fmla="*/ 363338 h 363339"/>
              <a:gd name="connsiteX3" fmla="*/ 1 w 1926264"/>
              <a:gd name="connsiteY3" fmla="*/ 363339 h 363339"/>
              <a:gd name="connsiteX4" fmla="*/ 0 w 1926264"/>
              <a:gd name="connsiteY4" fmla="*/ 0 h 363339"/>
              <a:gd name="connsiteX0" fmla="*/ 0 w 1926264"/>
              <a:gd name="connsiteY0" fmla="*/ 0 h 363339"/>
              <a:gd name="connsiteX1" fmla="*/ 1926264 w 1926264"/>
              <a:gd name="connsiteY1" fmla="*/ 0 h 363339"/>
              <a:gd name="connsiteX2" fmla="*/ 1678394 w 1926264"/>
              <a:gd name="connsiteY2" fmla="*/ 363338 h 363339"/>
              <a:gd name="connsiteX3" fmla="*/ 1 w 1926264"/>
              <a:gd name="connsiteY3" fmla="*/ 363339 h 363339"/>
              <a:gd name="connsiteX4" fmla="*/ 0 w 1926264"/>
              <a:gd name="connsiteY4" fmla="*/ 0 h 363339"/>
              <a:gd name="connsiteX0" fmla="*/ 0 w 1926264"/>
              <a:gd name="connsiteY0" fmla="*/ 0 h 363339"/>
              <a:gd name="connsiteX1" fmla="*/ 1926264 w 1926264"/>
              <a:gd name="connsiteY1" fmla="*/ 0 h 363339"/>
              <a:gd name="connsiteX2" fmla="*/ 1702453 w 1926264"/>
              <a:gd name="connsiteY2" fmla="*/ 363338 h 363339"/>
              <a:gd name="connsiteX3" fmla="*/ 1 w 1926264"/>
              <a:gd name="connsiteY3" fmla="*/ 363339 h 363339"/>
              <a:gd name="connsiteX4" fmla="*/ 0 w 1926264"/>
              <a:gd name="connsiteY4" fmla="*/ 0 h 363339"/>
              <a:gd name="connsiteX0" fmla="*/ 0 w 1926264"/>
              <a:gd name="connsiteY0" fmla="*/ 0 h 363339"/>
              <a:gd name="connsiteX1" fmla="*/ 1926264 w 1926264"/>
              <a:gd name="connsiteY1" fmla="*/ 0 h 363339"/>
              <a:gd name="connsiteX2" fmla="*/ 1714482 w 1926264"/>
              <a:gd name="connsiteY2" fmla="*/ 354072 h 363339"/>
              <a:gd name="connsiteX3" fmla="*/ 1 w 1926264"/>
              <a:gd name="connsiteY3" fmla="*/ 363339 h 363339"/>
              <a:gd name="connsiteX4" fmla="*/ 0 w 1926264"/>
              <a:gd name="connsiteY4" fmla="*/ 0 h 363339"/>
              <a:gd name="connsiteX0" fmla="*/ 0 w 1926264"/>
              <a:gd name="connsiteY0" fmla="*/ 0 h 363339"/>
              <a:gd name="connsiteX1" fmla="*/ 1926264 w 1926264"/>
              <a:gd name="connsiteY1" fmla="*/ 0 h 363339"/>
              <a:gd name="connsiteX2" fmla="*/ 1709506 w 1926264"/>
              <a:gd name="connsiteY2" fmla="*/ 358140 h 363339"/>
              <a:gd name="connsiteX3" fmla="*/ 1 w 1926264"/>
              <a:gd name="connsiteY3" fmla="*/ 363339 h 363339"/>
              <a:gd name="connsiteX4" fmla="*/ 0 w 1926264"/>
              <a:gd name="connsiteY4" fmla="*/ 0 h 363339"/>
              <a:gd name="connsiteX0" fmla="*/ 0 w 1926264"/>
              <a:gd name="connsiteY0" fmla="*/ 0 h 363339"/>
              <a:gd name="connsiteX1" fmla="*/ 1926264 w 1926264"/>
              <a:gd name="connsiteY1" fmla="*/ 0 h 363339"/>
              <a:gd name="connsiteX2" fmla="*/ 1679650 w 1926264"/>
              <a:gd name="connsiteY2" fmla="*/ 362208 h 363339"/>
              <a:gd name="connsiteX3" fmla="*/ 1 w 1926264"/>
              <a:gd name="connsiteY3" fmla="*/ 363339 h 363339"/>
              <a:gd name="connsiteX4" fmla="*/ 0 w 1926264"/>
              <a:gd name="connsiteY4" fmla="*/ 0 h 363339"/>
              <a:gd name="connsiteX0" fmla="*/ 0 w 1926264"/>
              <a:gd name="connsiteY0" fmla="*/ 0 h 366276"/>
              <a:gd name="connsiteX1" fmla="*/ 1926264 w 1926264"/>
              <a:gd name="connsiteY1" fmla="*/ 0 h 366276"/>
              <a:gd name="connsiteX2" fmla="*/ 1709507 w 1926264"/>
              <a:gd name="connsiteY2" fmla="*/ 366276 h 366276"/>
              <a:gd name="connsiteX3" fmla="*/ 1 w 1926264"/>
              <a:gd name="connsiteY3" fmla="*/ 363339 h 366276"/>
              <a:gd name="connsiteX4" fmla="*/ 0 w 1926264"/>
              <a:gd name="connsiteY4" fmla="*/ 0 h 366276"/>
              <a:gd name="connsiteX0" fmla="*/ 0 w 1926264"/>
              <a:gd name="connsiteY0" fmla="*/ 0 h 363339"/>
              <a:gd name="connsiteX1" fmla="*/ 1926264 w 1926264"/>
              <a:gd name="connsiteY1" fmla="*/ 0 h 363339"/>
              <a:gd name="connsiteX2" fmla="*/ 1739364 w 1926264"/>
              <a:gd name="connsiteY2" fmla="*/ 362208 h 363339"/>
              <a:gd name="connsiteX3" fmla="*/ 1 w 1926264"/>
              <a:gd name="connsiteY3" fmla="*/ 363339 h 363339"/>
              <a:gd name="connsiteX4" fmla="*/ 0 w 1926264"/>
              <a:gd name="connsiteY4" fmla="*/ 0 h 3633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6264" h="363339">
                <a:moveTo>
                  <a:pt x="0" y="0"/>
                </a:moveTo>
                <a:lnTo>
                  <a:pt x="1926264" y="0"/>
                </a:lnTo>
                <a:lnTo>
                  <a:pt x="1739364" y="362208"/>
                </a:lnTo>
                <a:lnTo>
                  <a:pt x="1" y="363339"/>
                </a:lnTo>
                <a:cubicBezTo>
                  <a:pt x="1" y="242226"/>
                  <a:pt x="0" y="121113"/>
                  <a:pt x="0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Box 10">
            <a:extLst>
              <a:ext uri="{FF2B5EF4-FFF2-40B4-BE49-F238E27FC236}">
                <a16:creationId xmlns:a16="http://schemas.microsoft.com/office/drawing/2014/main" id="{628146F2-4559-4A1E-AAB1-A0127A531F7E}"/>
              </a:ext>
            </a:extLst>
          </p:cNvPr>
          <p:cNvSpPr txBox="1"/>
          <p:nvPr/>
        </p:nvSpPr>
        <p:spPr>
          <a:xfrm>
            <a:off x="385957" y="1472917"/>
            <a:ext cx="19391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 dirty="0">
                <a:solidFill>
                  <a:schemeClr val="bg1"/>
                </a:solidFill>
              </a:rPr>
              <a:t>The Systems</a:t>
            </a:r>
          </a:p>
        </p:txBody>
      </p:sp>
      <p:sp>
        <p:nvSpPr>
          <p:cNvPr id="47" name="Freeform 18">
            <a:extLst>
              <a:ext uri="{FF2B5EF4-FFF2-40B4-BE49-F238E27FC236}">
                <a16:creationId xmlns:a16="http://schemas.microsoft.com/office/drawing/2014/main" id="{E676D51B-45E2-40CB-9EE9-55EE0BA0024D}"/>
              </a:ext>
            </a:extLst>
          </p:cNvPr>
          <p:cNvSpPr/>
          <p:nvPr/>
        </p:nvSpPr>
        <p:spPr>
          <a:xfrm>
            <a:off x="2779816" y="1396114"/>
            <a:ext cx="5386284" cy="497994"/>
          </a:xfrm>
          <a:custGeom>
            <a:avLst/>
            <a:gdLst>
              <a:gd name="connsiteX0" fmla="*/ 0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0 w 2676588"/>
              <a:gd name="connsiteY4" fmla="*/ 0 h 363338"/>
              <a:gd name="connsiteX0" fmla="*/ 888545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888545 w 2676588"/>
              <a:gd name="connsiteY4" fmla="*/ 0 h 363338"/>
              <a:gd name="connsiteX0" fmla="*/ 0 w 1788043"/>
              <a:gd name="connsiteY0" fmla="*/ 0 h 363338"/>
              <a:gd name="connsiteX1" fmla="*/ 1788043 w 1788043"/>
              <a:gd name="connsiteY1" fmla="*/ 0 h 363338"/>
              <a:gd name="connsiteX2" fmla="*/ 1600319 w 1788043"/>
              <a:gd name="connsiteY2" fmla="*/ 363338 h 363338"/>
              <a:gd name="connsiteX3" fmla="*/ 0 w 1788043"/>
              <a:gd name="connsiteY3" fmla="*/ 363338 h 363338"/>
              <a:gd name="connsiteX4" fmla="*/ 0 w 1788043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138221 w 1926264"/>
              <a:gd name="connsiteY3" fmla="*/ 363338 h 363338"/>
              <a:gd name="connsiteX4" fmla="*/ 0 w 1926264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6284 w 1926264"/>
              <a:gd name="connsiteY3" fmla="*/ 363338 h 363338"/>
              <a:gd name="connsiteX4" fmla="*/ 0 w 1926264"/>
              <a:gd name="connsiteY4" fmla="*/ 0 h 363338"/>
              <a:gd name="connsiteX0" fmla="*/ 43978 w 1970242"/>
              <a:gd name="connsiteY0" fmla="*/ 0 h 363338"/>
              <a:gd name="connsiteX1" fmla="*/ 1970242 w 1970242"/>
              <a:gd name="connsiteY1" fmla="*/ 0 h 363338"/>
              <a:gd name="connsiteX2" fmla="*/ 1782518 w 1970242"/>
              <a:gd name="connsiteY2" fmla="*/ 363338 h 363338"/>
              <a:gd name="connsiteX3" fmla="*/ 0 w 1970242"/>
              <a:gd name="connsiteY3" fmla="*/ 363338 h 363338"/>
              <a:gd name="connsiteX4" fmla="*/ 43978 w 1970242"/>
              <a:gd name="connsiteY4" fmla="*/ 0 h 363338"/>
              <a:gd name="connsiteX0" fmla="*/ 0 w 1926264"/>
              <a:gd name="connsiteY0" fmla="*/ 0 h 369620"/>
              <a:gd name="connsiteX1" fmla="*/ 1926264 w 1926264"/>
              <a:gd name="connsiteY1" fmla="*/ 0 h 369620"/>
              <a:gd name="connsiteX2" fmla="*/ 1738540 w 1926264"/>
              <a:gd name="connsiteY2" fmla="*/ 363338 h 369620"/>
              <a:gd name="connsiteX3" fmla="*/ 6284 w 1926264"/>
              <a:gd name="connsiteY3" fmla="*/ 369620 h 369620"/>
              <a:gd name="connsiteX4" fmla="*/ 0 w 1926264"/>
              <a:gd name="connsiteY4" fmla="*/ 0 h 369620"/>
              <a:gd name="connsiteX0" fmla="*/ 6281 w 1932545"/>
              <a:gd name="connsiteY0" fmla="*/ 0 h 369620"/>
              <a:gd name="connsiteX1" fmla="*/ 1932545 w 1932545"/>
              <a:gd name="connsiteY1" fmla="*/ 0 h 369620"/>
              <a:gd name="connsiteX2" fmla="*/ 1744821 w 1932545"/>
              <a:gd name="connsiteY2" fmla="*/ 363338 h 369620"/>
              <a:gd name="connsiteX3" fmla="*/ 0 w 1932545"/>
              <a:gd name="connsiteY3" fmla="*/ 369620 h 369620"/>
              <a:gd name="connsiteX4" fmla="*/ 6281 w 1932545"/>
              <a:gd name="connsiteY4" fmla="*/ 0 h 369620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25132 w 1926264"/>
              <a:gd name="connsiteY3" fmla="*/ 357055 h 363338"/>
              <a:gd name="connsiteX4" fmla="*/ 0 w 1926264"/>
              <a:gd name="connsiteY4" fmla="*/ 0 h 363338"/>
              <a:gd name="connsiteX0" fmla="*/ 12564 w 1938828"/>
              <a:gd name="connsiteY0" fmla="*/ 0 h 363338"/>
              <a:gd name="connsiteX1" fmla="*/ 1938828 w 1938828"/>
              <a:gd name="connsiteY1" fmla="*/ 0 h 363338"/>
              <a:gd name="connsiteX2" fmla="*/ 1751104 w 1938828"/>
              <a:gd name="connsiteY2" fmla="*/ 363338 h 363338"/>
              <a:gd name="connsiteX3" fmla="*/ 0 w 1938828"/>
              <a:gd name="connsiteY3" fmla="*/ 363338 h 363338"/>
              <a:gd name="connsiteX4" fmla="*/ 12564 w 1938828"/>
              <a:gd name="connsiteY4" fmla="*/ 0 h 363338"/>
              <a:gd name="connsiteX0" fmla="*/ 0 w 1926264"/>
              <a:gd name="connsiteY0" fmla="*/ 0 h 369621"/>
              <a:gd name="connsiteX1" fmla="*/ 1926264 w 1926264"/>
              <a:gd name="connsiteY1" fmla="*/ 0 h 369621"/>
              <a:gd name="connsiteX2" fmla="*/ 1738540 w 1926264"/>
              <a:gd name="connsiteY2" fmla="*/ 363338 h 369621"/>
              <a:gd name="connsiteX3" fmla="*/ 6284 w 1926264"/>
              <a:gd name="connsiteY3" fmla="*/ 369621 h 369621"/>
              <a:gd name="connsiteX4" fmla="*/ 0 w 1926264"/>
              <a:gd name="connsiteY4" fmla="*/ 0 h 369621"/>
              <a:gd name="connsiteX0" fmla="*/ 43978 w 1970242"/>
              <a:gd name="connsiteY0" fmla="*/ 0 h 363339"/>
              <a:gd name="connsiteX1" fmla="*/ 1970242 w 1970242"/>
              <a:gd name="connsiteY1" fmla="*/ 0 h 363339"/>
              <a:gd name="connsiteX2" fmla="*/ 1782518 w 1970242"/>
              <a:gd name="connsiteY2" fmla="*/ 363338 h 363339"/>
              <a:gd name="connsiteX3" fmla="*/ 0 w 1970242"/>
              <a:gd name="connsiteY3" fmla="*/ 363339 h 363339"/>
              <a:gd name="connsiteX4" fmla="*/ 43978 w 1970242"/>
              <a:gd name="connsiteY4" fmla="*/ 0 h 363339"/>
              <a:gd name="connsiteX0" fmla="*/ 0 w 1926264"/>
              <a:gd name="connsiteY0" fmla="*/ 0 h 363339"/>
              <a:gd name="connsiteX1" fmla="*/ 1926264 w 1926264"/>
              <a:gd name="connsiteY1" fmla="*/ 0 h 363339"/>
              <a:gd name="connsiteX2" fmla="*/ 1738540 w 1926264"/>
              <a:gd name="connsiteY2" fmla="*/ 363338 h 363339"/>
              <a:gd name="connsiteX3" fmla="*/ 1 w 1926264"/>
              <a:gd name="connsiteY3" fmla="*/ 363339 h 363339"/>
              <a:gd name="connsiteX4" fmla="*/ 0 w 1926264"/>
              <a:gd name="connsiteY4" fmla="*/ 0 h 363339"/>
              <a:gd name="connsiteX0" fmla="*/ 0 w 1926264"/>
              <a:gd name="connsiteY0" fmla="*/ 0 h 363339"/>
              <a:gd name="connsiteX1" fmla="*/ 1926264 w 1926264"/>
              <a:gd name="connsiteY1" fmla="*/ 0 h 363339"/>
              <a:gd name="connsiteX2" fmla="*/ 1824835 w 1926264"/>
              <a:gd name="connsiteY2" fmla="*/ 363338 h 363339"/>
              <a:gd name="connsiteX3" fmla="*/ 1 w 1926264"/>
              <a:gd name="connsiteY3" fmla="*/ 363339 h 363339"/>
              <a:gd name="connsiteX4" fmla="*/ 0 w 1926264"/>
              <a:gd name="connsiteY4" fmla="*/ 0 h 363339"/>
              <a:gd name="connsiteX0" fmla="*/ 0 w 1926264"/>
              <a:gd name="connsiteY0" fmla="*/ 0 h 363339"/>
              <a:gd name="connsiteX1" fmla="*/ 1926264 w 1926264"/>
              <a:gd name="connsiteY1" fmla="*/ 0 h 363339"/>
              <a:gd name="connsiteX2" fmla="*/ 1852086 w 1926264"/>
              <a:gd name="connsiteY2" fmla="*/ 363338 h 363339"/>
              <a:gd name="connsiteX3" fmla="*/ 1 w 1926264"/>
              <a:gd name="connsiteY3" fmla="*/ 363339 h 363339"/>
              <a:gd name="connsiteX4" fmla="*/ 0 w 1926264"/>
              <a:gd name="connsiteY4" fmla="*/ 0 h 3633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6264" h="363339">
                <a:moveTo>
                  <a:pt x="0" y="0"/>
                </a:moveTo>
                <a:lnTo>
                  <a:pt x="1926264" y="0"/>
                </a:lnTo>
                <a:lnTo>
                  <a:pt x="1852086" y="363338"/>
                </a:lnTo>
                <a:lnTo>
                  <a:pt x="1" y="363339"/>
                </a:lnTo>
                <a:cubicBezTo>
                  <a:pt x="1" y="242226"/>
                  <a:pt x="0" y="121113"/>
                  <a:pt x="0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TextBox 10">
            <a:extLst>
              <a:ext uri="{FF2B5EF4-FFF2-40B4-BE49-F238E27FC236}">
                <a16:creationId xmlns:a16="http://schemas.microsoft.com/office/drawing/2014/main" id="{F5550A95-756F-4C08-B6C9-52A3FBC40A22}"/>
              </a:ext>
            </a:extLst>
          </p:cNvPr>
          <p:cNvSpPr txBox="1"/>
          <p:nvPr/>
        </p:nvSpPr>
        <p:spPr>
          <a:xfrm>
            <a:off x="2874397" y="1475834"/>
            <a:ext cx="395607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 dirty="0">
                <a:solidFill>
                  <a:schemeClr val="bg1"/>
                </a:solidFill>
              </a:rPr>
              <a:t>The Process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3C468A75-2723-467D-BEF4-B0935744CB4D}"/>
              </a:ext>
            </a:extLst>
          </p:cNvPr>
          <p:cNvSpPr/>
          <p:nvPr/>
        </p:nvSpPr>
        <p:spPr>
          <a:xfrm>
            <a:off x="2766081" y="1993911"/>
            <a:ext cx="5085530" cy="174254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400" dirty="0">
                <a:solidFill>
                  <a:schemeClr val="tx1"/>
                </a:solidFill>
              </a:rPr>
              <a:t>Due to the reduced curing condition, the overall oven temperature can be reduced without extension of the total curing time. </a:t>
            </a:r>
            <a:endParaRPr lang="en-GB" sz="1400" dirty="0">
              <a:solidFill>
                <a:schemeClr val="tx1"/>
              </a:solidFill>
            </a:endParaRPr>
          </a:p>
        </p:txBody>
      </p:sp>
      <p:sp>
        <p:nvSpPr>
          <p:cNvPr id="37" name="Title 3">
            <a:extLst>
              <a:ext uri="{FF2B5EF4-FFF2-40B4-BE49-F238E27FC236}">
                <a16:creationId xmlns:a16="http://schemas.microsoft.com/office/drawing/2014/main" id="{C2CD9385-C6F2-4A1E-9B29-152D7ED213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2884" y="323849"/>
            <a:ext cx="11670783" cy="859536"/>
          </a:xfrm>
        </p:spPr>
        <p:txBody>
          <a:bodyPr/>
          <a:lstStyle/>
          <a:p>
            <a:r>
              <a:rPr lang="en-US" dirty="0"/>
              <a:t>Become more sustainable!</a:t>
            </a:r>
            <a:br>
              <a:rPr lang="en-US" dirty="0"/>
            </a:br>
            <a:r>
              <a:rPr lang="en-US" sz="2500" dirty="0" err="1">
                <a:solidFill>
                  <a:schemeClr val="accent1"/>
                </a:solidFill>
              </a:rPr>
              <a:t>EnergX</a:t>
            </a:r>
            <a:r>
              <a:rPr lang="en-US" sz="2500" dirty="0">
                <a:solidFill>
                  <a:schemeClr val="accent1"/>
                </a:solidFill>
              </a:rPr>
              <a:t> ULTRA</a:t>
            </a:r>
            <a:r>
              <a:rPr lang="en-US" sz="2500" b="0" dirty="0">
                <a:solidFill>
                  <a:schemeClr val="accent1"/>
                </a:solidFill>
              </a:rPr>
              <a:t> low cure option – reduced curing temperature for energy savings.</a:t>
            </a:r>
            <a:endParaRPr lang="pl-PL" sz="2500" b="0" dirty="0">
              <a:solidFill>
                <a:schemeClr val="accent1"/>
              </a:solidFill>
            </a:endParaRP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06265575-8072-43FF-BF80-02DB96A7FC35}"/>
              </a:ext>
            </a:extLst>
          </p:cNvPr>
          <p:cNvSpPr/>
          <p:nvPr/>
        </p:nvSpPr>
        <p:spPr>
          <a:xfrm>
            <a:off x="4212670" y="4882772"/>
            <a:ext cx="2340000" cy="432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indent="177800" algn="ctr"/>
            <a:r>
              <a:rPr lang="en-GB" sz="1400" dirty="0"/>
              <a:t>Oven temperature</a:t>
            </a:r>
          </a:p>
        </p:txBody>
      </p:sp>
      <p:pic>
        <p:nvPicPr>
          <p:cNvPr id="53" name="Grafik 52" descr="Thermometer">
            <a:extLst>
              <a:ext uri="{FF2B5EF4-FFF2-40B4-BE49-F238E27FC236}">
                <a16:creationId xmlns:a16="http://schemas.microsoft.com/office/drawing/2014/main" id="{D3AB9620-487F-4ED4-AF89-7820F95DA111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02056" y="4942454"/>
            <a:ext cx="324000" cy="324000"/>
          </a:xfrm>
          <a:prstGeom prst="rect">
            <a:avLst/>
          </a:prstGeom>
        </p:spPr>
      </p:pic>
      <p:sp>
        <p:nvSpPr>
          <p:cNvPr id="54" name="Rechteck 53">
            <a:extLst>
              <a:ext uri="{FF2B5EF4-FFF2-40B4-BE49-F238E27FC236}">
                <a16:creationId xmlns:a16="http://schemas.microsoft.com/office/drawing/2014/main" id="{E3D5094F-A0A2-422E-A632-A02F914F2F7B}"/>
              </a:ext>
            </a:extLst>
          </p:cNvPr>
          <p:cNvSpPr/>
          <p:nvPr/>
        </p:nvSpPr>
        <p:spPr>
          <a:xfrm rot="16200000">
            <a:off x="4117851" y="3683171"/>
            <a:ext cx="1822100" cy="540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chemeClr val="tx2"/>
                </a:solidFill>
              </a:rPr>
              <a:t>standard bake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8386BF0D-B86F-463A-8C00-7EB7C01972C0}"/>
              </a:ext>
            </a:extLst>
          </p:cNvPr>
          <p:cNvSpPr/>
          <p:nvPr/>
        </p:nvSpPr>
        <p:spPr>
          <a:xfrm rot="16200000">
            <a:off x="4928288" y="3838221"/>
            <a:ext cx="1512000" cy="540000"/>
          </a:xfrm>
          <a:prstGeom prst="rect">
            <a:avLst/>
          </a:prstGeom>
          <a:solidFill>
            <a:srgbClr val="E5F7E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 err="1">
                <a:solidFill>
                  <a:schemeClr val="accent4"/>
                </a:solidFill>
              </a:rPr>
              <a:t>EnergX</a:t>
            </a:r>
            <a:r>
              <a:rPr lang="en-GB" sz="1400" dirty="0">
                <a:solidFill>
                  <a:schemeClr val="accent4"/>
                </a:solidFill>
              </a:rPr>
              <a:t> ULTRA</a:t>
            </a:r>
          </a:p>
        </p:txBody>
      </p:sp>
      <p:cxnSp>
        <p:nvCxnSpPr>
          <p:cNvPr id="15" name="Verbinder: gewinkelt 14">
            <a:extLst>
              <a:ext uri="{FF2B5EF4-FFF2-40B4-BE49-F238E27FC236}">
                <a16:creationId xmlns:a16="http://schemas.microsoft.com/office/drawing/2014/main" id="{4273D92E-CF8C-4568-80D4-082525DD1866}"/>
              </a:ext>
            </a:extLst>
          </p:cNvPr>
          <p:cNvCxnSpPr>
            <a:stCxn id="54" idx="3"/>
            <a:endCxn id="55" idx="3"/>
          </p:cNvCxnSpPr>
          <p:nvPr/>
        </p:nvCxnSpPr>
        <p:spPr>
          <a:xfrm rot="16200000" flipH="1">
            <a:off x="5201544" y="2869478"/>
            <a:ext cx="310100" cy="655387"/>
          </a:xfrm>
          <a:prstGeom prst="bentConnector3">
            <a:avLst>
              <a:gd name="adj1" fmla="val -92245"/>
            </a:avLst>
          </a:prstGeom>
          <a:ln w="12700">
            <a:solidFill>
              <a:schemeClr val="accent4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6" name="Rechteck 55">
            <a:extLst>
              <a:ext uri="{FF2B5EF4-FFF2-40B4-BE49-F238E27FC236}">
                <a16:creationId xmlns:a16="http://schemas.microsoft.com/office/drawing/2014/main" id="{392E0EFC-0625-4F17-8EFE-49DE1D6D0F3D}"/>
              </a:ext>
            </a:extLst>
          </p:cNvPr>
          <p:cNvSpPr/>
          <p:nvPr/>
        </p:nvSpPr>
        <p:spPr>
          <a:xfrm>
            <a:off x="5711657" y="2626953"/>
            <a:ext cx="612411" cy="523220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pPr algn="ctr"/>
            <a:r>
              <a:rPr lang="en-GB" sz="1400" b="1" dirty="0">
                <a:solidFill>
                  <a:schemeClr val="accent4"/>
                </a:solidFill>
              </a:rPr>
              <a:t>appr.</a:t>
            </a:r>
          </a:p>
          <a:p>
            <a:pPr algn="ctr"/>
            <a:r>
              <a:rPr lang="en-GB" sz="1400" b="1" dirty="0">
                <a:solidFill>
                  <a:schemeClr val="accent4"/>
                </a:solidFill>
              </a:rPr>
              <a:t>-10%</a:t>
            </a:r>
          </a:p>
        </p:txBody>
      </p:sp>
      <p:sp>
        <p:nvSpPr>
          <p:cNvPr id="39" name="Freeform 11">
            <a:extLst>
              <a:ext uri="{FF2B5EF4-FFF2-40B4-BE49-F238E27FC236}">
                <a16:creationId xmlns:a16="http://schemas.microsoft.com/office/drawing/2014/main" id="{52D3A0B3-7758-6849-83A7-8D8E450C12CF}"/>
              </a:ext>
            </a:extLst>
          </p:cNvPr>
          <p:cNvSpPr/>
          <p:nvPr/>
        </p:nvSpPr>
        <p:spPr>
          <a:xfrm>
            <a:off x="0" y="5607134"/>
            <a:ext cx="6643753" cy="648000"/>
          </a:xfrm>
          <a:custGeom>
            <a:avLst/>
            <a:gdLst>
              <a:gd name="connsiteX0" fmla="*/ 0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0 w 2676588"/>
              <a:gd name="connsiteY4" fmla="*/ 0 h 363338"/>
              <a:gd name="connsiteX0" fmla="*/ 888545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888545 w 2676588"/>
              <a:gd name="connsiteY4" fmla="*/ 0 h 363338"/>
              <a:gd name="connsiteX0" fmla="*/ 0 w 1788043"/>
              <a:gd name="connsiteY0" fmla="*/ 0 h 363338"/>
              <a:gd name="connsiteX1" fmla="*/ 1788043 w 1788043"/>
              <a:gd name="connsiteY1" fmla="*/ 0 h 363338"/>
              <a:gd name="connsiteX2" fmla="*/ 1600319 w 1788043"/>
              <a:gd name="connsiteY2" fmla="*/ 363338 h 363338"/>
              <a:gd name="connsiteX3" fmla="*/ 0 w 1788043"/>
              <a:gd name="connsiteY3" fmla="*/ 363338 h 363338"/>
              <a:gd name="connsiteX4" fmla="*/ 0 w 1788043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138221 w 1926264"/>
              <a:gd name="connsiteY3" fmla="*/ 363338 h 363338"/>
              <a:gd name="connsiteX4" fmla="*/ 0 w 1926264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6284 w 1926264"/>
              <a:gd name="connsiteY3" fmla="*/ 363338 h 363338"/>
              <a:gd name="connsiteX4" fmla="*/ 0 w 1926264"/>
              <a:gd name="connsiteY4" fmla="*/ 0 h 363338"/>
              <a:gd name="connsiteX0" fmla="*/ 43978 w 1970242"/>
              <a:gd name="connsiteY0" fmla="*/ 0 h 363338"/>
              <a:gd name="connsiteX1" fmla="*/ 1970242 w 1970242"/>
              <a:gd name="connsiteY1" fmla="*/ 0 h 363338"/>
              <a:gd name="connsiteX2" fmla="*/ 1782518 w 1970242"/>
              <a:gd name="connsiteY2" fmla="*/ 363338 h 363338"/>
              <a:gd name="connsiteX3" fmla="*/ 0 w 1970242"/>
              <a:gd name="connsiteY3" fmla="*/ 363338 h 363338"/>
              <a:gd name="connsiteX4" fmla="*/ 43978 w 1970242"/>
              <a:gd name="connsiteY4" fmla="*/ 0 h 363338"/>
              <a:gd name="connsiteX0" fmla="*/ 0 w 1926264"/>
              <a:gd name="connsiteY0" fmla="*/ 0 h 369620"/>
              <a:gd name="connsiteX1" fmla="*/ 1926264 w 1926264"/>
              <a:gd name="connsiteY1" fmla="*/ 0 h 369620"/>
              <a:gd name="connsiteX2" fmla="*/ 1738540 w 1926264"/>
              <a:gd name="connsiteY2" fmla="*/ 363338 h 369620"/>
              <a:gd name="connsiteX3" fmla="*/ 6284 w 1926264"/>
              <a:gd name="connsiteY3" fmla="*/ 369620 h 369620"/>
              <a:gd name="connsiteX4" fmla="*/ 0 w 1926264"/>
              <a:gd name="connsiteY4" fmla="*/ 0 h 369620"/>
              <a:gd name="connsiteX0" fmla="*/ 6281 w 1932545"/>
              <a:gd name="connsiteY0" fmla="*/ 0 h 369620"/>
              <a:gd name="connsiteX1" fmla="*/ 1932545 w 1932545"/>
              <a:gd name="connsiteY1" fmla="*/ 0 h 369620"/>
              <a:gd name="connsiteX2" fmla="*/ 1744821 w 1932545"/>
              <a:gd name="connsiteY2" fmla="*/ 363338 h 369620"/>
              <a:gd name="connsiteX3" fmla="*/ 0 w 1932545"/>
              <a:gd name="connsiteY3" fmla="*/ 369620 h 369620"/>
              <a:gd name="connsiteX4" fmla="*/ 6281 w 1932545"/>
              <a:gd name="connsiteY4" fmla="*/ 0 h 369620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25132 w 1926264"/>
              <a:gd name="connsiteY3" fmla="*/ 357055 h 363338"/>
              <a:gd name="connsiteX4" fmla="*/ 0 w 1926264"/>
              <a:gd name="connsiteY4" fmla="*/ 0 h 363338"/>
              <a:gd name="connsiteX0" fmla="*/ 12564 w 1938828"/>
              <a:gd name="connsiteY0" fmla="*/ 0 h 363338"/>
              <a:gd name="connsiteX1" fmla="*/ 1938828 w 1938828"/>
              <a:gd name="connsiteY1" fmla="*/ 0 h 363338"/>
              <a:gd name="connsiteX2" fmla="*/ 1751104 w 1938828"/>
              <a:gd name="connsiteY2" fmla="*/ 363338 h 363338"/>
              <a:gd name="connsiteX3" fmla="*/ 0 w 1938828"/>
              <a:gd name="connsiteY3" fmla="*/ 363338 h 363338"/>
              <a:gd name="connsiteX4" fmla="*/ 12564 w 1938828"/>
              <a:gd name="connsiteY4" fmla="*/ 0 h 363338"/>
              <a:gd name="connsiteX0" fmla="*/ 0 w 1926264"/>
              <a:gd name="connsiteY0" fmla="*/ 0 h 369621"/>
              <a:gd name="connsiteX1" fmla="*/ 1926264 w 1926264"/>
              <a:gd name="connsiteY1" fmla="*/ 0 h 369621"/>
              <a:gd name="connsiteX2" fmla="*/ 1738540 w 1926264"/>
              <a:gd name="connsiteY2" fmla="*/ 363338 h 369621"/>
              <a:gd name="connsiteX3" fmla="*/ 6284 w 1926264"/>
              <a:gd name="connsiteY3" fmla="*/ 369621 h 369621"/>
              <a:gd name="connsiteX4" fmla="*/ 0 w 1926264"/>
              <a:gd name="connsiteY4" fmla="*/ 0 h 369621"/>
              <a:gd name="connsiteX0" fmla="*/ 43978 w 1970242"/>
              <a:gd name="connsiteY0" fmla="*/ 0 h 363339"/>
              <a:gd name="connsiteX1" fmla="*/ 1970242 w 1970242"/>
              <a:gd name="connsiteY1" fmla="*/ 0 h 363339"/>
              <a:gd name="connsiteX2" fmla="*/ 1782518 w 1970242"/>
              <a:gd name="connsiteY2" fmla="*/ 363338 h 363339"/>
              <a:gd name="connsiteX3" fmla="*/ 0 w 1970242"/>
              <a:gd name="connsiteY3" fmla="*/ 363339 h 363339"/>
              <a:gd name="connsiteX4" fmla="*/ 43978 w 1970242"/>
              <a:gd name="connsiteY4" fmla="*/ 0 h 363339"/>
              <a:gd name="connsiteX0" fmla="*/ 0 w 1926264"/>
              <a:gd name="connsiteY0" fmla="*/ 0 h 363339"/>
              <a:gd name="connsiteX1" fmla="*/ 1926264 w 1926264"/>
              <a:gd name="connsiteY1" fmla="*/ 0 h 363339"/>
              <a:gd name="connsiteX2" fmla="*/ 1738540 w 1926264"/>
              <a:gd name="connsiteY2" fmla="*/ 363338 h 363339"/>
              <a:gd name="connsiteX3" fmla="*/ 1 w 1926264"/>
              <a:gd name="connsiteY3" fmla="*/ 363339 h 363339"/>
              <a:gd name="connsiteX4" fmla="*/ 0 w 1926264"/>
              <a:gd name="connsiteY4" fmla="*/ 0 h 363339"/>
              <a:gd name="connsiteX0" fmla="*/ 0 w 3440015"/>
              <a:gd name="connsiteY0" fmla="*/ 0 h 363339"/>
              <a:gd name="connsiteX1" fmla="*/ 3440015 w 3440015"/>
              <a:gd name="connsiteY1" fmla="*/ 0 h 363339"/>
              <a:gd name="connsiteX2" fmla="*/ 3252291 w 3440015"/>
              <a:gd name="connsiteY2" fmla="*/ 363338 h 363339"/>
              <a:gd name="connsiteX3" fmla="*/ 1513752 w 3440015"/>
              <a:gd name="connsiteY3" fmla="*/ 363339 h 363339"/>
              <a:gd name="connsiteX4" fmla="*/ 0 w 3440015"/>
              <a:gd name="connsiteY4" fmla="*/ 0 h 363339"/>
              <a:gd name="connsiteX0" fmla="*/ 0 w 3440015"/>
              <a:gd name="connsiteY0" fmla="*/ 0 h 363339"/>
              <a:gd name="connsiteX1" fmla="*/ 3440015 w 3440015"/>
              <a:gd name="connsiteY1" fmla="*/ 0 h 363339"/>
              <a:gd name="connsiteX2" fmla="*/ 3252291 w 3440015"/>
              <a:gd name="connsiteY2" fmla="*/ 363338 h 363339"/>
              <a:gd name="connsiteX3" fmla="*/ 1 w 3440015"/>
              <a:gd name="connsiteY3" fmla="*/ 363339 h 363339"/>
              <a:gd name="connsiteX4" fmla="*/ 0 w 3440015"/>
              <a:gd name="connsiteY4" fmla="*/ 0 h 363339"/>
              <a:gd name="connsiteX0" fmla="*/ 0 w 3440015"/>
              <a:gd name="connsiteY0" fmla="*/ 0 h 363339"/>
              <a:gd name="connsiteX1" fmla="*/ 3440015 w 3440015"/>
              <a:gd name="connsiteY1" fmla="*/ 0 h 363339"/>
              <a:gd name="connsiteX2" fmla="*/ 3252291 w 3440015"/>
              <a:gd name="connsiteY2" fmla="*/ 363338 h 363339"/>
              <a:gd name="connsiteX3" fmla="*/ 192223 w 3440015"/>
              <a:gd name="connsiteY3" fmla="*/ 363339 h 363339"/>
              <a:gd name="connsiteX4" fmla="*/ 0 w 3440015"/>
              <a:gd name="connsiteY4" fmla="*/ 0 h 363339"/>
              <a:gd name="connsiteX0" fmla="*/ 0 w 3247793"/>
              <a:gd name="connsiteY0" fmla="*/ 0 h 363339"/>
              <a:gd name="connsiteX1" fmla="*/ 3247793 w 3247793"/>
              <a:gd name="connsiteY1" fmla="*/ 0 h 363339"/>
              <a:gd name="connsiteX2" fmla="*/ 3060069 w 3247793"/>
              <a:gd name="connsiteY2" fmla="*/ 363338 h 363339"/>
              <a:gd name="connsiteX3" fmla="*/ 1 w 3247793"/>
              <a:gd name="connsiteY3" fmla="*/ 363339 h 363339"/>
              <a:gd name="connsiteX4" fmla="*/ 0 w 3247793"/>
              <a:gd name="connsiteY4" fmla="*/ 0 h 363339"/>
              <a:gd name="connsiteX0" fmla="*/ 0 w 3247793"/>
              <a:gd name="connsiteY0" fmla="*/ 0 h 363339"/>
              <a:gd name="connsiteX1" fmla="*/ 3247793 w 3247793"/>
              <a:gd name="connsiteY1" fmla="*/ 0 h 363339"/>
              <a:gd name="connsiteX2" fmla="*/ 3116892 w 3247793"/>
              <a:gd name="connsiteY2" fmla="*/ 363338 h 363339"/>
              <a:gd name="connsiteX3" fmla="*/ 1 w 3247793"/>
              <a:gd name="connsiteY3" fmla="*/ 363339 h 363339"/>
              <a:gd name="connsiteX4" fmla="*/ 0 w 3247793"/>
              <a:gd name="connsiteY4" fmla="*/ 0 h 3633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47793" h="363339">
                <a:moveTo>
                  <a:pt x="0" y="0"/>
                </a:moveTo>
                <a:lnTo>
                  <a:pt x="3247793" y="0"/>
                </a:lnTo>
                <a:lnTo>
                  <a:pt x="3116892" y="363338"/>
                </a:lnTo>
                <a:lnTo>
                  <a:pt x="1" y="363339"/>
                </a:lnTo>
                <a:cubicBezTo>
                  <a:pt x="1" y="242226"/>
                  <a:pt x="0" y="121113"/>
                  <a:pt x="0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Rectangle 29">
            <a:extLst>
              <a:ext uri="{FF2B5EF4-FFF2-40B4-BE49-F238E27FC236}">
                <a16:creationId xmlns:a16="http://schemas.microsoft.com/office/drawing/2014/main" id="{92F5964F-F3B9-4899-ABF8-363D4DBB9A2B}"/>
              </a:ext>
            </a:extLst>
          </p:cNvPr>
          <p:cNvSpPr/>
          <p:nvPr/>
        </p:nvSpPr>
        <p:spPr>
          <a:xfrm>
            <a:off x="289424" y="5761742"/>
            <a:ext cx="6643753" cy="369332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>
              <a:defRPr/>
            </a:pPr>
            <a:r>
              <a:rPr lang="en-US" b="1" dirty="0">
                <a:solidFill>
                  <a:prstClr val="white"/>
                </a:solidFill>
              </a:rPr>
              <a:t>Oven temperature reduction of appr. 10% possible. </a:t>
            </a:r>
          </a:p>
        </p:txBody>
      </p:sp>
    </p:spTree>
    <p:extLst>
      <p:ext uri="{BB962C8B-B14F-4D97-AF65-F5344CB8AC3E}">
        <p14:creationId xmlns:p14="http://schemas.microsoft.com/office/powerpoint/2010/main" val="402567690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hteck 39">
            <a:extLst>
              <a:ext uri="{FF2B5EF4-FFF2-40B4-BE49-F238E27FC236}">
                <a16:creationId xmlns:a16="http://schemas.microsoft.com/office/drawing/2014/main" id="{EB27DE0A-B15E-4FEB-ACB5-124FFCD80495}"/>
              </a:ext>
            </a:extLst>
          </p:cNvPr>
          <p:cNvSpPr/>
          <p:nvPr/>
        </p:nvSpPr>
        <p:spPr>
          <a:xfrm>
            <a:off x="766216" y="1260132"/>
            <a:ext cx="1504373" cy="13823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Title 3">
            <a:extLst>
              <a:ext uri="{FF2B5EF4-FFF2-40B4-BE49-F238E27FC236}">
                <a16:creationId xmlns:a16="http://schemas.microsoft.com/office/drawing/2014/main" id="{703D39C9-9B85-4F87-8271-E3F961C6AA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2884" y="323849"/>
            <a:ext cx="11670783" cy="859536"/>
          </a:xfrm>
        </p:spPr>
        <p:txBody>
          <a:bodyPr/>
          <a:lstStyle/>
          <a:p>
            <a:r>
              <a:rPr lang="en-US" dirty="0"/>
              <a:t>Become more sustainable!</a:t>
            </a:r>
            <a:br>
              <a:rPr lang="en-US" dirty="0"/>
            </a:br>
            <a:r>
              <a:rPr lang="en-US" sz="2500" dirty="0" err="1">
                <a:solidFill>
                  <a:schemeClr val="accent1"/>
                </a:solidFill>
              </a:rPr>
              <a:t>EnergX</a:t>
            </a:r>
            <a:r>
              <a:rPr lang="en-US" sz="2500" dirty="0">
                <a:solidFill>
                  <a:schemeClr val="accent1"/>
                </a:solidFill>
              </a:rPr>
              <a:t> ULTRA</a:t>
            </a:r>
            <a:r>
              <a:rPr lang="en-US" sz="2500" b="0" dirty="0">
                <a:solidFill>
                  <a:schemeClr val="accent1"/>
                </a:solidFill>
              </a:rPr>
              <a:t> low cure option – a case study</a:t>
            </a:r>
            <a:endParaRPr lang="pl-PL" sz="2500" b="0" dirty="0">
              <a:solidFill>
                <a:schemeClr val="accent1"/>
              </a:solidFill>
            </a:endParaRP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295A37D5-7853-4540-BDCE-52C84D24E104}"/>
              </a:ext>
            </a:extLst>
          </p:cNvPr>
          <p:cNvSpPr txBox="1">
            <a:spLocks/>
          </p:cNvSpPr>
          <p:nvPr/>
        </p:nvSpPr>
        <p:spPr>
          <a:xfrm>
            <a:off x="321503" y="6496407"/>
            <a:ext cx="455756" cy="17222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chemeClr val="tx2"/>
                </a:solidFill>
                <a:latin typeface="+mn-lt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666666"/>
                </a:solidFill>
                <a:latin typeface="Arial" panose="020B0604020202020204"/>
              </a:rPr>
              <a:t>17</a:t>
            </a:r>
          </a:p>
        </p:txBody>
      </p:sp>
      <p:sp>
        <p:nvSpPr>
          <p:cNvPr id="19" name="Footer Placeholder 1">
            <a:extLst>
              <a:ext uri="{FF2B5EF4-FFF2-40B4-BE49-F238E27FC236}">
                <a16:creationId xmlns:a16="http://schemas.microsoft.com/office/drawing/2014/main" id="{9CBA4AA6-5E8D-1849-AC86-CEA08B9AE6E9}"/>
              </a:ext>
            </a:extLst>
          </p:cNvPr>
          <p:cNvSpPr txBox="1">
            <a:spLocks/>
          </p:cNvSpPr>
          <p:nvPr/>
        </p:nvSpPr>
        <p:spPr>
          <a:xfrm>
            <a:off x="763811" y="6496407"/>
            <a:ext cx="9460550" cy="17222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chemeClr val="tx2"/>
                </a:solidFill>
                <a:latin typeface="+mn-lt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666666"/>
                </a:solidFill>
                <a:latin typeface="Arial" panose="020B0604020202020204"/>
              </a:rPr>
              <a:t>Powder Coatings from PPG ©2023 PPG Industries, Inc. All rights reserved</a:t>
            </a:r>
          </a:p>
        </p:txBody>
      </p:sp>
      <p:sp>
        <p:nvSpPr>
          <p:cNvPr id="8" name="Freeform 22">
            <a:extLst>
              <a:ext uri="{FF2B5EF4-FFF2-40B4-BE49-F238E27FC236}">
                <a16:creationId xmlns:a16="http://schemas.microsoft.com/office/drawing/2014/main" id="{6335FE08-1085-4DFF-9DE6-F8565C36918B}"/>
              </a:ext>
            </a:extLst>
          </p:cNvPr>
          <p:cNvSpPr/>
          <p:nvPr/>
        </p:nvSpPr>
        <p:spPr>
          <a:xfrm rot="10800000">
            <a:off x="1559700" y="1456024"/>
            <a:ext cx="4197036" cy="1046930"/>
          </a:xfrm>
          <a:custGeom>
            <a:avLst/>
            <a:gdLst>
              <a:gd name="connsiteX0" fmla="*/ 0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0 w 2676588"/>
              <a:gd name="connsiteY4" fmla="*/ 0 h 363338"/>
              <a:gd name="connsiteX0" fmla="*/ 888545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888545 w 2676588"/>
              <a:gd name="connsiteY4" fmla="*/ 0 h 363338"/>
              <a:gd name="connsiteX0" fmla="*/ 0 w 1788043"/>
              <a:gd name="connsiteY0" fmla="*/ 0 h 363338"/>
              <a:gd name="connsiteX1" fmla="*/ 1788043 w 1788043"/>
              <a:gd name="connsiteY1" fmla="*/ 0 h 363338"/>
              <a:gd name="connsiteX2" fmla="*/ 1600319 w 1788043"/>
              <a:gd name="connsiteY2" fmla="*/ 363338 h 363338"/>
              <a:gd name="connsiteX3" fmla="*/ 0 w 1788043"/>
              <a:gd name="connsiteY3" fmla="*/ 363338 h 363338"/>
              <a:gd name="connsiteX4" fmla="*/ 0 w 1788043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138221 w 1926264"/>
              <a:gd name="connsiteY3" fmla="*/ 363338 h 363338"/>
              <a:gd name="connsiteX4" fmla="*/ 0 w 1926264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6284 w 1926264"/>
              <a:gd name="connsiteY3" fmla="*/ 363338 h 363338"/>
              <a:gd name="connsiteX4" fmla="*/ 0 w 1926264"/>
              <a:gd name="connsiteY4" fmla="*/ 0 h 363338"/>
              <a:gd name="connsiteX0" fmla="*/ 43978 w 1970242"/>
              <a:gd name="connsiteY0" fmla="*/ 0 h 363338"/>
              <a:gd name="connsiteX1" fmla="*/ 1970242 w 1970242"/>
              <a:gd name="connsiteY1" fmla="*/ 0 h 363338"/>
              <a:gd name="connsiteX2" fmla="*/ 1782518 w 1970242"/>
              <a:gd name="connsiteY2" fmla="*/ 363338 h 363338"/>
              <a:gd name="connsiteX3" fmla="*/ 0 w 1970242"/>
              <a:gd name="connsiteY3" fmla="*/ 363338 h 363338"/>
              <a:gd name="connsiteX4" fmla="*/ 43978 w 1970242"/>
              <a:gd name="connsiteY4" fmla="*/ 0 h 363338"/>
              <a:gd name="connsiteX0" fmla="*/ 0 w 1926264"/>
              <a:gd name="connsiteY0" fmla="*/ 0 h 369620"/>
              <a:gd name="connsiteX1" fmla="*/ 1926264 w 1926264"/>
              <a:gd name="connsiteY1" fmla="*/ 0 h 369620"/>
              <a:gd name="connsiteX2" fmla="*/ 1738540 w 1926264"/>
              <a:gd name="connsiteY2" fmla="*/ 363338 h 369620"/>
              <a:gd name="connsiteX3" fmla="*/ 6284 w 1926264"/>
              <a:gd name="connsiteY3" fmla="*/ 369620 h 369620"/>
              <a:gd name="connsiteX4" fmla="*/ 0 w 1926264"/>
              <a:gd name="connsiteY4" fmla="*/ 0 h 369620"/>
              <a:gd name="connsiteX0" fmla="*/ 6281 w 1932545"/>
              <a:gd name="connsiteY0" fmla="*/ 0 h 369620"/>
              <a:gd name="connsiteX1" fmla="*/ 1932545 w 1932545"/>
              <a:gd name="connsiteY1" fmla="*/ 0 h 369620"/>
              <a:gd name="connsiteX2" fmla="*/ 1744821 w 1932545"/>
              <a:gd name="connsiteY2" fmla="*/ 363338 h 369620"/>
              <a:gd name="connsiteX3" fmla="*/ 0 w 1932545"/>
              <a:gd name="connsiteY3" fmla="*/ 369620 h 369620"/>
              <a:gd name="connsiteX4" fmla="*/ 6281 w 1932545"/>
              <a:gd name="connsiteY4" fmla="*/ 0 h 369620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25132 w 1926264"/>
              <a:gd name="connsiteY3" fmla="*/ 357055 h 363338"/>
              <a:gd name="connsiteX4" fmla="*/ 0 w 1926264"/>
              <a:gd name="connsiteY4" fmla="*/ 0 h 363338"/>
              <a:gd name="connsiteX0" fmla="*/ 12564 w 1938828"/>
              <a:gd name="connsiteY0" fmla="*/ 0 h 363338"/>
              <a:gd name="connsiteX1" fmla="*/ 1938828 w 1938828"/>
              <a:gd name="connsiteY1" fmla="*/ 0 h 363338"/>
              <a:gd name="connsiteX2" fmla="*/ 1751104 w 1938828"/>
              <a:gd name="connsiteY2" fmla="*/ 363338 h 363338"/>
              <a:gd name="connsiteX3" fmla="*/ 0 w 1938828"/>
              <a:gd name="connsiteY3" fmla="*/ 363338 h 363338"/>
              <a:gd name="connsiteX4" fmla="*/ 12564 w 1938828"/>
              <a:gd name="connsiteY4" fmla="*/ 0 h 363338"/>
              <a:gd name="connsiteX0" fmla="*/ 0 w 1926264"/>
              <a:gd name="connsiteY0" fmla="*/ 0 h 369621"/>
              <a:gd name="connsiteX1" fmla="*/ 1926264 w 1926264"/>
              <a:gd name="connsiteY1" fmla="*/ 0 h 369621"/>
              <a:gd name="connsiteX2" fmla="*/ 1738540 w 1926264"/>
              <a:gd name="connsiteY2" fmla="*/ 363338 h 369621"/>
              <a:gd name="connsiteX3" fmla="*/ 6284 w 1926264"/>
              <a:gd name="connsiteY3" fmla="*/ 369621 h 369621"/>
              <a:gd name="connsiteX4" fmla="*/ 0 w 1926264"/>
              <a:gd name="connsiteY4" fmla="*/ 0 h 369621"/>
              <a:gd name="connsiteX0" fmla="*/ 43978 w 1970242"/>
              <a:gd name="connsiteY0" fmla="*/ 0 h 363339"/>
              <a:gd name="connsiteX1" fmla="*/ 1970242 w 1970242"/>
              <a:gd name="connsiteY1" fmla="*/ 0 h 363339"/>
              <a:gd name="connsiteX2" fmla="*/ 1782518 w 1970242"/>
              <a:gd name="connsiteY2" fmla="*/ 363338 h 363339"/>
              <a:gd name="connsiteX3" fmla="*/ 0 w 1970242"/>
              <a:gd name="connsiteY3" fmla="*/ 363339 h 363339"/>
              <a:gd name="connsiteX4" fmla="*/ 43978 w 1970242"/>
              <a:gd name="connsiteY4" fmla="*/ 0 h 363339"/>
              <a:gd name="connsiteX0" fmla="*/ 0 w 1926264"/>
              <a:gd name="connsiteY0" fmla="*/ 0 h 363339"/>
              <a:gd name="connsiteX1" fmla="*/ 1926264 w 1926264"/>
              <a:gd name="connsiteY1" fmla="*/ 0 h 363339"/>
              <a:gd name="connsiteX2" fmla="*/ 1738540 w 1926264"/>
              <a:gd name="connsiteY2" fmla="*/ 363338 h 363339"/>
              <a:gd name="connsiteX3" fmla="*/ 1 w 1926264"/>
              <a:gd name="connsiteY3" fmla="*/ 363339 h 363339"/>
              <a:gd name="connsiteX4" fmla="*/ 0 w 1926264"/>
              <a:gd name="connsiteY4" fmla="*/ 0 h 363339"/>
              <a:gd name="connsiteX0" fmla="*/ 469670 w 1926263"/>
              <a:gd name="connsiteY0" fmla="*/ 0 h 363339"/>
              <a:gd name="connsiteX1" fmla="*/ 1926263 w 1926263"/>
              <a:gd name="connsiteY1" fmla="*/ 0 h 363339"/>
              <a:gd name="connsiteX2" fmla="*/ 1738539 w 1926263"/>
              <a:gd name="connsiteY2" fmla="*/ 363338 h 363339"/>
              <a:gd name="connsiteX3" fmla="*/ 0 w 1926263"/>
              <a:gd name="connsiteY3" fmla="*/ 363339 h 363339"/>
              <a:gd name="connsiteX4" fmla="*/ 469670 w 1926263"/>
              <a:gd name="connsiteY4" fmla="*/ 0 h 363339"/>
              <a:gd name="connsiteX0" fmla="*/ 0 w 1456593"/>
              <a:gd name="connsiteY0" fmla="*/ 0 h 363339"/>
              <a:gd name="connsiteX1" fmla="*/ 1456593 w 1456593"/>
              <a:gd name="connsiteY1" fmla="*/ 0 h 363339"/>
              <a:gd name="connsiteX2" fmla="*/ 1268869 w 1456593"/>
              <a:gd name="connsiteY2" fmla="*/ 363338 h 363339"/>
              <a:gd name="connsiteX3" fmla="*/ 1 w 1456593"/>
              <a:gd name="connsiteY3" fmla="*/ 363339 h 363339"/>
              <a:gd name="connsiteX4" fmla="*/ 0 w 1456593"/>
              <a:gd name="connsiteY4" fmla="*/ 0 h 3633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56593" h="363339">
                <a:moveTo>
                  <a:pt x="0" y="0"/>
                </a:moveTo>
                <a:lnTo>
                  <a:pt x="1456593" y="0"/>
                </a:lnTo>
                <a:lnTo>
                  <a:pt x="1268869" y="363338"/>
                </a:lnTo>
                <a:lnTo>
                  <a:pt x="1" y="363339"/>
                </a:lnTo>
                <a:cubicBezTo>
                  <a:pt x="1" y="242226"/>
                  <a:pt x="0" y="121113"/>
                  <a:pt x="0" y="0"/>
                </a:cubicBezTo>
                <a:close/>
              </a:path>
            </a:pathLst>
          </a:custGeom>
          <a:solidFill>
            <a:schemeClr val="accent2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Freeform 20">
            <a:extLst>
              <a:ext uri="{FF2B5EF4-FFF2-40B4-BE49-F238E27FC236}">
                <a16:creationId xmlns:a16="http://schemas.microsoft.com/office/drawing/2014/main" id="{5440B1DC-FA7C-47AF-973B-C769193D44C1}"/>
              </a:ext>
            </a:extLst>
          </p:cNvPr>
          <p:cNvSpPr/>
          <p:nvPr/>
        </p:nvSpPr>
        <p:spPr>
          <a:xfrm>
            <a:off x="303808" y="1456024"/>
            <a:ext cx="4197036" cy="1046930"/>
          </a:xfrm>
          <a:custGeom>
            <a:avLst/>
            <a:gdLst>
              <a:gd name="connsiteX0" fmla="*/ 0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0 w 2676588"/>
              <a:gd name="connsiteY4" fmla="*/ 0 h 363338"/>
              <a:gd name="connsiteX0" fmla="*/ 888545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888545 w 2676588"/>
              <a:gd name="connsiteY4" fmla="*/ 0 h 363338"/>
              <a:gd name="connsiteX0" fmla="*/ 0 w 1788043"/>
              <a:gd name="connsiteY0" fmla="*/ 0 h 363338"/>
              <a:gd name="connsiteX1" fmla="*/ 1788043 w 1788043"/>
              <a:gd name="connsiteY1" fmla="*/ 0 h 363338"/>
              <a:gd name="connsiteX2" fmla="*/ 1600319 w 1788043"/>
              <a:gd name="connsiteY2" fmla="*/ 363338 h 363338"/>
              <a:gd name="connsiteX3" fmla="*/ 0 w 1788043"/>
              <a:gd name="connsiteY3" fmla="*/ 363338 h 363338"/>
              <a:gd name="connsiteX4" fmla="*/ 0 w 1788043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138221 w 1926264"/>
              <a:gd name="connsiteY3" fmla="*/ 363338 h 363338"/>
              <a:gd name="connsiteX4" fmla="*/ 0 w 1926264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6284 w 1926264"/>
              <a:gd name="connsiteY3" fmla="*/ 363338 h 363338"/>
              <a:gd name="connsiteX4" fmla="*/ 0 w 1926264"/>
              <a:gd name="connsiteY4" fmla="*/ 0 h 363338"/>
              <a:gd name="connsiteX0" fmla="*/ 43978 w 1970242"/>
              <a:gd name="connsiteY0" fmla="*/ 0 h 363338"/>
              <a:gd name="connsiteX1" fmla="*/ 1970242 w 1970242"/>
              <a:gd name="connsiteY1" fmla="*/ 0 h 363338"/>
              <a:gd name="connsiteX2" fmla="*/ 1782518 w 1970242"/>
              <a:gd name="connsiteY2" fmla="*/ 363338 h 363338"/>
              <a:gd name="connsiteX3" fmla="*/ 0 w 1970242"/>
              <a:gd name="connsiteY3" fmla="*/ 363338 h 363338"/>
              <a:gd name="connsiteX4" fmla="*/ 43978 w 1970242"/>
              <a:gd name="connsiteY4" fmla="*/ 0 h 363338"/>
              <a:gd name="connsiteX0" fmla="*/ 0 w 1926264"/>
              <a:gd name="connsiteY0" fmla="*/ 0 h 369620"/>
              <a:gd name="connsiteX1" fmla="*/ 1926264 w 1926264"/>
              <a:gd name="connsiteY1" fmla="*/ 0 h 369620"/>
              <a:gd name="connsiteX2" fmla="*/ 1738540 w 1926264"/>
              <a:gd name="connsiteY2" fmla="*/ 363338 h 369620"/>
              <a:gd name="connsiteX3" fmla="*/ 6284 w 1926264"/>
              <a:gd name="connsiteY3" fmla="*/ 369620 h 369620"/>
              <a:gd name="connsiteX4" fmla="*/ 0 w 1926264"/>
              <a:gd name="connsiteY4" fmla="*/ 0 h 369620"/>
              <a:gd name="connsiteX0" fmla="*/ 6281 w 1932545"/>
              <a:gd name="connsiteY0" fmla="*/ 0 h 369620"/>
              <a:gd name="connsiteX1" fmla="*/ 1932545 w 1932545"/>
              <a:gd name="connsiteY1" fmla="*/ 0 h 369620"/>
              <a:gd name="connsiteX2" fmla="*/ 1744821 w 1932545"/>
              <a:gd name="connsiteY2" fmla="*/ 363338 h 369620"/>
              <a:gd name="connsiteX3" fmla="*/ 0 w 1932545"/>
              <a:gd name="connsiteY3" fmla="*/ 369620 h 369620"/>
              <a:gd name="connsiteX4" fmla="*/ 6281 w 1932545"/>
              <a:gd name="connsiteY4" fmla="*/ 0 h 369620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25132 w 1926264"/>
              <a:gd name="connsiteY3" fmla="*/ 357055 h 363338"/>
              <a:gd name="connsiteX4" fmla="*/ 0 w 1926264"/>
              <a:gd name="connsiteY4" fmla="*/ 0 h 363338"/>
              <a:gd name="connsiteX0" fmla="*/ 12564 w 1938828"/>
              <a:gd name="connsiteY0" fmla="*/ 0 h 363338"/>
              <a:gd name="connsiteX1" fmla="*/ 1938828 w 1938828"/>
              <a:gd name="connsiteY1" fmla="*/ 0 h 363338"/>
              <a:gd name="connsiteX2" fmla="*/ 1751104 w 1938828"/>
              <a:gd name="connsiteY2" fmla="*/ 363338 h 363338"/>
              <a:gd name="connsiteX3" fmla="*/ 0 w 1938828"/>
              <a:gd name="connsiteY3" fmla="*/ 363338 h 363338"/>
              <a:gd name="connsiteX4" fmla="*/ 12564 w 1938828"/>
              <a:gd name="connsiteY4" fmla="*/ 0 h 363338"/>
              <a:gd name="connsiteX0" fmla="*/ 0 w 1926264"/>
              <a:gd name="connsiteY0" fmla="*/ 0 h 369621"/>
              <a:gd name="connsiteX1" fmla="*/ 1926264 w 1926264"/>
              <a:gd name="connsiteY1" fmla="*/ 0 h 369621"/>
              <a:gd name="connsiteX2" fmla="*/ 1738540 w 1926264"/>
              <a:gd name="connsiteY2" fmla="*/ 363338 h 369621"/>
              <a:gd name="connsiteX3" fmla="*/ 6284 w 1926264"/>
              <a:gd name="connsiteY3" fmla="*/ 369621 h 369621"/>
              <a:gd name="connsiteX4" fmla="*/ 0 w 1926264"/>
              <a:gd name="connsiteY4" fmla="*/ 0 h 369621"/>
              <a:gd name="connsiteX0" fmla="*/ 43978 w 1970242"/>
              <a:gd name="connsiteY0" fmla="*/ 0 h 363339"/>
              <a:gd name="connsiteX1" fmla="*/ 1970242 w 1970242"/>
              <a:gd name="connsiteY1" fmla="*/ 0 h 363339"/>
              <a:gd name="connsiteX2" fmla="*/ 1782518 w 1970242"/>
              <a:gd name="connsiteY2" fmla="*/ 363338 h 363339"/>
              <a:gd name="connsiteX3" fmla="*/ 0 w 1970242"/>
              <a:gd name="connsiteY3" fmla="*/ 363339 h 363339"/>
              <a:gd name="connsiteX4" fmla="*/ 43978 w 1970242"/>
              <a:gd name="connsiteY4" fmla="*/ 0 h 363339"/>
              <a:gd name="connsiteX0" fmla="*/ 0 w 1926264"/>
              <a:gd name="connsiteY0" fmla="*/ 0 h 363339"/>
              <a:gd name="connsiteX1" fmla="*/ 1926264 w 1926264"/>
              <a:gd name="connsiteY1" fmla="*/ 0 h 363339"/>
              <a:gd name="connsiteX2" fmla="*/ 1738540 w 1926264"/>
              <a:gd name="connsiteY2" fmla="*/ 363338 h 363339"/>
              <a:gd name="connsiteX3" fmla="*/ 1 w 1926264"/>
              <a:gd name="connsiteY3" fmla="*/ 363339 h 363339"/>
              <a:gd name="connsiteX4" fmla="*/ 0 w 1926264"/>
              <a:gd name="connsiteY4" fmla="*/ 0 h 363339"/>
              <a:gd name="connsiteX0" fmla="*/ 469670 w 1926263"/>
              <a:gd name="connsiteY0" fmla="*/ 0 h 363339"/>
              <a:gd name="connsiteX1" fmla="*/ 1926263 w 1926263"/>
              <a:gd name="connsiteY1" fmla="*/ 0 h 363339"/>
              <a:gd name="connsiteX2" fmla="*/ 1738539 w 1926263"/>
              <a:gd name="connsiteY2" fmla="*/ 363338 h 363339"/>
              <a:gd name="connsiteX3" fmla="*/ 0 w 1926263"/>
              <a:gd name="connsiteY3" fmla="*/ 363339 h 363339"/>
              <a:gd name="connsiteX4" fmla="*/ 469670 w 1926263"/>
              <a:gd name="connsiteY4" fmla="*/ 0 h 363339"/>
              <a:gd name="connsiteX0" fmla="*/ 0 w 1456593"/>
              <a:gd name="connsiteY0" fmla="*/ 0 h 363339"/>
              <a:gd name="connsiteX1" fmla="*/ 1456593 w 1456593"/>
              <a:gd name="connsiteY1" fmla="*/ 0 h 363339"/>
              <a:gd name="connsiteX2" fmla="*/ 1268869 w 1456593"/>
              <a:gd name="connsiteY2" fmla="*/ 363338 h 363339"/>
              <a:gd name="connsiteX3" fmla="*/ 1 w 1456593"/>
              <a:gd name="connsiteY3" fmla="*/ 363339 h 363339"/>
              <a:gd name="connsiteX4" fmla="*/ 0 w 1456593"/>
              <a:gd name="connsiteY4" fmla="*/ 0 h 3633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56593" h="363339">
                <a:moveTo>
                  <a:pt x="0" y="0"/>
                </a:moveTo>
                <a:lnTo>
                  <a:pt x="1456593" y="0"/>
                </a:lnTo>
                <a:lnTo>
                  <a:pt x="1268869" y="363338"/>
                </a:lnTo>
                <a:lnTo>
                  <a:pt x="1" y="363339"/>
                </a:lnTo>
                <a:cubicBezTo>
                  <a:pt x="1" y="242226"/>
                  <a:pt x="0" y="121113"/>
                  <a:pt x="0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B5DC9AF8-ED05-4693-8828-70B34C873635}"/>
              </a:ext>
            </a:extLst>
          </p:cNvPr>
          <p:cNvSpPr/>
          <p:nvPr/>
        </p:nvSpPr>
        <p:spPr>
          <a:xfrm>
            <a:off x="312884" y="2720552"/>
            <a:ext cx="5443852" cy="3384973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180975" lvl="0" indent="-180975">
              <a:spcAft>
                <a:spcPts val="9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prstClr val="black"/>
                </a:solidFill>
              </a:rPr>
              <a:t>Agricultural and construction machinery segment</a:t>
            </a:r>
          </a:p>
          <a:p>
            <a:pPr marL="180975" lvl="0" indent="-180975">
              <a:spcAft>
                <a:spcPts val="9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prstClr val="black"/>
                </a:solidFill>
              </a:rPr>
              <a:t>Ultradurable standard bake </a:t>
            </a:r>
            <a:r>
              <a:rPr lang="en-US" sz="1600" dirty="0">
                <a:solidFill>
                  <a:prstClr val="black"/>
                </a:solidFill>
              </a:rPr>
              <a:t>polyester powder topcoat as existing system</a:t>
            </a:r>
          </a:p>
          <a:p>
            <a:pPr lvl="0">
              <a:spcAft>
                <a:spcPts val="900"/>
              </a:spcAft>
              <a:buClr>
                <a:schemeClr val="accent6"/>
              </a:buClr>
            </a:pPr>
            <a:r>
              <a:rPr lang="en-US" sz="1600" b="1" dirty="0">
                <a:solidFill>
                  <a:schemeClr val="accent2"/>
                </a:solidFill>
              </a:rPr>
              <a:t>Situation</a:t>
            </a:r>
          </a:p>
          <a:p>
            <a:pPr marL="177800" lvl="0" indent="-177800">
              <a:spcAft>
                <a:spcPts val="9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1600" b="1" dirty="0"/>
              <a:t>Increasing energy costs </a:t>
            </a:r>
            <a:r>
              <a:rPr lang="en-US" sz="1600" dirty="0"/>
              <a:t>making the coating line very expensive</a:t>
            </a:r>
          </a:p>
          <a:p>
            <a:pPr marL="177800" lvl="0" indent="-177800">
              <a:spcAft>
                <a:spcPts val="9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1600" dirty="0"/>
              <a:t>Existing low bake systems are not in ultradurable quality</a:t>
            </a:r>
          </a:p>
          <a:p>
            <a:pPr marL="177800" lvl="0" indent="-177800">
              <a:spcAft>
                <a:spcPts val="9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1600" dirty="0"/>
              <a:t>No capacity issues</a:t>
            </a:r>
          </a:p>
          <a:p>
            <a:pPr lvl="0">
              <a:spcAft>
                <a:spcPts val="900"/>
              </a:spcAft>
              <a:buClr>
                <a:schemeClr val="accent6"/>
              </a:buClr>
            </a:pPr>
            <a:endParaRPr lang="en-US" sz="1600" dirty="0"/>
          </a:p>
        </p:txBody>
      </p:sp>
      <p:sp>
        <p:nvSpPr>
          <p:cNvPr id="11" name="TextBox 19">
            <a:extLst>
              <a:ext uri="{FF2B5EF4-FFF2-40B4-BE49-F238E27FC236}">
                <a16:creationId xmlns:a16="http://schemas.microsoft.com/office/drawing/2014/main" id="{5BFF69E8-7257-436B-9762-37FCB9A1CFF1}"/>
              </a:ext>
            </a:extLst>
          </p:cNvPr>
          <p:cNvSpPr txBox="1"/>
          <p:nvPr/>
        </p:nvSpPr>
        <p:spPr>
          <a:xfrm>
            <a:off x="396192" y="1779433"/>
            <a:ext cx="326202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bg1"/>
                </a:solidFill>
              </a:rPr>
              <a:t>Customers Challenge</a:t>
            </a:r>
          </a:p>
        </p:txBody>
      </p:sp>
      <p:sp>
        <p:nvSpPr>
          <p:cNvPr id="12" name="Freeform 22">
            <a:extLst>
              <a:ext uri="{FF2B5EF4-FFF2-40B4-BE49-F238E27FC236}">
                <a16:creationId xmlns:a16="http://schemas.microsoft.com/office/drawing/2014/main" id="{416BF281-B41F-493B-AD56-54C335F9908F}"/>
              </a:ext>
            </a:extLst>
          </p:cNvPr>
          <p:cNvSpPr/>
          <p:nvPr/>
        </p:nvSpPr>
        <p:spPr>
          <a:xfrm rot="10800000">
            <a:off x="7562967" y="1456024"/>
            <a:ext cx="4197036" cy="1046930"/>
          </a:xfrm>
          <a:custGeom>
            <a:avLst/>
            <a:gdLst>
              <a:gd name="connsiteX0" fmla="*/ 0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0 w 2676588"/>
              <a:gd name="connsiteY4" fmla="*/ 0 h 363338"/>
              <a:gd name="connsiteX0" fmla="*/ 888545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888545 w 2676588"/>
              <a:gd name="connsiteY4" fmla="*/ 0 h 363338"/>
              <a:gd name="connsiteX0" fmla="*/ 0 w 1788043"/>
              <a:gd name="connsiteY0" fmla="*/ 0 h 363338"/>
              <a:gd name="connsiteX1" fmla="*/ 1788043 w 1788043"/>
              <a:gd name="connsiteY1" fmla="*/ 0 h 363338"/>
              <a:gd name="connsiteX2" fmla="*/ 1600319 w 1788043"/>
              <a:gd name="connsiteY2" fmla="*/ 363338 h 363338"/>
              <a:gd name="connsiteX3" fmla="*/ 0 w 1788043"/>
              <a:gd name="connsiteY3" fmla="*/ 363338 h 363338"/>
              <a:gd name="connsiteX4" fmla="*/ 0 w 1788043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138221 w 1926264"/>
              <a:gd name="connsiteY3" fmla="*/ 363338 h 363338"/>
              <a:gd name="connsiteX4" fmla="*/ 0 w 1926264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6284 w 1926264"/>
              <a:gd name="connsiteY3" fmla="*/ 363338 h 363338"/>
              <a:gd name="connsiteX4" fmla="*/ 0 w 1926264"/>
              <a:gd name="connsiteY4" fmla="*/ 0 h 363338"/>
              <a:gd name="connsiteX0" fmla="*/ 43978 w 1970242"/>
              <a:gd name="connsiteY0" fmla="*/ 0 h 363338"/>
              <a:gd name="connsiteX1" fmla="*/ 1970242 w 1970242"/>
              <a:gd name="connsiteY1" fmla="*/ 0 h 363338"/>
              <a:gd name="connsiteX2" fmla="*/ 1782518 w 1970242"/>
              <a:gd name="connsiteY2" fmla="*/ 363338 h 363338"/>
              <a:gd name="connsiteX3" fmla="*/ 0 w 1970242"/>
              <a:gd name="connsiteY3" fmla="*/ 363338 h 363338"/>
              <a:gd name="connsiteX4" fmla="*/ 43978 w 1970242"/>
              <a:gd name="connsiteY4" fmla="*/ 0 h 363338"/>
              <a:gd name="connsiteX0" fmla="*/ 0 w 1926264"/>
              <a:gd name="connsiteY0" fmla="*/ 0 h 369620"/>
              <a:gd name="connsiteX1" fmla="*/ 1926264 w 1926264"/>
              <a:gd name="connsiteY1" fmla="*/ 0 h 369620"/>
              <a:gd name="connsiteX2" fmla="*/ 1738540 w 1926264"/>
              <a:gd name="connsiteY2" fmla="*/ 363338 h 369620"/>
              <a:gd name="connsiteX3" fmla="*/ 6284 w 1926264"/>
              <a:gd name="connsiteY3" fmla="*/ 369620 h 369620"/>
              <a:gd name="connsiteX4" fmla="*/ 0 w 1926264"/>
              <a:gd name="connsiteY4" fmla="*/ 0 h 369620"/>
              <a:gd name="connsiteX0" fmla="*/ 6281 w 1932545"/>
              <a:gd name="connsiteY0" fmla="*/ 0 h 369620"/>
              <a:gd name="connsiteX1" fmla="*/ 1932545 w 1932545"/>
              <a:gd name="connsiteY1" fmla="*/ 0 h 369620"/>
              <a:gd name="connsiteX2" fmla="*/ 1744821 w 1932545"/>
              <a:gd name="connsiteY2" fmla="*/ 363338 h 369620"/>
              <a:gd name="connsiteX3" fmla="*/ 0 w 1932545"/>
              <a:gd name="connsiteY3" fmla="*/ 369620 h 369620"/>
              <a:gd name="connsiteX4" fmla="*/ 6281 w 1932545"/>
              <a:gd name="connsiteY4" fmla="*/ 0 h 369620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25132 w 1926264"/>
              <a:gd name="connsiteY3" fmla="*/ 357055 h 363338"/>
              <a:gd name="connsiteX4" fmla="*/ 0 w 1926264"/>
              <a:gd name="connsiteY4" fmla="*/ 0 h 363338"/>
              <a:gd name="connsiteX0" fmla="*/ 12564 w 1938828"/>
              <a:gd name="connsiteY0" fmla="*/ 0 h 363338"/>
              <a:gd name="connsiteX1" fmla="*/ 1938828 w 1938828"/>
              <a:gd name="connsiteY1" fmla="*/ 0 h 363338"/>
              <a:gd name="connsiteX2" fmla="*/ 1751104 w 1938828"/>
              <a:gd name="connsiteY2" fmla="*/ 363338 h 363338"/>
              <a:gd name="connsiteX3" fmla="*/ 0 w 1938828"/>
              <a:gd name="connsiteY3" fmla="*/ 363338 h 363338"/>
              <a:gd name="connsiteX4" fmla="*/ 12564 w 1938828"/>
              <a:gd name="connsiteY4" fmla="*/ 0 h 363338"/>
              <a:gd name="connsiteX0" fmla="*/ 0 w 1926264"/>
              <a:gd name="connsiteY0" fmla="*/ 0 h 369621"/>
              <a:gd name="connsiteX1" fmla="*/ 1926264 w 1926264"/>
              <a:gd name="connsiteY1" fmla="*/ 0 h 369621"/>
              <a:gd name="connsiteX2" fmla="*/ 1738540 w 1926264"/>
              <a:gd name="connsiteY2" fmla="*/ 363338 h 369621"/>
              <a:gd name="connsiteX3" fmla="*/ 6284 w 1926264"/>
              <a:gd name="connsiteY3" fmla="*/ 369621 h 369621"/>
              <a:gd name="connsiteX4" fmla="*/ 0 w 1926264"/>
              <a:gd name="connsiteY4" fmla="*/ 0 h 369621"/>
              <a:gd name="connsiteX0" fmla="*/ 43978 w 1970242"/>
              <a:gd name="connsiteY0" fmla="*/ 0 h 363339"/>
              <a:gd name="connsiteX1" fmla="*/ 1970242 w 1970242"/>
              <a:gd name="connsiteY1" fmla="*/ 0 h 363339"/>
              <a:gd name="connsiteX2" fmla="*/ 1782518 w 1970242"/>
              <a:gd name="connsiteY2" fmla="*/ 363338 h 363339"/>
              <a:gd name="connsiteX3" fmla="*/ 0 w 1970242"/>
              <a:gd name="connsiteY3" fmla="*/ 363339 h 363339"/>
              <a:gd name="connsiteX4" fmla="*/ 43978 w 1970242"/>
              <a:gd name="connsiteY4" fmla="*/ 0 h 363339"/>
              <a:gd name="connsiteX0" fmla="*/ 0 w 1926264"/>
              <a:gd name="connsiteY0" fmla="*/ 0 h 363339"/>
              <a:gd name="connsiteX1" fmla="*/ 1926264 w 1926264"/>
              <a:gd name="connsiteY1" fmla="*/ 0 h 363339"/>
              <a:gd name="connsiteX2" fmla="*/ 1738540 w 1926264"/>
              <a:gd name="connsiteY2" fmla="*/ 363338 h 363339"/>
              <a:gd name="connsiteX3" fmla="*/ 1 w 1926264"/>
              <a:gd name="connsiteY3" fmla="*/ 363339 h 363339"/>
              <a:gd name="connsiteX4" fmla="*/ 0 w 1926264"/>
              <a:gd name="connsiteY4" fmla="*/ 0 h 363339"/>
              <a:gd name="connsiteX0" fmla="*/ 469670 w 1926263"/>
              <a:gd name="connsiteY0" fmla="*/ 0 h 363339"/>
              <a:gd name="connsiteX1" fmla="*/ 1926263 w 1926263"/>
              <a:gd name="connsiteY1" fmla="*/ 0 h 363339"/>
              <a:gd name="connsiteX2" fmla="*/ 1738539 w 1926263"/>
              <a:gd name="connsiteY2" fmla="*/ 363338 h 363339"/>
              <a:gd name="connsiteX3" fmla="*/ 0 w 1926263"/>
              <a:gd name="connsiteY3" fmla="*/ 363339 h 363339"/>
              <a:gd name="connsiteX4" fmla="*/ 469670 w 1926263"/>
              <a:gd name="connsiteY4" fmla="*/ 0 h 363339"/>
              <a:gd name="connsiteX0" fmla="*/ 0 w 1456593"/>
              <a:gd name="connsiteY0" fmla="*/ 0 h 363339"/>
              <a:gd name="connsiteX1" fmla="*/ 1456593 w 1456593"/>
              <a:gd name="connsiteY1" fmla="*/ 0 h 363339"/>
              <a:gd name="connsiteX2" fmla="*/ 1268869 w 1456593"/>
              <a:gd name="connsiteY2" fmla="*/ 363338 h 363339"/>
              <a:gd name="connsiteX3" fmla="*/ 1 w 1456593"/>
              <a:gd name="connsiteY3" fmla="*/ 363339 h 363339"/>
              <a:gd name="connsiteX4" fmla="*/ 0 w 1456593"/>
              <a:gd name="connsiteY4" fmla="*/ 0 h 3633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56593" h="363339">
                <a:moveTo>
                  <a:pt x="0" y="0"/>
                </a:moveTo>
                <a:lnTo>
                  <a:pt x="1456593" y="0"/>
                </a:lnTo>
                <a:lnTo>
                  <a:pt x="1268869" y="363338"/>
                </a:lnTo>
                <a:lnTo>
                  <a:pt x="1" y="363339"/>
                </a:lnTo>
                <a:cubicBezTo>
                  <a:pt x="1" y="242226"/>
                  <a:pt x="0" y="121113"/>
                  <a:pt x="0" y="0"/>
                </a:cubicBezTo>
                <a:close/>
              </a:path>
            </a:pathLst>
          </a:custGeom>
          <a:solidFill>
            <a:schemeClr val="accent4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Freeform 20">
            <a:extLst>
              <a:ext uri="{FF2B5EF4-FFF2-40B4-BE49-F238E27FC236}">
                <a16:creationId xmlns:a16="http://schemas.microsoft.com/office/drawing/2014/main" id="{53D1D034-1BBB-4CC6-9A87-4BDE172DC792}"/>
              </a:ext>
            </a:extLst>
          </p:cNvPr>
          <p:cNvSpPr/>
          <p:nvPr/>
        </p:nvSpPr>
        <p:spPr>
          <a:xfrm>
            <a:off x="6307075" y="1456024"/>
            <a:ext cx="4197036" cy="1046930"/>
          </a:xfrm>
          <a:custGeom>
            <a:avLst/>
            <a:gdLst>
              <a:gd name="connsiteX0" fmla="*/ 0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0 w 2676588"/>
              <a:gd name="connsiteY4" fmla="*/ 0 h 363338"/>
              <a:gd name="connsiteX0" fmla="*/ 888545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888545 w 2676588"/>
              <a:gd name="connsiteY4" fmla="*/ 0 h 363338"/>
              <a:gd name="connsiteX0" fmla="*/ 0 w 1788043"/>
              <a:gd name="connsiteY0" fmla="*/ 0 h 363338"/>
              <a:gd name="connsiteX1" fmla="*/ 1788043 w 1788043"/>
              <a:gd name="connsiteY1" fmla="*/ 0 h 363338"/>
              <a:gd name="connsiteX2" fmla="*/ 1600319 w 1788043"/>
              <a:gd name="connsiteY2" fmla="*/ 363338 h 363338"/>
              <a:gd name="connsiteX3" fmla="*/ 0 w 1788043"/>
              <a:gd name="connsiteY3" fmla="*/ 363338 h 363338"/>
              <a:gd name="connsiteX4" fmla="*/ 0 w 1788043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138221 w 1926264"/>
              <a:gd name="connsiteY3" fmla="*/ 363338 h 363338"/>
              <a:gd name="connsiteX4" fmla="*/ 0 w 1926264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6284 w 1926264"/>
              <a:gd name="connsiteY3" fmla="*/ 363338 h 363338"/>
              <a:gd name="connsiteX4" fmla="*/ 0 w 1926264"/>
              <a:gd name="connsiteY4" fmla="*/ 0 h 363338"/>
              <a:gd name="connsiteX0" fmla="*/ 43978 w 1970242"/>
              <a:gd name="connsiteY0" fmla="*/ 0 h 363338"/>
              <a:gd name="connsiteX1" fmla="*/ 1970242 w 1970242"/>
              <a:gd name="connsiteY1" fmla="*/ 0 h 363338"/>
              <a:gd name="connsiteX2" fmla="*/ 1782518 w 1970242"/>
              <a:gd name="connsiteY2" fmla="*/ 363338 h 363338"/>
              <a:gd name="connsiteX3" fmla="*/ 0 w 1970242"/>
              <a:gd name="connsiteY3" fmla="*/ 363338 h 363338"/>
              <a:gd name="connsiteX4" fmla="*/ 43978 w 1970242"/>
              <a:gd name="connsiteY4" fmla="*/ 0 h 363338"/>
              <a:gd name="connsiteX0" fmla="*/ 0 w 1926264"/>
              <a:gd name="connsiteY0" fmla="*/ 0 h 369620"/>
              <a:gd name="connsiteX1" fmla="*/ 1926264 w 1926264"/>
              <a:gd name="connsiteY1" fmla="*/ 0 h 369620"/>
              <a:gd name="connsiteX2" fmla="*/ 1738540 w 1926264"/>
              <a:gd name="connsiteY2" fmla="*/ 363338 h 369620"/>
              <a:gd name="connsiteX3" fmla="*/ 6284 w 1926264"/>
              <a:gd name="connsiteY3" fmla="*/ 369620 h 369620"/>
              <a:gd name="connsiteX4" fmla="*/ 0 w 1926264"/>
              <a:gd name="connsiteY4" fmla="*/ 0 h 369620"/>
              <a:gd name="connsiteX0" fmla="*/ 6281 w 1932545"/>
              <a:gd name="connsiteY0" fmla="*/ 0 h 369620"/>
              <a:gd name="connsiteX1" fmla="*/ 1932545 w 1932545"/>
              <a:gd name="connsiteY1" fmla="*/ 0 h 369620"/>
              <a:gd name="connsiteX2" fmla="*/ 1744821 w 1932545"/>
              <a:gd name="connsiteY2" fmla="*/ 363338 h 369620"/>
              <a:gd name="connsiteX3" fmla="*/ 0 w 1932545"/>
              <a:gd name="connsiteY3" fmla="*/ 369620 h 369620"/>
              <a:gd name="connsiteX4" fmla="*/ 6281 w 1932545"/>
              <a:gd name="connsiteY4" fmla="*/ 0 h 369620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25132 w 1926264"/>
              <a:gd name="connsiteY3" fmla="*/ 357055 h 363338"/>
              <a:gd name="connsiteX4" fmla="*/ 0 w 1926264"/>
              <a:gd name="connsiteY4" fmla="*/ 0 h 363338"/>
              <a:gd name="connsiteX0" fmla="*/ 12564 w 1938828"/>
              <a:gd name="connsiteY0" fmla="*/ 0 h 363338"/>
              <a:gd name="connsiteX1" fmla="*/ 1938828 w 1938828"/>
              <a:gd name="connsiteY1" fmla="*/ 0 h 363338"/>
              <a:gd name="connsiteX2" fmla="*/ 1751104 w 1938828"/>
              <a:gd name="connsiteY2" fmla="*/ 363338 h 363338"/>
              <a:gd name="connsiteX3" fmla="*/ 0 w 1938828"/>
              <a:gd name="connsiteY3" fmla="*/ 363338 h 363338"/>
              <a:gd name="connsiteX4" fmla="*/ 12564 w 1938828"/>
              <a:gd name="connsiteY4" fmla="*/ 0 h 363338"/>
              <a:gd name="connsiteX0" fmla="*/ 0 w 1926264"/>
              <a:gd name="connsiteY0" fmla="*/ 0 h 369621"/>
              <a:gd name="connsiteX1" fmla="*/ 1926264 w 1926264"/>
              <a:gd name="connsiteY1" fmla="*/ 0 h 369621"/>
              <a:gd name="connsiteX2" fmla="*/ 1738540 w 1926264"/>
              <a:gd name="connsiteY2" fmla="*/ 363338 h 369621"/>
              <a:gd name="connsiteX3" fmla="*/ 6284 w 1926264"/>
              <a:gd name="connsiteY3" fmla="*/ 369621 h 369621"/>
              <a:gd name="connsiteX4" fmla="*/ 0 w 1926264"/>
              <a:gd name="connsiteY4" fmla="*/ 0 h 369621"/>
              <a:gd name="connsiteX0" fmla="*/ 43978 w 1970242"/>
              <a:gd name="connsiteY0" fmla="*/ 0 h 363339"/>
              <a:gd name="connsiteX1" fmla="*/ 1970242 w 1970242"/>
              <a:gd name="connsiteY1" fmla="*/ 0 h 363339"/>
              <a:gd name="connsiteX2" fmla="*/ 1782518 w 1970242"/>
              <a:gd name="connsiteY2" fmla="*/ 363338 h 363339"/>
              <a:gd name="connsiteX3" fmla="*/ 0 w 1970242"/>
              <a:gd name="connsiteY3" fmla="*/ 363339 h 363339"/>
              <a:gd name="connsiteX4" fmla="*/ 43978 w 1970242"/>
              <a:gd name="connsiteY4" fmla="*/ 0 h 363339"/>
              <a:gd name="connsiteX0" fmla="*/ 0 w 1926264"/>
              <a:gd name="connsiteY0" fmla="*/ 0 h 363339"/>
              <a:gd name="connsiteX1" fmla="*/ 1926264 w 1926264"/>
              <a:gd name="connsiteY1" fmla="*/ 0 h 363339"/>
              <a:gd name="connsiteX2" fmla="*/ 1738540 w 1926264"/>
              <a:gd name="connsiteY2" fmla="*/ 363338 h 363339"/>
              <a:gd name="connsiteX3" fmla="*/ 1 w 1926264"/>
              <a:gd name="connsiteY3" fmla="*/ 363339 h 363339"/>
              <a:gd name="connsiteX4" fmla="*/ 0 w 1926264"/>
              <a:gd name="connsiteY4" fmla="*/ 0 h 363339"/>
              <a:gd name="connsiteX0" fmla="*/ 469670 w 1926263"/>
              <a:gd name="connsiteY0" fmla="*/ 0 h 363339"/>
              <a:gd name="connsiteX1" fmla="*/ 1926263 w 1926263"/>
              <a:gd name="connsiteY1" fmla="*/ 0 h 363339"/>
              <a:gd name="connsiteX2" fmla="*/ 1738539 w 1926263"/>
              <a:gd name="connsiteY2" fmla="*/ 363338 h 363339"/>
              <a:gd name="connsiteX3" fmla="*/ 0 w 1926263"/>
              <a:gd name="connsiteY3" fmla="*/ 363339 h 363339"/>
              <a:gd name="connsiteX4" fmla="*/ 469670 w 1926263"/>
              <a:gd name="connsiteY4" fmla="*/ 0 h 363339"/>
              <a:gd name="connsiteX0" fmla="*/ 0 w 1456593"/>
              <a:gd name="connsiteY0" fmla="*/ 0 h 363339"/>
              <a:gd name="connsiteX1" fmla="*/ 1456593 w 1456593"/>
              <a:gd name="connsiteY1" fmla="*/ 0 h 363339"/>
              <a:gd name="connsiteX2" fmla="*/ 1268869 w 1456593"/>
              <a:gd name="connsiteY2" fmla="*/ 363338 h 363339"/>
              <a:gd name="connsiteX3" fmla="*/ 1 w 1456593"/>
              <a:gd name="connsiteY3" fmla="*/ 363339 h 363339"/>
              <a:gd name="connsiteX4" fmla="*/ 0 w 1456593"/>
              <a:gd name="connsiteY4" fmla="*/ 0 h 3633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56593" h="363339">
                <a:moveTo>
                  <a:pt x="0" y="0"/>
                </a:moveTo>
                <a:lnTo>
                  <a:pt x="1456593" y="0"/>
                </a:lnTo>
                <a:lnTo>
                  <a:pt x="1268869" y="363338"/>
                </a:lnTo>
                <a:lnTo>
                  <a:pt x="1" y="363339"/>
                </a:lnTo>
                <a:cubicBezTo>
                  <a:pt x="1" y="242226"/>
                  <a:pt x="0" y="121113"/>
                  <a:pt x="0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9">
            <a:extLst>
              <a:ext uri="{FF2B5EF4-FFF2-40B4-BE49-F238E27FC236}">
                <a16:creationId xmlns:a16="http://schemas.microsoft.com/office/drawing/2014/main" id="{221F1E74-999F-455C-AD11-8BA23FB99623}"/>
              </a:ext>
            </a:extLst>
          </p:cNvPr>
          <p:cNvSpPr txBox="1"/>
          <p:nvPr/>
        </p:nvSpPr>
        <p:spPr>
          <a:xfrm>
            <a:off x="6399459" y="1779433"/>
            <a:ext cx="326202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bg1"/>
                </a:solidFill>
              </a:rPr>
              <a:t>Solution</a:t>
            </a:r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1B88AC4D-9881-4835-8D19-6FD2C7303830}"/>
              </a:ext>
            </a:extLst>
          </p:cNvPr>
          <p:cNvGrpSpPr/>
          <p:nvPr/>
        </p:nvGrpSpPr>
        <p:grpSpPr>
          <a:xfrm>
            <a:off x="10753320" y="1587871"/>
            <a:ext cx="806400" cy="806400"/>
            <a:chOff x="10100911" y="2893836"/>
            <a:chExt cx="806400" cy="806400"/>
          </a:xfrm>
        </p:grpSpPr>
        <p:sp>
          <p:nvSpPr>
            <p:cNvPr id="22" name="Ellipse 21">
              <a:extLst>
                <a:ext uri="{FF2B5EF4-FFF2-40B4-BE49-F238E27FC236}">
                  <a16:creationId xmlns:a16="http://schemas.microsoft.com/office/drawing/2014/main" id="{D6A8C5FF-1C8F-4C26-89D4-E77005556C49}"/>
                </a:ext>
              </a:extLst>
            </p:cNvPr>
            <p:cNvSpPr/>
            <p:nvPr/>
          </p:nvSpPr>
          <p:spPr>
            <a:xfrm>
              <a:off x="10100911" y="2893836"/>
              <a:ext cx="806400" cy="806400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23" name="Grafik 22" descr="Glühbirne und Zahnrad">
              <a:extLst>
                <a:ext uri="{FF2B5EF4-FFF2-40B4-BE49-F238E27FC236}">
                  <a16:creationId xmlns:a16="http://schemas.microsoft.com/office/drawing/2014/main" id="{2BE2D3C0-2EEE-4241-8C24-92312596744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180111" y="2981630"/>
              <a:ext cx="648000" cy="648000"/>
            </a:xfrm>
            <a:prstGeom prst="rect">
              <a:avLst/>
            </a:prstGeom>
          </p:spPr>
        </p:pic>
      </p:grpSp>
      <p:sp>
        <p:nvSpPr>
          <p:cNvPr id="25" name="Ellipse 24">
            <a:extLst>
              <a:ext uri="{FF2B5EF4-FFF2-40B4-BE49-F238E27FC236}">
                <a16:creationId xmlns:a16="http://schemas.microsoft.com/office/drawing/2014/main" id="{015C0E07-9F24-4237-9775-C159217AD60B}"/>
              </a:ext>
            </a:extLst>
          </p:cNvPr>
          <p:cNvSpPr/>
          <p:nvPr/>
        </p:nvSpPr>
        <p:spPr>
          <a:xfrm>
            <a:off x="4750433" y="1596465"/>
            <a:ext cx="806400" cy="80640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7" name="Grafik 16" descr="Verkehrsleitkegel">
            <a:extLst>
              <a:ext uri="{FF2B5EF4-FFF2-40B4-BE49-F238E27FC236}">
                <a16:creationId xmlns:a16="http://schemas.microsoft.com/office/drawing/2014/main" id="{71857C98-94E8-436D-89C1-56485C99AA6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826261" y="1675665"/>
            <a:ext cx="648000" cy="648000"/>
          </a:xfrm>
          <a:prstGeom prst="rect">
            <a:avLst/>
          </a:prstGeom>
        </p:spPr>
      </p:pic>
      <p:sp>
        <p:nvSpPr>
          <p:cNvPr id="28" name="Rechteck 27">
            <a:extLst>
              <a:ext uri="{FF2B5EF4-FFF2-40B4-BE49-F238E27FC236}">
                <a16:creationId xmlns:a16="http://schemas.microsoft.com/office/drawing/2014/main" id="{5AF3D405-131A-4032-B009-784103DCD5B1}"/>
              </a:ext>
            </a:extLst>
          </p:cNvPr>
          <p:cNvSpPr/>
          <p:nvPr/>
        </p:nvSpPr>
        <p:spPr>
          <a:xfrm>
            <a:off x="6307075" y="2714547"/>
            <a:ext cx="5443852" cy="3384973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lvl="0" algn="ctr">
              <a:spcAft>
                <a:spcPts val="900"/>
              </a:spcAft>
              <a:buClr>
                <a:schemeClr val="accent6"/>
              </a:buClr>
            </a:pPr>
            <a:r>
              <a:rPr lang="en-US" i="1" dirty="0">
                <a:solidFill>
                  <a:prstClr val="black"/>
                </a:solidFill>
              </a:rPr>
              <a:t>“How can I save energy costs and reduce my CO</a:t>
            </a:r>
            <a:r>
              <a:rPr lang="en-US" i="1" baseline="-25000" dirty="0">
                <a:solidFill>
                  <a:prstClr val="black"/>
                </a:solidFill>
              </a:rPr>
              <a:t>2</a:t>
            </a:r>
            <a:r>
              <a:rPr lang="en-US" i="1" dirty="0">
                <a:solidFill>
                  <a:prstClr val="black"/>
                </a:solidFill>
              </a:rPr>
              <a:t> footprint without compromising on the ultradurable product performance?” </a:t>
            </a:r>
            <a:endParaRPr lang="en-US" i="1" dirty="0"/>
          </a:p>
          <a:p>
            <a:pPr lvl="0">
              <a:spcAft>
                <a:spcPts val="900"/>
              </a:spcAft>
              <a:buClr>
                <a:schemeClr val="accent6"/>
              </a:buClr>
            </a:pPr>
            <a:endParaRPr lang="en-US" sz="1600" dirty="0"/>
          </a:p>
          <a:p>
            <a:pPr lvl="0">
              <a:spcAft>
                <a:spcPts val="900"/>
              </a:spcAft>
              <a:buClr>
                <a:schemeClr val="accent6"/>
              </a:buClr>
            </a:pPr>
            <a:endParaRPr lang="en-US" sz="1600" dirty="0"/>
          </a:p>
        </p:txBody>
      </p:sp>
      <p:sp>
        <p:nvSpPr>
          <p:cNvPr id="24" name="Parallelogramm 26">
            <a:extLst>
              <a:ext uri="{FF2B5EF4-FFF2-40B4-BE49-F238E27FC236}">
                <a16:creationId xmlns:a16="http://schemas.microsoft.com/office/drawing/2014/main" id="{B9562E1A-A471-F248-8576-3139306FFE38}"/>
              </a:ext>
            </a:extLst>
          </p:cNvPr>
          <p:cNvSpPr/>
          <p:nvPr/>
        </p:nvSpPr>
        <p:spPr>
          <a:xfrm>
            <a:off x="7480401" y="4078373"/>
            <a:ext cx="3023710" cy="840136"/>
          </a:xfrm>
          <a:prstGeom prst="parallelogram">
            <a:avLst>
              <a:gd name="adj" fmla="val 0"/>
            </a:avLst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/>
              <a:t>ENVIROCRON </a:t>
            </a:r>
            <a:r>
              <a:rPr lang="en-GB" b="1" dirty="0" err="1"/>
              <a:t>EnergX</a:t>
            </a:r>
            <a:r>
              <a:rPr lang="en-GB" b="1" dirty="0"/>
              <a:t> ULTRA</a:t>
            </a:r>
          </a:p>
          <a:p>
            <a:pPr algn="ctr"/>
            <a:r>
              <a:rPr lang="en-GB" b="1" dirty="0"/>
              <a:t>Low Cure Option</a:t>
            </a:r>
          </a:p>
        </p:txBody>
      </p:sp>
    </p:spTree>
    <p:extLst>
      <p:ext uri="{BB962C8B-B14F-4D97-AF65-F5344CB8AC3E}">
        <p14:creationId xmlns:p14="http://schemas.microsoft.com/office/powerpoint/2010/main" val="146683145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3">
            <a:extLst>
              <a:ext uri="{FF2B5EF4-FFF2-40B4-BE49-F238E27FC236}">
                <a16:creationId xmlns:a16="http://schemas.microsoft.com/office/drawing/2014/main" id="{703D39C9-9B85-4F87-8271-E3F961C6AA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2884" y="323849"/>
            <a:ext cx="11670783" cy="859536"/>
          </a:xfrm>
        </p:spPr>
        <p:txBody>
          <a:bodyPr/>
          <a:lstStyle/>
          <a:p>
            <a:r>
              <a:rPr lang="en-US" dirty="0"/>
              <a:t>Become more sustainable!</a:t>
            </a:r>
            <a:br>
              <a:rPr lang="en-US" dirty="0"/>
            </a:br>
            <a:r>
              <a:rPr lang="en-US" sz="2500" dirty="0" err="1">
                <a:solidFill>
                  <a:schemeClr val="accent1"/>
                </a:solidFill>
              </a:rPr>
              <a:t>EnergX</a:t>
            </a:r>
            <a:r>
              <a:rPr lang="en-US" sz="2500" dirty="0">
                <a:solidFill>
                  <a:schemeClr val="accent1"/>
                </a:solidFill>
              </a:rPr>
              <a:t> ULTRA</a:t>
            </a:r>
            <a:r>
              <a:rPr lang="en-US" sz="2500" b="0" dirty="0">
                <a:solidFill>
                  <a:schemeClr val="accent1"/>
                </a:solidFill>
              </a:rPr>
              <a:t> low cure option – a case study</a:t>
            </a:r>
            <a:endParaRPr lang="pl-PL" sz="2500" b="0" dirty="0">
              <a:solidFill>
                <a:schemeClr val="accent1"/>
              </a:solidFill>
            </a:endParaRP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295A37D5-7853-4540-BDCE-52C84D24E104}"/>
              </a:ext>
            </a:extLst>
          </p:cNvPr>
          <p:cNvSpPr txBox="1">
            <a:spLocks/>
          </p:cNvSpPr>
          <p:nvPr/>
        </p:nvSpPr>
        <p:spPr>
          <a:xfrm>
            <a:off x="321503" y="6496407"/>
            <a:ext cx="455756" cy="17222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chemeClr val="tx2"/>
                </a:solidFill>
                <a:latin typeface="+mn-lt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17</a:t>
            </a:r>
          </a:p>
        </p:txBody>
      </p:sp>
      <p:sp>
        <p:nvSpPr>
          <p:cNvPr id="19" name="Footer Placeholder 1">
            <a:extLst>
              <a:ext uri="{FF2B5EF4-FFF2-40B4-BE49-F238E27FC236}">
                <a16:creationId xmlns:a16="http://schemas.microsoft.com/office/drawing/2014/main" id="{9CBA4AA6-5E8D-1849-AC86-CEA08B9AE6E9}"/>
              </a:ext>
            </a:extLst>
          </p:cNvPr>
          <p:cNvSpPr txBox="1">
            <a:spLocks/>
          </p:cNvSpPr>
          <p:nvPr/>
        </p:nvSpPr>
        <p:spPr>
          <a:xfrm>
            <a:off x="763811" y="6496407"/>
            <a:ext cx="9460550" cy="17222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chemeClr val="tx2"/>
                </a:solidFill>
                <a:latin typeface="+mn-lt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Powder Coatings from PPG ©2023 PPG Industries, Inc. All rights reserved</a:t>
            </a:r>
          </a:p>
        </p:txBody>
      </p:sp>
      <p:graphicFrame>
        <p:nvGraphicFramePr>
          <p:cNvPr id="15" name="Tabelle 14">
            <a:extLst>
              <a:ext uri="{FF2B5EF4-FFF2-40B4-BE49-F238E27FC236}">
                <a16:creationId xmlns:a16="http://schemas.microsoft.com/office/drawing/2014/main" id="{67AED5E7-B821-446F-B56C-A43A3B50073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07066632"/>
              </p:ext>
            </p:extLst>
          </p:nvPr>
        </p:nvGraphicFramePr>
        <p:xfrm>
          <a:off x="7912636" y="1443551"/>
          <a:ext cx="2700000" cy="327600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620000">
                  <a:extLst>
                    <a:ext uri="{9D8B030D-6E8A-4147-A177-3AD203B41FA5}">
                      <a16:colId xmlns:a16="http://schemas.microsoft.com/office/drawing/2014/main" val="3488453097"/>
                    </a:ext>
                  </a:extLst>
                </a:gridCol>
                <a:gridCol w="1080000">
                  <a:extLst>
                    <a:ext uri="{9D8B030D-6E8A-4147-A177-3AD203B41FA5}">
                      <a16:colId xmlns:a16="http://schemas.microsoft.com/office/drawing/2014/main" val="2426581768"/>
                    </a:ext>
                  </a:extLst>
                </a:gridCol>
              </a:tblGrid>
              <a:tr h="468000">
                <a:tc>
                  <a:txBody>
                    <a:bodyPr/>
                    <a:lstStyle/>
                    <a:p>
                      <a:r>
                        <a:rPr lang="en-GB" sz="1200" dirty="0">
                          <a:solidFill>
                            <a:schemeClr val="bg1"/>
                          </a:solidFill>
                        </a:rPr>
                        <a:t>Syste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8A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>
                          <a:solidFill>
                            <a:schemeClr val="bg1"/>
                          </a:solidFill>
                        </a:rPr>
                        <a:t>ultradurable </a:t>
                      </a:r>
                      <a:br>
                        <a:rPr lang="en-GB" sz="1200" b="1" dirty="0">
                          <a:solidFill>
                            <a:schemeClr val="bg1"/>
                          </a:solidFill>
                        </a:rPr>
                      </a:br>
                      <a:r>
                        <a:rPr lang="en-GB" sz="1200" b="1" dirty="0">
                          <a:solidFill>
                            <a:schemeClr val="bg1"/>
                          </a:solidFill>
                        </a:rPr>
                        <a:t>standar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715120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r>
                        <a:rPr lang="en-GB" sz="1200" dirty="0"/>
                        <a:t>Part thicknes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8A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/>
                        <a:t>10 m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alpha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0446498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r>
                        <a:rPr lang="en-GB" sz="1200" dirty="0"/>
                        <a:t>Curing condition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8A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/>
                        <a:t>10 min </a:t>
                      </a:r>
                    </a:p>
                    <a:p>
                      <a:pPr algn="ctr"/>
                      <a:r>
                        <a:rPr lang="en-GB" sz="1200" dirty="0"/>
                        <a:t>180°C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alpha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8338311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r>
                        <a:rPr lang="en-GB" sz="1200" dirty="0"/>
                        <a:t>Oven temperatur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8A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>
                          <a:solidFill>
                            <a:schemeClr val="accent5"/>
                          </a:solidFill>
                        </a:rPr>
                        <a:t>230°C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alpha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0154103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r>
                        <a:rPr lang="en-GB" sz="1200" dirty="0"/>
                        <a:t>Target object temperature afte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8A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>
                          <a:solidFill>
                            <a:schemeClr val="tx1"/>
                          </a:solidFill>
                        </a:rPr>
                        <a:t>26 mi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alpha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6789755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r>
                        <a:rPr lang="en-GB" sz="1200" dirty="0"/>
                        <a:t>Dwell time at target object temperatur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8A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10 mi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alpha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6357230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r>
                        <a:rPr lang="en-GB" sz="1200" dirty="0"/>
                        <a:t>Object completely cured afte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8A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>
                          <a:solidFill>
                            <a:schemeClr val="tx1"/>
                          </a:solidFill>
                        </a:rPr>
                        <a:t>36 mi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alpha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8539911"/>
                  </a:ext>
                </a:extLst>
              </a:tr>
            </a:tbl>
          </a:graphicData>
        </a:graphic>
      </p:graphicFrame>
      <p:graphicFrame>
        <p:nvGraphicFramePr>
          <p:cNvPr id="20" name="Diagramm 19">
            <a:extLst>
              <a:ext uri="{FF2B5EF4-FFF2-40B4-BE49-F238E27FC236}">
                <a16:creationId xmlns:a16="http://schemas.microsoft.com/office/drawing/2014/main" id="{50CA97DE-5DB6-49B2-87DC-565D82456FE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36526667"/>
              </p:ext>
            </p:extLst>
          </p:nvPr>
        </p:nvGraphicFramePr>
        <p:xfrm>
          <a:off x="321503" y="1320800"/>
          <a:ext cx="7191380" cy="4851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27A5A1FD-87E0-4A9E-A8D0-40C7A2BBE3FB}"/>
              </a:ext>
            </a:extLst>
          </p:cNvPr>
          <p:cNvCxnSpPr/>
          <p:nvPr/>
        </p:nvCxnSpPr>
        <p:spPr>
          <a:xfrm flipH="1">
            <a:off x="3729432" y="2464767"/>
            <a:ext cx="0" cy="2556000"/>
          </a:xfrm>
          <a:prstGeom prst="line">
            <a:avLst/>
          </a:prstGeom>
          <a:ln w="25400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feld 3">
            <a:extLst>
              <a:ext uri="{FF2B5EF4-FFF2-40B4-BE49-F238E27FC236}">
                <a16:creationId xmlns:a16="http://schemas.microsoft.com/office/drawing/2014/main" id="{69A791E2-607C-4803-9D7D-8DFBE3F4C10A}"/>
              </a:ext>
            </a:extLst>
          </p:cNvPr>
          <p:cNvSpPr txBox="1"/>
          <p:nvPr/>
        </p:nvSpPr>
        <p:spPr>
          <a:xfrm>
            <a:off x="3575536" y="5048600"/>
            <a:ext cx="324044" cy="2182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non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100" b="1" dirty="0">
                <a:solidFill>
                  <a:schemeClr val="accent1"/>
                </a:solidFill>
              </a:rPr>
              <a:t>26</a:t>
            </a:r>
          </a:p>
        </p:txBody>
      </p: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16C6A1FC-35B4-42FC-9AD7-3785A457BC0B}"/>
              </a:ext>
            </a:extLst>
          </p:cNvPr>
          <p:cNvCxnSpPr/>
          <p:nvPr/>
        </p:nvCxnSpPr>
        <p:spPr>
          <a:xfrm>
            <a:off x="4759525" y="2156210"/>
            <a:ext cx="0" cy="2880000"/>
          </a:xfrm>
          <a:prstGeom prst="line">
            <a:avLst/>
          </a:prstGeom>
          <a:ln w="25400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feld 3">
            <a:extLst>
              <a:ext uri="{FF2B5EF4-FFF2-40B4-BE49-F238E27FC236}">
                <a16:creationId xmlns:a16="http://schemas.microsoft.com/office/drawing/2014/main" id="{28F7AA52-1C6B-485B-B9C1-487AB8E2EAE3}"/>
              </a:ext>
            </a:extLst>
          </p:cNvPr>
          <p:cNvSpPr txBox="1"/>
          <p:nvPr/>
        </p:nvSpPr>
        <p:spPr>
          <a:xfrm>
            <a:off x="4499844" y="5045524"/>
            <a:ext cx="522814" cy="2182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non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100" b="1" dirty="0">
                <a:solidFill>
                  <a:schemeClr val="accent1"/>
                </a:solidFill>
              </a:rPr>
              <a:t>36</a:t>
            </a:r>
          </a:p>
        </p:txBody>
      </p:sp>
      <p:sp>
        <p:nvSpPr>
          <p:cNvPr id="28" name="Textfeld 3">
            <a:extLst>
              <a:ext uri="{FF2B5EF4-FFF2-40B4-BE49-F238E27FC236}">
                <a16:creationId xmlns:a16="http://schemas.microsoft.com/office/drawing/2014/main" id="{E6A49BF3-119A-4592-8D27-F98CF38325FF}"/>
              </a:ext>
            </a:extLst>
          </p:cNvPr>
          <p:cNvSpPr txBox="1"/>
          <p:nvPr/>
        </p:nvSpPr>
        <p:spPr>
          <a:xfrm>
            <a:off x="933888" y="1425540"/>
            <a:ext cx="3285459" cy="406463"/>
          </a:xfrm>
          <a:prstGeom prst="rect">
            <a:avLst/>
          </a:prstGeom>
          <a:ln>
            <a:noFill/>
          </a:ln>
        </p:spPr>
        <p:txBody>
          <a:bodyPr wrap="none" rtlCol="0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000" b="0" dirty="0">
                <a:solidFill>
                  <a:schemeClr val="accent5"/>
                </a:solidFill>
              </a:rPr>
              <a:t>oven temperature max. 230°C</a:t>
            </a:r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27D99F05-2CFF-443F-BB85-B72DD2A52BC4}"/>
              </a:ext>
            </a:extLst>
          </p:cNvPr>
          <p:cNvCxnSpPr>
            <a:cxnSpLocks/>
          </p:cNvCxnSpPr>
          <p:nvPr/>
        </p:nvCxnSpPr>
        <p:spPr>
          <a:xfrm>
            <a:off x="1041991" y="2464767"/>
            <a:ext cx="2687441" cy="0"/>
          </a:xfrm>
          <a:prstGeom prst="line">
            <a:avLst/>
          </a:prstGeom>
          <a:ln w="25400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feld 3">
            <a:extLst>
              <a:ext uri="{FF2B5EF4-FFF2-40B4-BE49-F238E27FC236}">
                <a16:creationId xmlns:a16="http://schemas.microsoft.com/office/drawing/2014/main" id="{F8ED0E60-428B-4F7F-8FCC-CBE401F848AF}"/>
              </a:ext>
            </a:extLst>
          </p:cNvPr>
          <p:cNvSpPr txBox="1"/>
          <p:nvPr/>
        </p:nvSpPr>
        <p:spPr>
          <a:xfrm>
            <a:off x="1817226" y="2331887"/>
            <a:ext cx="522814" cy="265759"/>
          </a:xfrm>
          <a:prstGeom prst="rect">
            <a:avLst/>
          </a:prstGeom>
          <a:solidFill>
            <a:schemeClr val="bg1"/>
          </a:solidFill>
        </p:spPr>
        <p:txBody>
          <a:bodyPr wrap="non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de-DE" sz="1100" b="1" dirty="0">
                <a:solidFill>
                  <a:schemeClr val="accent1"/>
                </a:solidFill>
              </a:rPr>
              <a:t>180°C</a:t>
            </a:r>
          </a:p>
        </p:txBody>
      </p:sp>
      <p:sp>
        <p:nvSpPr>
          <p:cNvPr id="35" name="Pfeil: nach rechts 34">
            <a:extLst>
              <a:ext uri="{FF2B5EF4-FFF2-40B4-BE49-F238E27FC236}">
                <a16:creationId xmlns:a16="http://schemas.microsoft.com/office/drawing/2014/main" id="{655E56B6-62C5-40C6-AEAC-954CA3F00469}"/>
              </a:ext>
            </a:extLst>
          </p:cNvPr>
          <p:cNvSpPr/>
          <p:nvPr/>
        </p:nvSpPr>
        <p:spPr>
          <a:xfrm>
            <a:off x="3781962" y="3566167"/>
            <a:ext cx="925033" cy="435934"/>
          </a:xfrm>
          <a:prstGeom prst="rightArrow">
            <a:avLst/>
          </a:prstGeom>
          <a:gradFill flip="none" rotWithShape="1">
            <a:gsLst>
              <a:gs pos="0">
                <a:schemeClr val="accent1">
                  <a:lumMod val="5000"/>
                  <a:lumOff val="95000"/>
                </a:schemeClr>
              </a:gs>
              <a:gs pos="66000">
                <a:schemeClr val="bg2">
                  <a:lumMod val="65000"/>
                </a:schemeClr>
              </a:gs>
              <a:gs pos="84000">
                <a:schemeClr val="tx1">
                  <a:lumMod val="50000"/>
                  <a:lumOff val="50000"/>
                </a:schemeClr>
              </a:gs>
              <a:gs pos="100000">
                <a:schemeClr val="tx2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dirty="0">
                <a:solidFill>
                  <a:schemeClr val="tx1"/>
                </a:solidFill>
              </a:rPr>
              <a:t>10 min</a:t>
            </a:r>
          </a:p>
        </p:txBody>
      </p:sp>
    </p:spTree>
    <p:extLst>
      <p:ext uri="{BB962C8B-B14F-4D97-AF65-F5344CB8AC3E}">
        <p14:creationId xmlns:p14="http://schemas.microsoft.com/office/powerpoint/2010/main" val="361649773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3">
            <a:extLst>
              <a:ext uri="{FF2B5EF4-FFF2-40B4-BE49-F238E27FC236}">
                <a16:creationId xmlns:a16="http://schemas.microsoft.com/office/drawing/2014/main" id="{703D39C9-9B85-4F87-8271-E3F961C6AA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2884" y="323849"/>
            <a:ext cx="11670783" cy="859536"/>
          </a:xfrm>
        </p:spPr>
        <p:txBody>
          <a:bodyPr/>
          <a:lstStyle/>
          <a:p>
            <a:r>
              <a:rPr lang="en-US" dirty="0"/>
              <a:t>Become more sustainable!</a:t>
            </a:r>
            <a:br>
              <a:rPr lang="en-US" dirty="0"/>
            </a:br>
            <a:r>
              <a:rPr lang="en-US" sz="2500" dirty="0" err="1">
                <a:solidFill>
                  <a:schemeClr val="accent1"/>
                </a:solidFill>
              </a:rPr>
              <a:t>EnergX</a:t>
            </a:r>
            <a:r>
              <a:rPr lang="en-US" sz="2500" dirty="0">
                <a:solidFill>
                  <a:schemeClr val="accent1"/>
                </a:solidFill>
              </a:rPr>
              <a:t> ULTRA</a:t>
            </a:r>
            <a:r>
              <a:rPr lang="en-US" sz="2500" b="0" dirty="0">
                <a:solidFill>
                  <a:schemeClr val="accent1"/>
                </a:solidFill>
              </a:rPr>
              <a:t> low cure option – a case study</a:t>
            </a:r>
            <a:endParaRPr lang="pl-PL" sz="2500" b="0" dirty="0">
              <a:solidFill>
                <a:schemeClr val="accent1"/>
              </a:solidFill>
            </a:endParaRP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295A37D5-7853-4540-BDCE-52C84D24E104}"/>
              </a:ext>
            </a:extLst>
          </p:cNvPr>
          <p:cNvSpPr txBox="1">
            <a:spLocks/>
          </p:cNvSpPr>
          <p:nvPr/>
        </p:nvSpPr>
        <p:spPr>
          <a:xfrm>
            <a:off x="321503" y="6496407"/>
            <a:ext cx="455756" cy="17222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chemeClr val="tx2"/>
                </a:solidFill>
                <a:latin typeface="+mn-lt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17</a:t>
            </a:r>
          </a:p>
        </p:txBody>
      </p:sp>
      <p:sp>
        <p:nvSpPr>
          <p:cNvPr id="19" name="Footer Placeholder 1">
            <a:extLst>
              <a:ext uri="{FF2B5EF4-FFF2-40B4-BE49-F238E27FC236}">
                <a16:creationId xmlns:a16="http://schemas.microsoft.com/office/drawing/2014/main" id="{9CBA4AA6-5E8D-1849-AC86-CEA08B9AE6E9}"/>
              </a:ext>
            </a:extLst>
          </p:cNvPr>
          <p:cNvSpPr txBox="1">
            <a:spLocks/>
          </p:cNvSpPr>
          <p:nvPr/>
        </p:nvSpPr>
        <p:spPr>
          <a:xfrm>
            <a:off x="763811" y="6496407"/>
            <a:ext cx="9460550" cy="17222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chemeClr val="tx2"/>
                </a:solidFill>
                <a:latin typeface="+mn-lt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Powder Coatings from PPG ©2023 PPG Industries, Inc. All rights reserved</a:t>
            </a:r>
          </a:p>
        </p:txBody>
      </p:sp>
      <p:graphicFrame>
        <p:nvGraphicFramePr>
          <p:cNvPr id="16" name="Tabelle 15">
            <a:extLst>
              <a:ext uri="{FF2B5EF4-FFF2-40B4-BE49-F238E27FC236}">
                <a16:creationId xmlns:a16="http://schemas.microsoft.com/office/drawing/2014/main" id="{421DF3FD-9410-41CC-A73F-3F33FA23701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17753453"/>
              </p:ext>
            </p:extLst>
          </p:nvPr>
        </p:nvGraphicFramePr>
        <p:xfrm>
          <a:off x="7912636" y="1452232"/>
          <a:ext cx="3780000" cy="327600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620000">
                  <a:extLst>
                    <a:ext uri="{9D8B030D-6E8A-4147-A177-3AD203B41FA5}">
                      <a16:colId xmlns:a16="http://schemas.microsoft.com/office/drawing/2014/main" val="3488453097"/>
                    </a:ext>
                  </a:extLst>
                </a:gridCol>
                <a:gridCol w="1080000">
                  <a:extLst>
                    <a:ext uri="{9D8B030D-6E8A-4147-A177-3AD203B41FA5}">
                      <a16:colId xmlns:a16="http://schemas.microsoft.com/office/drawing/2014/main" val="2426581768"/>
                    </a:ext>
                  </a:extLst>
                </a:gridCol>
                <a:gridCol w="1080000">
                  <a:extLst>
                    <a:ext uri="{9D8B030D-6E8A-4147-A177-3AD203B41FA5}">
                      <a16:colId xmlns:a16="http://schemas.microsoft.com/office/drawing/2014/main" val="788080618"/>
                    </a:ext>
                  </a:extLst>
                </a:gridCol>
              </a:tblGrid>
              <a:tr h="468000">
                <a:tc>
                  <a:txBody>
                    <a:bodyPr/>
                    <a:lstStyle/>
                    <a:p>
                      <a:r>
                        <a:rPr lang="en-GB" sz="1200" dirty="0">
                          <a:solidFill>
                            <a:schemeClr val="bg1"/>
                          </a:solidFill>
                        </a:rPr>
                        <a:t>Syste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8A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>
                          <a:solidFill>
                            <a:schemeClr val="bg1"/>
                          </a:solidFill>
                        </a:rPr>
                        <a:t>ultradurable </a:t>
                      </a:r>
                      <a:br>
                        <a:rPr lang="en-GB" sz="1200" b="1" dirty="0">
                          <a:solidFill>
                            <a:schemeClr val="bg1"/>
                          </a:solidFill>
                        </a:rPr>
                      </a:br>
                      <a:r>
                        <a:rPr lang="en-GB" sz="1200" b="1" dirty="0">
                          <a:solidFill>
                            <a:schemeClr val="bg1"/>
                          </a:solidFill>
                        </a:rPr>
                        <a:t>standar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err="1">
                          <a:solidFill>
                            <a:schemeClr val="bg1"/>
                          </a:solidFill>
                        </a:rPr>
                        <a:t>EnergX</a:t>
                      </a:r>
                      <a:r>
                        <a:rPr lang="en-GB" sz="1200" b="1" dirty="0">
                          <a:solidFill>
                            <a:schemeClr val="bg1"/>
                          </a:solidFill>
                        </a:rPr>
                        <a:t> ULTR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715120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r>
                        <a:rPr lang="en-GB" sz="1200" dirty="0"/>
                        <a:t>Part thicknes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8A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/>
                        <a:t>10 m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/>
                        <a:t>10 m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alpha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7357493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r>
                        <a:rPr lang="en-GB" sz="1200" dirty="0"/>
                        <a:t>Curing condition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8A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/>
                        <a:t>10 min </a:t>
                      </a:r>
                    </a:p>
                    <a:p>
                      <a:pPr algn="ctr"/>
                      <a:r>
                        <a:rPr lang="en-GB" sz="1200" dirty="0"/>
                        <a:t>180°C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/>
                        <a:t>10 min</a:t>
                      </a:r>
                    </a:p>
                    <a:p>
                      <a:pPr algn="ctr"/>
                      <a:r>
                        <a:rPr lang="en-GB" sz="1200" dirty="0"/>
                        <a:t>160°C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alpha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8338311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r>
                        <a:rPr lang="en-GB" sz="1200" dirty="0"/>
                        <a:t>Oven temperatur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8A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>
                          <a:solidFill>
                            <a:schemeClr val="accent5"/>
                          </a:solidFill>
                        </a:rPr>
                        <a:t>230°C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>
                          <a:solidFill>
                            <a:schemeClr val="accent4"/>
                          </a:solidFill>
                        </a:rPr>
                        <a:t>202°C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alpha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0154103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r>
                        <a:rPr lang="en-GB" sz="1200" dirty="0"/>
                        <a:t>Target object temperature afte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8A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>
                          <a:solidFill>
                            <a:schemeClr val="tx1"/>
                          </a:solidFill>
                        </a:rPr>
                        <a:t>26 mi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>
                          <a:solidFill>
                            <a:schemeClr val="tx1"/>
                          </a:solidFill>
                        </a:rPr>
                        <a:t>26 mi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alpha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6789755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r>
                        <a:rPr lang="en-GB" sz="1200" dirty="0"/>
                        <a:t>Dwell time at target object temperatur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8A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10 mi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10 mi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alpha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6357230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r>
                        <a:rPr lang="en-GB" sz="1200" dirty="0"/>
                        <a:t>Object completely cured afte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8A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>
                          <a:solidFill>
                            <a:schemeClr val="tx1"/>
                          </a:solidFill>
                        </a:rPr>
                        <a:t>36 mi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>
                          <a:solidFill>
                            <a:schemeClr val="tx1"/>
                          </a:solidFill>
                        </a:rPr>
                        <a:t>36 mi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alpha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8539911"/>
                  </a:ext>
                </a:extLst>
              </a:tr>
            </a:tbl>
          </a:graphicData>
        </a:graphic>
      </p:graphicFrame>
      <p:grpSp>
        <p:nvGrpSpPr>
          <p:cNvPr id="2" name="Group 1">
            <a:extLst>
              <a:ext uri="{FF2B5EF4-FFF2-40B4-BE49-F238E27FC236}">
                <a16:creationId xmlns:a16="http://schemas.microsoft.com/office/drawing/2014/main" id="{9D8025C0-A385-1349-9A1E-58FBCFB1460D}"/>
              </a:ext>
            </a:extLst>
          </p:cNvPr>
          <p:cNvGrpSpPr/>
          <p:nvPr/>
        </p:nvGrpSpPr>
        <p:grpSpPr>
          <a:xfrm>
            <a:off x="7909905" y="4873406"/>
            <a:ext cx="907462" cy="907462"/>
            <a:chOff x="7909905" y="4873406"/>
            <a:chExt cx="992370" cy="992370"/>
          </a:xfrm>
        </p:grpSpPr>
        <p:sp>
          <p:nvSpPr>
            <p:cNvPr id="7" name="Ellipse 6">
              <a:extLst>
                <a:ext uri="{FF2B5EF4-FFF2-40B4-BE49-F238E27FC236}">
                  <a16:creationId xmlns:a16="http://schemas.microsoft.com/office/drawing/2014/main" id="{A36808AB-D60E-4F19-B478-22D2535C1BA0}"/>
                </a:ext>
              </a:extLst>
            </p:cNvPr>
            <p:cNvSpPr/>
            <p:nvPr/>
          </p:nvSpPr>
          <p:spPr>
            <a:xfrm>
              <a:off x="7909905" y="4873406"/>
              <a:ext cx="992370" cy="992370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23" name="Grafik 22" descr="Offene Hand mit Pflanze">
              <a:extLst>
                <a:ext uri="{FF2B5EF4-FFF2-40B4-BE49-F238E27FC236}">
                  <a16:creationId xmlns:a16="http://schemas.microsoft.com/office/drawing/2014/main" id="{ED7F2A8F-8A23-4959-A911-8E1F98C652F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8028123" y="4965635"/>
              <a:ext cx="748692" cy="748692"/>
            </a:xfrm>
            <a:prstGeom prst="rect">
              <a:avLst/>
            </a:prstGeom>
          </p:spPr>
        </p:pic>
      </p:grp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E22A10A0-7A7E-48D4-BD57-B85E70282F9F}"/>
              </a:ext>
            </a:extLst>
          </p:cNvPr>
          <p:cNvCxnSpPr/>
          <p:nvPr/>
        </p:nvCxnSpPr>
        <p:spPr>
          <a:xfrm flipH="1">
            <a:off x="3729432" y="2464767"/>
            <a:ext cx="0" cy="2556000"/>
          </a:xfrm>
          <a:prstGeom prst="line">
            <a:avLst/>
          </a:prstGeom>
          <a:ln w="254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0">
                  <a:schemeClr val="accent1"/>
                </a:gs>
                <a:gs pos="94864">
                  <a:srgbClr val="3EC7F4"/>
                </a:gs>
                <a:gs pos="52000">
                  <a:schemeClr val="accent2"/>
                </a:gs>
                <a:gs pos="100000">
                  <a:schemeClr val="accent2"/>
                </a:gs>
              </a:gsLst>
              <a:lin ang="5400000" scaled="1"/>
            </a:gra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feld 3">
            <a:extLst>
              <a:ext uri="{FF2B5EF4-FFF2-40B4-BE49-F238E27FC236}">
                <a16:creationId xmlns:a16="http://schemas.microsoft.com/office/drawing/2014/main" id="{393711A0-385D-4F84-924E-038A44423B22}"/>
              </a:ext>
            </a:extLst>
          </p:cNvPr>
          <p:cNvSpPr txBox="1"/>
          <p:nvPr/>
        </p:nvSpPr>
        <p:spPr>
          <a:xfrm>
            <a:off x="3575536" y="5048600"/>
            <a:ext cx="324044" cy="2182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non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100" b="1" dirty="0">
                <a:solidFill>
                  <a:schemeClr val="accent1"/>
                </a:solidFill>
              </a:rPr>
              <a:t>26</a:t>
            </a:r>
          </a:p>
        </p:txBody>
      </p:sp>
      <p:sp>
        <p:nvSpPr>
          <p:cNvPr id="31" name="Textfeld 3">
            <a:extLst>
              <a:ext uri="{FF2B5EF4-FFF2-40B4-BE49-F238E27FC236}">
                <a16:creationId xmlns:a16="http://schemas.microsoft.com/office/drawing/2014/main" id="{863E943B-2E34-4769-AAB6-8E3CBBC23BA4}"/>
              </a:ext>
            </a:extLst>
          </p:cNvPr>
          <p:cNvSpPr txBox="1"/>
          <p:nvPr/>
        </p:nvSpPr>
        <p:spPr>
          <a:xfrm>
            <a:off x="4499844" y="5045524"/>
            <a:ext cx="522814" cy="2182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non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100" b="1" dirty="0">
                <a:solidFill>
                  <a:schemeClr val="accent1"/>
                </a:solidFill>
              </a:rPr>
              <a:t>36</a:t>
            </a:r>
          </a:p>
        </p:txBody>
      </p:sp>
      <p:sp>
        <p:nvSpPr>
          <p:cNvPr id="36" name="Textfeld 3">
            <a:extLst>
              <a:ext uri="{FF2B5EF4-FFF2-40B4-BE49-F238E27FC236}">
                <a16:creationId xmlns:a16="http://schemas.microsoft.com/office/drawing/2014/main" id="{82D3960F-C1F0-49BE-BB7B-1E3CBA58A28F}"/>
              </a:ext>
            </a:extLst>
          </p:cNvPr>
          <p:cNvSpPr txBox="1"/>
          <p:nvPr/>
        </p:nvSpPr>
        <p:spPr>
          <a:xfrm>
            <a:off x="933890" y="1818887"/>
            <a:ext cx="3285459" cy="406463"/>
          </a:xfrm>
          <a:prstGeom prst="rect">
            <a:avLst/>
          </a:prstGeom>
          <a:ln>
            <a:noFill/>
          </a:ln>
        </p:spPr>
        <p:txBody>
          <a:bodyPr wrap="none" rtlCol="0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000" b="0" dirty="0">
                <a:solidFill>
                  <a:schemeClr val="accent4"/>
                </a:solidFill>
              </a:rPr>
              <a:t>oven temperature max. 202°C</a:t>
            </a:r>
          </a:p>
        </p:txBody>
      </p:sp>
      <p:sp>
        <p:nvSpPr>
          <p:cNvPr id="37" name="Textfeld 3">
            <a:extLst>
              <a:ext uri="{FF2B5EF4-FFF2-40B4-BE49-F238E27FC236}">
                <a16:creationId xmlns:a16="http://schemas.microsoft.com/office/drawing/2014/main" id="{F3A31D92-1F50-4E4B-815F-077AC83BCDA0}"/>
              </a:ext>
            </a:extLst>
          </p:cNvPr>
          <p:cNvSpPr txBox="1"/>
          <p:nvPr/>
        </p:nvSpPr>
        <p:spPr>
          <a:xfrm>
            <a:off x="933888" y="1425540"/>
            <a:ext cx="3285459" cy="406463"/>
          </a:xfrm>
          <a:prstGeom prst="rect">
            <a:avLst/>
          </a:prstGeom>
          <a:ln>
            <a:noFill/>
          </a:ln>
        </p:spPr>
        <p:txBody>
          <a:bodyPr wrap="none" rtlCol="0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000" b="0" dirty="0">
                <a:solidFill>
                  <a:schemeClr val="accent5"/>
                </a:solidFill>
              </a:rPr>
              <a:t>oven temperature max. 230°C</a:t>
            </a:r>
          </a:p>
        </p:txBody>
      </p: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0550103D-5824-4AAC-AC1B-57471338E6F5}"/>
              </a:ext>
            </a:extLst>
          </p:cNvPr>
          <p:cNvCxnSpPr/>
          <p:nvPr/>
        </p:nvCxnSpPr>
        <p:spPr>
          <a:xfrm flipH="1">
            <a:off x="4759525" y="2156210"/>
            <a:ext cx="0" cy="2880000"/>
          </a:xfrm>
          <a:prstGeom prst="line">
            <a:avLst/>
          </a:prstGeom>
          <a:ln w="2540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0">
                  <a:schemeClr val="accent1"/>
                </a:gs>
                <a:gs pos="94864">
                  <a:srgbClr val="3EC7F4"/>
                </a:gs>
                <a:gs pos="52000">
                  <a:schemeClr val="accent2"/>
                </a:gs>
                <a:gs pos="100000">
                  <a:schemeClr val="accent2"/>
                </a:gs>
              </a:gsLst>
              <a:lin ang="5400000" scaled="1"/>
            </a:gra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51425561-B3E3-4773-B516-9D3B557EE0A9}"/>
              </a:ext>
            </a:extLst>
          </p:cNvPr>
          <p:cNvCxnSpPr>
            <a:cxnSpLocks/>
          </p:cNvCxnSpPr>
          <p:nvPr/>
        </p:nvCxnSpPr>
        <p:spPr>
          <a:xfrm>
            <a:off x="1041991" y="2464767"/>
            <a:ext cx="2687441" cy="0"/>
          </a:xfrm>
          <a:prstGeom prst="line">
            <a:avLst/>
          </a:prstGeom>
          <a:ln w="25400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feld 3">
            <a:extLst>
              <a:ext uri="{FF2B5EF4-FFF2-40B4-BE49-F238E27FC236}">
                <a16:creationId xmlns:a16="http://schemas.microsoft.com/office/drawing/2014/main" id="{AE6EFC84-6615-4D04-830B-2E08F7AC5D91}"/>
              </a:ext>
            </a:extLst>
          </p:cNvPr>
          <p:cNvSpPr txBox="1"/>
          <p:nvPr/>
        </p:nvSpPr>
        <p:spPr>
          <a:xfrm>
            <a:off x="1817226" y="2331887"/>
            <a:ext cx="522814" cy="265759"/>
          </a:xfrm>
          <a:prstGeom prst="rect">
            <a:avLst/>
          </a:prstGeom>
          <a:solidFill>
            <a:schemeClr val="bg1"/>
          </a:solidFill>
        </p:spPr>
        <p:txBody>
          <a:bodyPr wrap="non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de-DE" sz="1100" b="1" dirty="0">
                <a:solidFill>
                  <a:schemeClr val="accent1"/>
                </a:solidFill>
              </a:rPr>
              <a:t>180°C</a:t>
            </a:r>
          </a:p>
        </p:txBody>
      </p: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6E896BA9-9FCA-4F40-9989-C34D92588527}"/>
              </a:ext>
            </a:extLst>
          </p:cNvPr>
          <p:cNvCxnSpPr>
            <a:cxnSpLocks/>
          </p:cNvCxnSpPr>
          <p:nvPr/>
        </p:nvCxnSpPr>
        <p:spPr>
          <a:xfrm>
            <a:off x="1041991" y="2761489"/>
            <a:ext cx="2687441" cy="0"/>
          </a:xfrm>
          <a:prstGeom prst="line">
            <a:avLst/>
          </a:prstGeom>
          <a:ln w="25400">
            <a:solidFill>
              <a:schemeClr val="accent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feld 3">
            <a:extLst>
              <a:ext uri="{FF2B5EF4-FFF2-40B4-BE49-F238E27FC236}">
                <a16:creationId xmlns:a16="http://schemas.microsoft.com/office/drawing/2014/main" id="{096F1B12-CC76-488D-93B1-C0EE49EC4539}"/>
              </a:ext>
            </a:extLst>
          </p:cNvPr>
          <p:cNvSpPr txBox="1"/>
          <p:nvPr/>
        </p:nvSpPr>
        <p:spPr>
          <a:xfrm>
            <a:off x="1817226" y="2628609"/>
            <a:ext cx="522814" cy="265759"/>
          </a:xfrm>
          <a:prstGeom prst="rect">
            <a:avLst/>
          </a:prstGeom>
          <a:solidFill>
            <a:schemeClr val="bg1"/>
          </a:solidFill>
        </p:spPr>
        <p:txBody>
          <a:bodyPr wrap="non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de-DE" sz="1100" b="1" dirty="0">
                <a:solidFill>
                  <a:schemeClr val="accent2"/>
                </a:solidFill>
              </a:rPr>
              <a:t>160°C</a:t>
            </a:r>
          </a:p>
        </p:txBody>
      </p:sp>
      <p:sp>
        <p:nvSpPr>
          <p:cNvPr id="45" name="Pfeil: nach rechts 44">
            <a:extLst>
              <a:ext uri="{FF2B5EF4-FFF2-40B4-BE49-F238E27FC236}">
                <a16:creationId xmlns:a16="http://schemas.microsoft.com/office/drawing/2014/main" id="{B8E104A0-BB69-4921-B5C4-016EF9E008B8}"/>
              </a:ext>
            </a:extLst>
          </p:cNvPr>
          <p:cNvSpPr/>
          <p:nvPr/>
        </p:nvSpPr>
        <p:spPr>
          <a:xfrm>
            <a:off x="3781962" y="3566167"/>
            <a:ext cx="925033" cy="435934"/>
          </a:xfrm>
          <a:prstGeom prst="rightArrow">
            <a:avLst/>
          </a:prstGeom>
          <a:gradFill flip="none" rotWithShape="1">
            <a:gsLst>
              <a:gs pos="0">
                <a:schemeClr val="accent1">
                  <a:lumMod val="5000"/>
                  <a:lumOff val="95000"/>
                </a:schemeClr>
              </a:gs>
              <a:gs pos="66000">
                <a:schemeClr val="bg2">
                  <a:lumMod val="65000"/>
                </a:schemeClr>
              </a:gs>
              <a:gs pos="84000">
                <a:schemeClr val="tx1">
                  <a:lumMod val="50000"/>
                  <a:lumOff val="50000"/>
                </a:schemeClr>
              </a:gs>
              <a:gs pos="100000">
                <a:schemeClr val="tx2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dirty="0">
                <a:solidFill>
                  <a:schemeClr val="tx1"/>
                </a:solidFill>
              </a:rPr>
              <a:t>10 min</a:t>
            </a:r>
          </a:p>
        </p:txBody>
      </p:sp>
      <p:sp>
        <p:nvSpPr>
          <p:cNvPr id="46" name="Pfeil: nach rechts 45">
            <a:extLst>
              <a:ext uri="{FF2B5EF4-FFF2-40B4-BE49-F238E27FC236}">
                <a16:creationId xmlns:a16="http://schemas.microsoft.com/office/drawing/2014/main" id="{FFEBC5C1-CFDA-410F-82CC-21EB07CD538D}"/>
              </a:ext>
            </a:extLst>
          </p:cNvPr>
          <p:cNvSpPr/>
          <p:nvPr/>
        </p:nvSpPr>
        <p:spPr>
          <a:xfrm rot="16200000" flipH="1">
            <a:off x="3965071" y="1490622"/>
            <a:ext cx="475426" cy="832632"/>
          </a:xfrm>
          <a:prstGeom prst="rightArrow">
            <a:avLst/>
          </a:prstGeom>
          <a:gradFill flip="none" rotWithShape="1">
            <a:gsLst>
              <a:gs pos="0">
                <a:srgbClr val="E5F7EC"/>
              </a:gs>
              <a:gs pos="3000">
                <a:srgbClr val="E5F7EC"/>
              </a:gs>
              <a:gs pos="85000">
                <a:schemeClr val="accent4"/>
              </a:gs>
              <a:gs pos="100000">
                <a:schemeClr val="accent4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" rtlCol="0" anchor="t"/>
          <a:lstStyle/>
          <a:p>
            <a:pPr algn="ctr"/>
            <a:r>
              <a:rPr lang="en-GB" sz="1100" b="1" dirty="0">
                <a:solidFill>
                  <a:schemeClr val="bg1"/>
                </a:solidFill>
              </a:rPr>
              <a:t>-28 °C</a:t>
            </a:r>
          </a:p>
        </p:txBody>
      </p:sp>
      <p:sp>
        <p:nvSpPr>
          <p:cNvPr id="29" name="Rechteck 9">
            <a:extLst>
              <a:ext uri="{FF2B5EF4-FFF2-40B4-BE49-F238E27FC236}">
                <a16:creationId xmlns:a16="http://schemas.microsoft.com/office/drawing/2014/main" id="{5D207FB3-3A9D-A444-8365-95EE58E232D6}"/>
              </a:ext>
            </a:extLst>
          </p:cNvPr>
          <p:cNvSpPr/>
          <p:nvPr/>
        </p:nvSpPr>
        <p:spPr>
          <a:xfrm>
            <a:off x="9172876" y="4873406"/>
            <a:ext cx="2519760" cy="907462"/>
          </a:xfrm>
          <a:prstGeom prst="rect">
            <a:avLst/>
          </a:prstGeom>
          <a:solidFill>
            <a:srgbClr val="00B149">
              <a:alpha val="10196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" name="Rechteck 10">
            <a:extLst>
              <a:ext uri="{FF2B5EF4-FFF2-40B4-BE49-F238E27FC236}">
                <a16:creationId xmlns:a16="http://schemas.microsoft.com/office/drawing/2014/main" id="{EA891D0A-1ECF-F74D-A8C2-2095A49E4B9A}"/>
              </a:ext>
            </a:extLst>
          </p:cNvPr>
          <p:cNvSpPr/>
          <p:nvPr/>
        </p:nvSpPr>
        <p:spPr>
          <a:xfrm>
            <a:off x="9172876" y="4896653"/>
            <a:ext cx="2519760" cy="8438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lvl="0" algn="ctr" defTabSz="914400">
              <a:spcBef>
                <a:spcPts val="100"/>
              </a:spcBef>
              <a:defRPr/>
            </a:pPr>
            <a:r>
              <a:rPr lang="en-US" sz="1600" b="1" dirty="0">
                <a:solidFill>
                  <a:prstClr val="black"/>
                </a:solidFill>
                <a:cs typeface="Arial"/>
              </a:rPr>
              <a:t>Savings </a:t>
            </a:r>
            <a:r>
              <a:rPr lang="en-US" sz="1600" b="1" dirty="0">
                <a:solidFill>
                  <a:srgbClr val="00AF50"/>
                </a:solidFill>
                <a:cs typeface="Arial"/>
              </a:rPr>
              <a:t>-</a:t>
            </a:r>
            <a:r>
              <a:rPr lang="en-US" sz="1600" b="1" spc="-30" dirty="0">
                <a:solidFill>
                  <a:srgbClr val="00AF50"/>
                </a:solidFill>
                <a:cs typeface="Arial"/>
              </a:rPr>
              <a:t> </a:t>
            </a:r>
            <a:r>
              <a:rPr lang="en-US" sz="1600" b="1" spc="-5" dirty="0">
                <a:solidFill>
                  <a:srgbClr val="00AF50"/>
                </a:solidFill>
                <a:cs typeface="Arial"/>
              </a:rPr>
              <a:t>28ºC</a:t>
            </a:r>
            <a:r>
              <a:rPr lang="en-US" sz="1600" b="1" spc="-30" dirty="0">
                <a:solidFill>
                  <a:srgbClr val="00AF50"/>
                </a:solidFill>
                <a:cs typeface="Arial"/>
              </a:rPr>
              <a:t> </a:t>
            </a:r>
          </a:p>
          <a:p>
            <a:pPr marL="12700" lvl="0" algn="ctr" defTabSz="914400">
              <a:spcBef>
                <a:spcPts val="100"/>
              </a:spcBef>
              <a:defRPr/>
            </a:pPr>
            <a:r>
              <a:rPr lang="en-US" sz="1600" dirty="0">
                <a:solidFill>
                  <a:srgbClr val="00AF50"/>
                </a:solidFill>
                <a:cs typeface="Arial"/>
              </a:rPr>
              <a:t>~</a:t>
            </a:r>
            <a:r>
              <a:rPr lang="en-US" sz="1600" spc="-5" dirty="0">
                <a:solidFill>
                  <a:srgbClr val="00AF50"/>
                </a:solidFill>
                <a:cs typeface="Arial"/>
              </a:rPr>
              <a:t>12%</a:t>
            </a:r>
            <a:r>
              <a:rPr lang="en-US" sz="1600" spc="-15" dirty="0">
                <a:solidFill>
                  <a:srgbClr val="00AF50"/>
                </a:solidFill>
                <a:cs typeface="Arial"/>
              </a:rPr>
              <a:t> </a:t>
            </a:r>
            <a:r>
              <a:rPr lang="en-US" sz="1600" spc="-5" dirty="0">
                <a:solidFill>
                  <a:srgbClr val="00AF50"/>
                </a:solidFill>
                <a:cs typeface="Arial"/>
              </a:rPr>
              <a:t>reduction</a:t>
            </a:r>
            <a:r>
              <a:rPr lang="en-US" sz="1600" spc="10" dirty="0">
                <a:solidFill>
                  <a:srgbClr val="00AF50"/>
                </a:solidFill>
                <a:cs typeface="Arial"/>
              </a:rPr>
              <a:t> </a:t>
            </a:r>
            <a:br>
              <a:rPr lang="en-US" sz="1600" spc="10" dirty="0">
                <a:solidFill>
                  <a:srgbClr val="00AF50"/>
                </a:solidFill>
                <a:cs typeface="Arial"/>
              </a:rPr>
            </a:br>
            <a:r>
              <a:rPr lang="en-US" sz="1600" spc="-5" dirty="0">
                <a:solidFill>
                  <a:srgbClr val="00AF50"/>
                </a:solidFill>
                <a:cs typeface="Arial"/>
              </a:rPr>
              <a:t>of</a:t>
            </a:r>
            <a:r>
              <a:rPr lang="en-US" sz="1600" spc="-20" dirty="0">
                <a:solidFill>
                  <a:srgbClr val="00AF50"/>
                </a:solidFill>
                <a:cs typeface="Arial"/>
              </a:rPr>
              <a:t> </a:t>
            </a:r>
            <a:r>
              <a:rPr lang="en-US" sz="1600" spc="-5" dirty="0">
                <a:solidFill>
                  <a:srgbClr val="00AF50"/>
                </a:solidFill>
                <a:cs typeface="Arial"/>
              </a:rPr>
              <a:t>oven </a:t>
            </a:r>
            <a:r>
              <a:rPr lang="en-US" sz="1600" dirty="0">
                <a:solidFill>
                  <a:srgbClr val="00AF50"/>
                </a:solidFill>
                <a:cs typeface="Arial"/>
              </a:rPr>
              <a:t>temperature</a:t>
            </a:r>
            <a:endParaRPr lang="en-US" sz="1600" dirty="0">
              <a:solidFill>
                <a:prstClr val="black"/>
              </a:solidFill>
              <a:cs typeface="Arial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CF6A4BFA-2D45-629C-B207-743870A79CC6}"/>
              </a:ext>
            </a:extLst>
          </p:cNvPr>
          <p:cNvGrpSpPr/>
          <p:nvPr/>
        </p:nvGrpSpPr>
        <p:grpSpPr>
          <a:xfrm>
            <a:off x="321503" y="1320800"/>
            <a:ext cx="7191380" cy="4851400"/>
            <a:chOff x="321503" y="1320800"/>
            <a:chExt cx="7191380" cy="4851400"/>
          </a:xfrm>
        </p:grpSpPr>
        <p:graphicFrame>
          <p:nvGraphicFramePr>
            <p:cNvPr id="25" name="Diagramm 24">
              <a:extLst>
                <a:ext uri="{FF2B5EF4-FFF2-40B4-BE49-F238E27FC236}">
                  <a16:creationId xmlns:a16="http://schemas.microsoft.com/office/drawing/2014/main" id="{FA4D4DA7-D6F3-48B1-9F9F-F3100FBA7FE3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3019107750"/>
                </p:ext>
              </p:extLst>
            </p:nvPr>
          </p:nvGraphicFramePr>
          <p:xfrm>
            <a:off x="321503" y="1320800"/>
            <a:ext cx="7191380" cy="485140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5"/>
            </a:graphicData>
          </a:graphic>
        </p:graphicFrame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262FD0B7-599B-276D-898E-F0A2724B3FD6}"/>
                </a:ext>
              </a:extLst>
            </p:cNvPr>
            <p:cNvSpPr txBox="1"/>
            <p:nvPr/>
          </p:nvSpPr>
          <p:spPr>
            <a:xfrm>
              <a:off x="5196429" y="5904014"/>
              <a:ext cx="2184087" cy="246221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rtlCol="0">
              <a:spAutoFit/>
            </a:bodyPr>
            <a:lstStyle/>
            <a:p>
              <a:r>
                <a:rPr lang="it-IT" sz="1000" dirty="0" err="1">
                  <a:solidFill>
                    <a:srgbClr val="343434"/>
                  </a:solidFill>
                </a:rPr>
                <a:t>EnergX</a:t>
              </a:r>
              <a:r>
                <a:rPr lang="it-IT" sz="1000" dirty="0">
                  <a:solidFill>
                    <a:srgbClr val="343434"/>
                  </a:solidFill>
                </a:rPr>
                <a:t> ULTRA (</a:t>
              </a:r>
              <a:r>
                <a:rPr lang="it-IT" sz="1000" dirty="0" err="1">
                  <a:solidFill>
                    <a:srgbClr val="343434"/>
                  </a:solidFill>
                </a:rPr>
                <a:t>oven</a:t>
              </a:r>
              <a:r>
                <a:rPr lang="it-IT" sz="1000" dirty="0">
                  <a:solidFill>
                    <a:srgbClr val="343434"/>
                  </a:solidFill>
                </a:rPr>
                <a:t> 202°C)</a:t>
              </a:r>
              <a:endParaRPr lang="en-US" sz="1000" dirty="0">
                <a:solidFill>
                  <a:srgbClr val="34343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6471754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 curing window with high process stability</a:t>
            </a:r>
            <a:endParaRPr lang="pl-PL" dirty="0"/>
          </a:p>
        </p:txBody>
      </p:sp>
      <p:sp>
        <p:nvSpPr>
          <p:cNvPr id="44" name="Content Placeholder 10">
            <a:extLst>
              <a:ext uri="{FF2B5EF4-FFF2-40B4-BE49-F238E27FC236}">
                <a16:creationId xmlns:a16="http://schemas.microsoft.com/office/drawing/2014/main" id="{DF0BA817-1283-45E1-8EE0-6975A8F74379}"/>
              </a:ext>
            </a:extLst>
          </p:cNvPr>
          <p:cNvSpPr txBox="1">
            <a:spLocks/>
          </p:cNvSpPr>
          <p:nvPr/>
        </p:nvSpPr>
        <p:spPr>
          <a:xfrm>
            <a:off x="6239703" y="2140449"/>
            <a:ext cx="4641645" cy="279260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33293" indent="-233293" algn="l" defTabSz="457063" rtl="0" eaLnBrk="1" latinLnBrk="0" hangingPunct="1">
              <a:spcBef>
                <a:spcPts val="528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399" b="0" kern="1200">
                <a:solidFill>
                  <a:schemeClr val="tx1"/>
                </a:solidFill>
                <a:latin typeface="+mn-lt"/>
                <a:ea typeface="+mn-ea"/>
                <a:cs typeface="Arial"/>
              </a:defRPr>
            </a:lvl1pPr>
            <a:lvl2pPr marL="339623" indent="-169812" algn="l" defTabSz="457063" rtl="0" eaLnBrk="1" latinLnBrk="0" hangingPunct="1">
              <a:spcBef>
                <a:spcPts val="528"/>
              </a:spcBef>
              <a:spcAft>
                <a:spcPts val="0"/>
              </a:spcAft>
              <a:buClr>
                <a:schemeClr val="accent1"/>
              </a:buClr>
              <a:buFont typeface="Arial"/>
              <a:buChar char="•"/>
              <a:defRPr sz="2199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509435" indent="-169812" algn="l" defTabSz="457063" rtl="0" eaLnBrk="1" latinLnBrk="0" hangingPunct="1">
              <a:spcBef>
                <a:spcPts val="528"/>
              </a:spcBef>
              <a:spcAft>
                <a:spcPts val="0"/>
              </a:spcAft>
              <a:buClr>
                <a:schemeClr val="accent1"/>
              </a:buClr>
              <a:buFont typeface="Arial"/>
              <a:buChar char="•"/>
              <a:tabLst/>
              <a:defRPr sz="1999" kern="1200">
                <a:solidFill>
                  <a:schemeClr val="tx1"/>
                </a:solidFill>
                <a:latin typeface="+mn-lt"/>
                <a:ea typeface="+mn-ea"/>
                <a:cs typeface="Arial"/>
              </a:defRPr>
            </a:lvl3pPr>
            <a:lvl4pPr marL="690356" indent="-180921" algn="l" defTabSz="457063" rtl="0" eaLnBrk="1" latinLnBrk="0" hangingPunct="1">
              <a:spcBef>
                <a:spcPts val="528"/>
              </a:spcBef>
              <a:spcAft>
                <a:spcPts val="0"/>
              </a:spcAft>
              <a:buClr>
                <a:schemeClr val="accent1"/>
              </a:buClr>
              <a:buFont typeface="Arial"/>
              <a:buChar char="•"/>
              <a:tabLst/>
              <a:defRPr sz="1799" kern="1200">
                <a:solidFill>
                  <a:schemeClr val="tx1"/>
                </a:solidFill>
                <a:latin typeface="+mn-lt"/>
                <a:ea typeface="+mn-ea"/>
                <a:cs typeface="Arial"/>
              </a:defRPr>
            </a:lvl4pPr>
            <a:lvl5pPr marL="856993" indent="-166638" algn="l" defTabSz="457063" rtl="0" eaLnBrk="1" latinLnBrk="0" hangingPunct="1">
              <a:spcBef>
                <a:spcPts val="528"/>
              </a:spcBef>
              <a:spcAft>
                <a:spcPts val="0"/>
              </a:spcAft>
              <a:buClr>
                <a:schemeClr val="accent1"/>
              </a:buClr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/>
              </a:defRPr>
            </a:lvl5pPr>
            <a:lvl6pPr marL="799860" indent="-114266" algn="l" defTabSz="457063" rtl="0" eaLnBrk="1" latinLnBrk="0" hangingPunct="1">
              <a:spcBef>
                <a:spcPts val="528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5713" indent="-115853" algn="l" defTabSz="457063" rtl="0" eaLnBrk="1" latinLnBrk="0" hangingPunct="1">
              <a:spcBef>
                <a:spcPts val="528"/>
              </a:spcBef>
              <a:spcAft>
                <a:spcPts val="0"/>
              </a:spcAft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29979" indent="-114266" algn="l" defTabSz="457063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•"/>
              <a:defRPr sz="105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198203" indent="-106331" algn="l" defTabSz="457063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•"/>
              <a:defRPr sz="105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900"/>
              </a:spcAft>
            </a:pPr>
            <a:r>
              <a:rPr lang="en-US" sz="1600" dirty="0"/>
              <a:t>High process stability </a:t>
            </a:r>
          </a:p>
          <a:p>
            <a:pPr>
              <a:spcBef>
                <a:spcPts val="0"/>
              </a:spcBef>
              <a:spcAft>
                <a:spcPts val="900"/>
              </a:spcAft>
            </a:pPr>
            <a:r>
              <a:rPr lang="en-US" sz="1600" dirty="0"/>
              <a:t>Reduced rework and reject rate</a:t>
            </a:r>
          </a:p>
          <a:p>
            <a:pPr>
              <a:spcBef>
                <a:spcPts val="0"/>
              </a:spcBef>
              <a:spcAft>
                <a:spcPts val="900"/>
              </a:spcAft>
            </a:pPr>
            <a:r>
              <a:rPr lang="en-US" sz="1600" dirty="0"/>
              <a:t>Reduced risk of over- or underbaking</a:t>
            </a:r>
          </a:p>
          <a:p>
            <a:pPr>
              <a:spcBef>
                <a:spcPts val="0"/>
              </a:spcBef>
              <a:spcAft>
                <a:spcPts val="900"/>
              </a:spcAft>
            </a:pPr>
            <a:r>
              <a:rPr lang="en-US" sz="1600" dirty="0"/>
              <a:t>Retention of important performance features, </a:t>
            </a:r>
            <a:br>
              <a:rPr lang="en-US" sz="1600" dirty="0"/>
            </a:br>
            <a:r>
              <a:rPr lang="en-US" sz="1600" dirty="0"/>
              <a:t>e.g. corrosion protection for thin- and thick-walled components</a:t>
            </a:r>
          </a:p>
          <a:p>
            <a:pPr>
              <a:spcBef>
                <a:spcPts val="0"/>
              </a:spcBef>
              <a:spcAft>
                <a:spcPts val="900"/>
              </a:spcAft>
            </a:pPr>
            <a:r>
              <a:rPr lang="en-US" sz="1600" dirty="0"/>
              <a:t>Possibility to mix different metal gages</a:t>
            </a:r>
          </a:p>
          <a:p>
            <a:pPr>
              <a:spcBef>
                <a:spcPts val="0"/>
              </a:spcBef>
              <a:spcAft>
                <a:spcPts val="900"/>
              </a:spcAft>
            </a:pPr>
            <a:r>
              <a:rPr lang="en-US" sz="1600" dirty="0"/>
              <a:t>No need to batch produce</a:t>
            </a:r>
          </a:p>
        </p:txBody>
      </p:sp>
      <p:sp>
        <p:nvSpPr>
          <p:cNvPr id="14" name="Slide Number Placeholder 2">
            <a:extLst>
              <a:ext uri="{FF2B5EF4-FFF2-40B4-BE49-F238E27FC236}">
                <a16:creationId xmlns:a16="http://schemas.microsoft.com/office/drawing/2014/main" id="{7F7D7349-C2F7-F445-88DC-D8938960ACAC}"/>
              </a:ext>
            </a:extLst>
          </p:cNvPr>
          <p:cNvSpPr txBox="1">
            <a:spLocks/>
          </p:cNvSpPr>
          <p:nvPr/>
        </p:nvSpPr>
        <p:spPr>
          <a:xfrm>
            <a:off x="321503" y="6496407"/>
            <a:ext cx="455756" cy="17222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chemeClr val="tx2"/>
                </a:solidFill>
                <a:latin typeface="+mn-lt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666666"/>
                </a:solidFill>
                <a:latin typeface="Arial" panose="020B0604020202020204"/>
              </a:rPr>
              <a:t>21</a:t>
            </a:r>
          </a:p>
        </p:txBody>
      </p: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CD654035-BC38-B14F-AD0F-96617E608D5A}"/>
              </a:ext>
            </a:extLst>
          </p:cNvPr>
          <p:cNvSpPr txBox="1">
            <a:spLocks/>
          </p:cNvSpPr>
          <p:nvPr/>
        </p:nvSpPr>
        <p:spPr>
          <a:xfrm>
            <a:off x="763811" y="6496407"/>
            <a:ext cx="9460550" cy="17222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chemeClr val="tx2"/>
                </a:solidFill>
                <a:latin typeface="+mn-lt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666666"/>
                </a:solidFill>
                <a:latin typeface="Arial" panose="020B0604020202020204"/>
              </a:rPr>
              <a:t>Powder Coatings from PPG ©2023 PPG Industries, Inc. All rights reserved</a:t>
            </a:r>
          </a:p>
        </p:txBody>
      </p:sp>
      <p:sp>
        <p:nvSpPr>
          <p:cNvPr id="19" name="Freeform 18">
            <a:extLst>
              <a:ext uri="{FF2B5EF4-FFF2-40B4-BE49-F238E27FC236}">
                <a16:creationId xmlns:a16="http://schemas.microsoft.com/office/drawing/2014/main" id="{9CE4B976-BF6C-3541-A984-3D6DC04AF19D}"/>
              </a:ext>
            </a:extLst>
          </p:cNvPr>
          <p:cNvSpPr/>
          <p:nvPr/>
        </p:nvSpPr>
        <p:spPr>
          <a:xfrm>
            <a:off x="6239703" y="1361508"/>
            <a:ext cx="2640137" cy="497994"/>
          </a:xfrm>
          <a:custGeom>
            <a:avLst/>
            <a:gdLst>
              <a:gd name="connsiteX0" fmla="*/ 0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0 w 2676588"/>
              <a:gd name="connsiteY4" fmla="*/ 0 h 363338"/>
              <a:gd name="connsiteX0" fmla="*/ 888545 w 2676588"/>
              <a:gd name="connsiteY0" fmla="*/ 0 h 363338"/>
              <a:gd name="connsiteX1" fmla="*/ 2676588 w 2676588"/>
              <a:gd name="connsiteY1" fmla="*/ 0 h 363338"/>
              <a:gd name="connsiteX2" fmla="*/ 2488864 w 2676588"/>
              <a:gd name="connsiteY2" fmla="*/ 363338 h 363338"/>
              <a:gd name="connsiteX3" fmla="*/ 0 w 2676588"/>
              <a:gd name="connsiteY3" fmla="*/ 363338 h 363338"/>
              <a:gd name="connsiteX4" fmla="*/ 888545 w 2676588"/>
              <a:gd name="connsiteY4" fmla="*/ 0 h 363338"/>
              <a:gd name="connsiteX0" fmla="*/ 0 w 1788043"/>
              <a:gd name="connsiteY0" fmla="*/ 0 h 363338"/>
              <a:gd name="connsiteX1" fmla="*/ 1788043 w 1788043"/>
              <a:gd name="connsiteY1" fmla="*/ 0 h 363338"/>
              <a:gd name="connsiteX2" fmla="*/ 1600319 w 1788043"/>
              <a:gd name="connsiteY2" fmla="*/ 363338 h 363338"/>
              <a:gd name="connsiteX3" fmla="*/ 0 w 1788043"/>
              <a:gd name="connsiteY3" fmla="*/ 363338 h 363338"/>
              <a:gd name="connsiteX4" fmla="*/ 0 w 1788043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138221 w 1926264"/>
              <a:gd name="connsiteY3" fmla="*/ 363338 h 363338"/>
              <a:gd name="connsiteX4" fmla="*/ 0 w 1926264"/>
              <a:gd name="connsiteY4" fmla="*/ 0 h 363338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6284 w 1926264"/>
              <a:gd name="connsiteY3" fmla="*/ 363338 h 363338"/>
              <a:gd name="connsiteX4" fmla="*/ 0 w 1926264"/>
              <a:gd name="connsiteY4" fmla="*/ 0 h 363338"/>
              <a:gd name="connsiteX0" fmla="*/ 43978 w 1970242"/>
              <a:gd name="connsiteY0" fmla="*/ 0 h 363338"/>
              <a:gd name="connsiteX1" fmla="*/ 1970242 w 1970242"/>
              <a:gd name="connsiteY1" fmla="*/ 0 h 363338"/>
              <a:gd name="connsiteX2" fmla="*/ 1782518 w 1970242"/>
              <a:gd name="connsiteY2" fmla="*/ 363338 h 363338"/>
              <a:gd name="connsiteX3" fmla="*/ 0 w 1970242"/>
              <a:gd name="connsiteY3" fmla="*/ 363338 h 363338"/>
              <a:gd name="connsiteX4" fmla="*/ 43978 w 1970242"/>
              <a:gd name="connsiteY4" fmla="*/ 0 h 363338"/>
              <a:gd name="connsiteX0" fmla="*/ 0 w 1926264"/>
              <a:gd name="connsiteY0" fmla="*/ 0 h 369620"/>
              <a:gd name="connsiteX1" fmla="*/ 1926264 w 1926264"/>
              <a:gd name="connsiteY1" fmla="*/ 0 h 369620"/>
              <a:gd name="connsiteX2" fmla="*/ 1738540 w 1926264"/>
              <a:gd name="connsiteY2" fmla="*/ 363338 h 369620"/>
              <a:gd name="connsiteX3" fmla="*/ 6284 w 1926264"/>
              <a:gd name="connsiteY3" fmla="*/ 369620 h 369620"/>
              <a:gd name="connsiteX4" fmla="*/ 0 w 1926264"/>
              <a:gd name="connsiteY4" fmla="*/ 0 h 369620"/>
              <a:gd name="connsiteX0" fmla="*/ 6281 w 1932545"/>
              <a:gd name="connsiteY0" fmla="*/ 0 h 369620"/>
              <a:gd name="connsiteX1" fmla="*/ 1932545 w 1932545"/>
              <a:gd name="connsiteY1" fmla="*/ 0 h 369620"/>
              <a:gd name="connsiteX2" fmla="*/ 1744821 w 1932545"/>
              <a:gd name="connsiteY2" fmla="*/ 363338 h 369620"/>
              <a:gd name="connsiteX3" fmla="*/ 0 w 1932545"/>
              <a:gd name="connsiteY3" fmla="*/ 369620 h 369620"/>
              <a:gd name="connsiteX4" fmla="*/ 6281 w 1932545"/>
              <a:gd name="connsiteY4" fmla="*/ 0 h 369620"/>
              <a:gd name="connsiteX0" fmla="*/ 0 w 1926264"/>
              <a:gd name="connsiteY0" fmla="*/ 0 h 363338"/>
              <a:gd name="connsiteX1" fmla="*/ 1926264 w 1926264"/>
              <a:gd name="connsiteY1" fmla="*/ 0 h 363338"/>
              <a:gd name="connsiteX2" fmla="*/ 1738540 w 1926264"/>
              <a:gd name="connsiteY2" fmla="*/ 363338 h 363338"/>
              <a:gd name="connsiteX3" fmla="*/ 25132 w 1926264"/>
              <a:gd name="connsiteY3" fmla="*/ 357055 h 363338"/>
              <a:gd name="connsiteX4" fmla="*/ 0 w 1926264"/>
              <a:gd name="connsiteY4" fmla="*/ 0 h 363338"/>
              <a:gd name="connsiteX0" fmla="*/ 12564 w 1938828"/>
              <a:gd name="connsiteY0" fmla="*/ 0 h 363338"/>
              <a:gd name="connsiteX1" fmla="*/ 1938828 w 1938828"/>
              <a:gd name="connsiteY1" fmla="*/ 0 h 363338"/>
              <a:gd name="connsiteX2" fmla="*/ 1751104 w 1938828"/>
              <a:gd name="connsiteY2" fmla="*/ 363338 h 363338"/>
              <a:gd name="connsiteX3" fmla="*/ 0 w 1938828"/>
              <a:gd name="connsiteY3" fmla="*/ 363338 h 363338"/>
              <a:gd name="connsiteX4" fmla="*/ 12564 w 1938828"/>
              <a:gd name="connsiteY4" fmla="*/ 0 h 363338"/>
              <a:gd name="connsiteX0" fmla="*/ 0 w 1926264"/>
              <a:gd name="connsiteY0" fmla="*/ 0 h 369621"/>
              <a:gd name="connsiteX1" fmla="*/ 1926264 w 1926264"/>
              <a:gd name="connsiteY1" fmla="*/ 0 h 369621"/>
              <a:gd name="connsiteX2" fmla="*/ 1738540 w 1926264"/>
              <a:gd name="connsiteY2" fmla="*/ 363338 h 369621"/>
              <a:gd name="connsiteX3" fmla="*/ 6284 w 1926264"/>
              <a:gd name="connsiteY3" fmla="*/ 369621 h 369621"/>
              <a:gd name="connsiteX4" fmla="*/ 0 w 1926264"/>
              <a:gd name="connsiteY4" fmla="*/ 0 h 369621"/>
              <a:gd name="connsiteX0" fmla="*/ 43978 w 1970242"/>
              <a:gd name="connsiteY0" fmla="*/ 0 h 363339"/>
              <a:gd name="connsiteX1" fmla="*/ 1970242 w 1970242"/>
              <a:gd name="connsiteY1" fmla="*/ 0 h 363339"/>
              <a:gd name="connsiteX2" fmla="*/ 1782518 w 1970242"/>
              <a:gd name="connsiteY2" fmla="*/ 363338 h 363339"/>
              <a:gd name="connsiteX3" fmla="*/ 0 w 1970242"/>
              <a:gd name="connsiteY3" fmla="*/ 363339 h 363339"/>
              <a:gd name="connsiteX4" fmla="*/ 43978 w 1970242"/>
              <a:gd name="connsiteY4" fmla="*/ 0 h 363339"/>
              <a:gd name="connsiteX0" fmla="*/ 0 w 1926264"/>
              <a:gd name="connsiteY0" fmla="*/ 0 h 363339"/>
              <a:gd name="connsiteX1" fmla="*/ 1926264 w 1926264"/>
              <a:gd name="connsiteY1" fmla="*/ 0 h 363339"/>
              <a:gd name="connsiteX2" fmla="*/ 1738540 w 1926264"/>
              <a:gd name="connsiteY2" fmla="*/ 363338 h 363339"/>
              <a:gd name="connsiteX3" fmla="*/ 1 w 1926264"/>
              <a:gd name="connsiteY3" fmla="*/ 363339 h 363339"/>
              <a:gd name="connsiteX4" fmla="*/ 0 w 1926264"/>
              <a:gd name="connsiteY4" fmla="*/ 0 h 3633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6264" h="363339">
                <a:moveTo>
                  <a:pt x="0" y="0"/>
                </a:moveTo>
                <a:lnTo>
                  <a:pt x="1926264" y="0"/>
                </a:lnTo>
                <a:lnTo>
                  <a:pt x="1738540" y="363338"/>
                </a:lnTo>
                <a:lnTo>
                  <a:pt x="1" y="363339"/>
                </a:lnTo>
                <a:cubicBezTo>
                  <a:pt x="1" y="242226"/>
                  <a:pt x="0" y="121113"/>
                  <a:pt x="0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3E31382-52F3-EC4F-A51B-3BD3F8665FC6}"/>
              </a:ext>
            </a:extLst>
          </p:cNvPr>
          <p:cNvSpPr txBox="1"/>
          <p:nvPr/>
        </p:nvSpPr>
        <p:spPr>
          <a:xfrm>
            <a:off x="6337670" y="1452159"/>
            <a:ext cx="19391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 dirty="0">
                <a:solidFill>
                  <a:schemeClr val="bg1"/>
                </a:solidFill>
              </a:rPr>
              <a:t>The Benefit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7CEF505-1336-08AD-0395-2C8FEE25D941}"/>
              </a:ext>
            </a:extLst>
          </p:cNvPr>
          <p:cNvGrpSpPr/>
          <p:nvPr/>
        </p:nvGrpSpPr>
        <p:grpSpPr>
          <a:xfrm>
            <a:off x="321503" y="1315465"/>
            <a:ext cx="5918200" cy="4711700"/>
            <a:chOff x="321503" y="1315465"/>
            <a:chExt cx="5918200" cy="4711700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B3800679-5603-A544-B0C1-C6B4E958B81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21503" y="1315465"/>
              <a:ext cx="5918200" cy="4711700"/>
            </a:xfrm>
            <a:prstGeom prst="rect">
              <a:avLst/>
            </a:prstGeom>
          </p:spPr>
        </p:pic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ED8427F5-CAD0-461F-3703-60636744474E}"/>
                </a:ext>
              </a:extLst>
            </p:cNvPr>
            <p:cNvSpPr txBox="1"/>
            <p:nvPr/>
          </p:nvSpPr>
          <p:spPr>
            <a:xfrm>
              <a:off x="1267094" y="5380422"/>
              <a:ext cx="920935" cy="246221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rIns="0" rtlCol="0">
              <a:spAutoFit/>
            </a:bodyPr>
            <a:lstStyle/>
            <a:p>
              <a:r>
                <a:rPr lang="it-IT" sz="1000" dirty="0" err="1">
                  <a:solidFill>
                    <a:srgbClr val="7D7E7F"/>
                  </a:solidFill>
                </a:rPr>
                <a:t>EnergX</a:t>
              </a:r>
              <a:r>
                <a:rPr lang="it-IT" sz="1000" dirty="0">
                  <a:solidFill>
                    <a:srgbClr val="7D7E7F"/>
                  </a:solidFill>
                </a:rPr>
                <a:t> ULTRA</a:t>
              </a:r>
              <a:endParaRPr lang="en-US" sz="1000" dirty="0">
                <a:solidFill>
                  <a:srgbClr val="7D7E7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4570994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formance features at a glance</a:t>
            </a:r>
            <a:endParaRPr lang="pl-PL" dirty="0"/>
          </a:p>
        </p:txBody>
      </p:sp>
      <p:graphicFrame>
        <p:nvGraphicFramePr>
          <p:cNvPr id="6" name="Tabelle 5">
            <a:extLst>
              <a:ext uri="{FF2B5EF4-FFF2-40B4-BE49-F238E27FC236}">
                <a16:creationId xmlns:a16="http://schemas.microsoft.com/office/drawing/2014/main" id="{17F8887F-EBCA-4B6B-A488-359668468D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32679722"/>
              </p:ext>
            </p:extLst>
          </p:nvPr>
        </p:nvGraphicFramePr>
        <p:xfrm>
          <a:off x="312884" y="1183385"/>
          <a:ext cx="11559802" cy="3814262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3753182">
                  <a:extLst>
                    <a:ext uri="{9D8B030D-6E8A-4147-A177-3AD203B41FA5}">
                      <a16:colId xmlns:a16="http://schemas.microsoft.com/office/drawing/2014/main" val="3594271312"/>
                    </a:ext>
                  </a:extLst>
                </a:gridCol>
                <a:gridCol w="2502122">
                  <a:extLst>
                    <a:ext uri="{9D8B030D-6E8A-4147-A177-3AD203B41FA5}">
                      <a16:colId xmlns:a16="http://schemas.microsoft.com/office/drawing/2014/main" val="805204095"/>
                    </a:ext>
                  </a:extLst>
                </a:gridCol>
                <a:gridCol w="5304498">
                  <a:extLst>
                    <a:ext uri="{9D8B030D-6E8A-4147-A177-3AD203B41FA5}">
                      <a16:colId xmlns:a16="http://schemas.microsoft.com/office/drawing/2014/main" val="2009648410"/>
                    </a:ext>
                  </a:extLst>
                </a:gridCol>
              </a:tblGrid>
              <a:tr h="462015">
                <a:tc>
                  <a:txBody>
                    <a:bodyPr/>
                    <a:lstStyle>
                      <a:lvl1pPr marL="0">
                        <a:defRPr b="1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6645">
                        <a:defRPr b="1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3290">
                        <a:defRPr b="1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69935">
                        <a:defRPr b="1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6580">
                        <a:defRPr b="1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3226">
                        <a:defRPr b="1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39871">
                        <a:defRPr b="1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196515">
                        <a:defRPr b="1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3161">
                        <a:defRPr b="1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r>
                        <a:rPr lang="en-US" sz="1400" noProof="0" dirty="0"/>
                        <a:t>Property / Test</a:t>
                      </a:r>
                    </a:p>
                  </a:txBody>
                  <a:tcPr marL="121770" marR="121770" marT="60885" marB="60885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>
                        <a:defRPr b="1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6645">
                        <a:defRPr b="1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3290">
                        <a:defRPr b="1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69935">
                        <a:defRPr b="1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6580">
                        <a:defRPr b="1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3226">
                        <a:defRPr b="1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39871">
                        <a:defRPr b="1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196515">
                        <a:defRPr b="1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3161">
                        <a:defRPr b="1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l"/>
                      <a:r>
                        <a:rPr lang="en-US" sz="1400" kern="1200" noProof="0" dirty="0">
                          <a:effectLst/>
                        </a:rPr>
                        <a:t>Test Standard</a:t>
                      </a:r>
                      <a:endParaRPr lang="en-US" sz="1400" noProof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770" marR="121770" marT="60885" marB="60885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>
                        <a:defRPr b="1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6645">
                        <a:defRPr b="1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3290">
                        <a:defRPr b="1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69935">
                        <a:defRPr b="1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6580">
                        <a:defRPr b="1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3226">
                        <a:defRPr b="1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39871">
                        <a:defRPr b="1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196515">
                        <a:defRPr b="1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3161">
                        <a:defRPr b="1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l"/>
                      <a:r>
                        <a:rPr lang="en-US" sz="1400" noProof="0" dirty="0"/>
                        <a:t>Result</a:t>
                      </a:r>
                      <a:endParaRPr lang="en-US" sz="1400" noProof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770" marR="121770" marT="60885" marB="60885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25412464"/>
                  </a:ext>
                </a:extLst>
              </a:tr>
              <a:tr h="567199"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6645">
                        <a:defRPr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3290">
                        <a:defRPr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69935">
                        <a:defRPr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6580">
                        <a:defRPr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3226">
                        <a:defRPr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39871">
                        <a:defRPr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196515">
                        <a:defRPr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3161">
                        <a:defRPr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r>
                        <a:rPr lang="en-US" sz="1400" noProof="0" dirty="0"/>
                        <a:t>Gloss level and surface variants</a:t>
                      </a:r>
                      <a:endParaRPr lang="en-US" sz="1400" noProof="0" dirty="0">
                        <a:solidFill>
                          <a:srgbClr val="00616E"/>
                        </a:solidFill>
                      </a:endParaRPr>
                    </a:p>
                  </a:txBody>
                  <a:tcPr marL="121770" marR="121770" marT="60885" marB="60885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6645">
                        <a:defRPr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3290">
                        <a:defRPr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69935">
                        <a:defRPr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6580">
                        <a:defRPr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3226">
                        <a:defRPr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39871">
                        <a:defRPr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196515">
                        <a:defRPr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3161">
                        <a:defRPr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l"/>
                      <a:r>
                        <a:rPr lang="en-US" sz="1400" noProof="0" dirty="0"/>
                        <a:t>-</a:t>
                      </a:r>
                      <a:endParaRPr lang="en-US" sz="1400" b="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770" marR="121770" marT="60885" marB="60885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6645">
                        <a:defRPr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3290">
                        <a:defRPr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69935">
                        <a:defRPr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6580">
                        <a:defRPr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3226">
                        <a:defRPr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39871">
                        <a:defRPr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196515">
                        <a:defRPr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3161">
                        <a:defRPr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l"/>
                      <a:r>
                        <a:rPr lang="en-US" sz="1400" noProof="0" dirty="0"/>
                        <a:t>glossy</a:t>
                      </a:r>
                    </a:p>
                    <a:p>
                      <a:pPr algn="l"/>
                      <a:r>
                        <a:rPr lang="en-US" sz="1400" b="0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mi gloss</a:t>
                      </a:r>
                    </a:p>
                  </a:txBody>
                  <a:tcPr marL="121770" marR="121770" marT="60885" marB="60885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6325060"/>
                  </a:ext>
                </a:extLst>
              </a:tr>
              <a:tr h="408681"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6645">
                        <a:defRPr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3290">
                        <a:defRPr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69935">
                        <a:defRPr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6580">
                        <a:defRPr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3226">
                        <a:defRPr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39871">
                        <a:defRPr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196515">
                        <a:defRPr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3161">
                        <a:defRPr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r>
                        <a:rPr lang="en-US" sz="1400" noProof="0" dirty="0"/>
                        <a:t>Erichsen cupping</a:t>
                      </a:r>
                      <a:endParaRPr lang="en-US" sz="1400" noProof="0" dirty="0">
                        <a:solidFill>
                          <a:srgbClr val="00616E"/>
                        </a:solidFill>
                      </a:endParaRPr>
                    </a:p>
                  </a:txBody>
                  <a:tcPr marL="121770" marR="121770" marT="60885" marB="60885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6645">
                        <a:defRPr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3290">
                        <a:defRPr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69935">
                        <a:defRPr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6580">
                        <a:defRPr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3226">
                        <a:defRPr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39871">
                        <a:defRPr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196515">
                        <a:defRPr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3161">
                        <a:defRPr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l"/>
                      <a:r>
                        <a:rPr lang="en-US" sz="1400" noProof="0" dirty="0"/>
                        <a:t>DIN EN ISO 1520</a:t>
                      </a:r>
                      <a:endParaRPr lang="en-US" sz="1400" b="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770" marR="121770" marT="60885" marB="60885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6645">
                        <a:defRPr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3290">
                        <a:defRPr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69935">
                        <a:defRPr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6580">
                        <a:defRPr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3226">
                        <a:defRPr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39871">
                        <a:defRPr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196515">
                        <a:defRPr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3161">
                        <a:defRPr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algn="l" rtl="0"/>
                      <a:r>
                        <a:rPr lang="en-US" sz="1400" noProof="0" dirty="0"/>
                        <a:t>on 0.8 mm steel degreased &gt; 2 mm*</a:t>
                      </a:r>
                      <a:endParaRPr lang="en-US" sz="1400" b="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770" marR="121770" marT="60885" marB="60885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alpha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7948500"/>
                  </a:ext>
                </a:extLst>
              </a:tr>
              <a:tr h="567199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noProof="0" dirty="0"/>
                        <a:t>Weather resistance </a:t>
                      </a:r>
                      <a:endParaRPr lang="en-US" sz="1400" noProof="0" dirty="0">
                        <a:solidFill>
                          <a:srgbClr val="00616E"/>
                        </a:solidFill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121770" marR="121770" marT="60885" marB="60885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noProof="0" dirty="0"/>
                        <a:t>DIN EN ISO </a:t>
                      </a:r>
                      <a:r>
                        <a:rPr lang="en-US" sz="1400" noProof="0" dirty="0">
                          <a:solidFill>
                            <a:schemeClr val="tx1"/>
                          </a:solidFill>
                        </a:rPr>
                        <a:t>16474-2</a:t>
                      </a:r>
                    </a:p>
                    <a:p>
                      <a:pPr algn="l"/>
                      <a:r>
                        <a:rPr lang="en-US" sz="1400" noProof="0" dirty="0"/>
                        <a:t>DIN EN ISO 2813</a:t>
                      </a:r>
                      <a:endParaRPr lang="en-US" sz="1400" b="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770" marR="121770" marT="60885" marB="60885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noProof="0" dirty="0"/>
                        <a:t>after 1500h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noProof="0" dirty="0"/>
                        <a:t>residual gloss (60°) &gt;80%**</a:t>
                      </a:r>
                      <a:endParaRPr lang="en-US" sz="1400" b="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770" marR="121770" marT="60885" marB="60885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0401395"/>
                  </a:ext>
                </a:extLst>
              </a:tr>
              <a:tr h="1017044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noProof="0" dirty="0"/>
                        <a:t>Humidity test, </a:t>
                      </a:r>
                    </a:p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noProof="0" dirty="0"/>
                        <a:t>condensation water constant </a:t>
                      </a:r>
                    </a:p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noProof="0" dirty="0"/>
                        <a:t>climate test</a:t>
                      </a:r>
                      <a:endParaRPr lang="en-US" sz="1400" noProof="0" dirty="0">
                        <a:solidFill>
                          <a:srgbClr val="00616E"/>
                        </a:solidFill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121770" marR="121770" marT="60885" marB="60885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noProof="0"/>
                        <a:t>DIN EN ISO 6270-2</a:t>
                      </a:r>
                    </a:p>
                    <a:p>
                      <a:pPr algn="l"/>
                      <a:r>
                        <a:rPr lang="en-US" sz="1400" noProof="0"/>
                        <a:t>DIN EN ISO 4628-2</a:t>
                      </a:r>
                    </a:p>
                    <a:p>
                      <a:pPr algn="l"/>
                      <a:r>
                        <a:rPr lang="en-US" sz="1400" noProof="0"/>
                        <a:t>DIN EN ISO 4628-3</a:t>
                      </a:r>
                    </a:p>
                    <a:p>
                      <a:pPr algn="l"/>
                      <a:r>
                        <a:rPr lang="en-US" sz="1400" noProof="0"/>
                        <a:t>DIN EN ISO 2409</a:t>
                      </a:r>
                      <a:endParaRPr lang="en-US" sz="14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770" marR="121770" marT="60885" marB="60885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noProof="0" dirty="0"/>
                        <a:t>after 240h on steel degreased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noProof="0" dirty="0"/>
                        <a:t>- degree of blistering                   0 (S0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noProof="0" dirty="0"/>
                        <a:t>- degree of rust                           Ri 0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noProof="0" dirty="0"/>
                        <a:t>- adhesion                                   GT 0</a:t>
                      </a:r>
                      <a:endParaRPr lang="en-US" sz="1400" b="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770" marR="121770" marT="60885" marB="60885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alpha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5397501"/>
                  </a:ext>
                </a:extLst>
              </a:tr>
              <a:tr h="792124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noProof="0" dirty="0"/>
                        <a:t>Corrosion resistance, </a:t>
                      </a:r>
                    </a:p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noProof="0" dirty="0"/>
                        <a:t>neutral salt spray test </a:t>
                      </a:r>
                      <a:endParaRPr lang="en-US" sz="1400" noProof="0" dirty="0">
                        <a:solidFill>
                          <a:srgbClr val="00616E"/>
                        </a:solidFill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121770" marR="121770" marT="60885" marB="60885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noProof="0" dirty="0"/>
                        <a:t>DIN EN ISO 9227</a:t>
                      </a:r>
                    </a:p>
                    <a:p>
                      <a:pPr algn="l"/>
                      <a:r>
                        <a:rPr lang="en-US" sz="1400" noProof="0" dirty="0"/>
                        <a:t>DIN EN ISO 4628-8</a:t>
                      </a:r>
                    </a:p>
                    <a:p>
                      <a:pPr algn="l"/>
                      <a:r>
                        <a:rPr lang="en-US" sz="1400" noProof="0" dirty="0"/>
                        <a:t>DBL 7391</a:t>
                      </a:r>
                      <a:endParaRPr lang="en-US" sz="1400" b="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770" marR="121770" marT="60885" marB="60885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noProof="0" dirty="0"/>
                        <a:t>after 1000h on zinc-phosphated steel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noProof="0" dirty="0"/>
                        <a:t>- corrosion creep***                    ≤2 mm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noProof="0" dirty="0"/>
                        <a:t>- edge rust                                  KR 1</a:t>
                      </a:r>
                      <a:endParaRPr lang="en-US" sz="1400" b="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770" marR="121770" marT="60885" marB="60885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2933848"/>
                  </a:ext>
                </a:extLst>
              </a:tr>
            </a:tbl>
          </a:graphicData>
        </a:graphic>
      </p:graphicFrame>
      <p:sp>
        <p:nvSpPr>
          <p:cNvPr id="7" name="Rechteck 6">
            <a:extLst>
              <a:ext uri="{FF2B5EF4-FFF2-40B4-BE49-F238E27FC236}">
                <a16:creationId xmlns:a16="http://schemas.microsoft.com/office/drawing/2014/main" id="{F5CB02D1-BC47-45DF-84CA-FDA32B42FD6D}"/>
              </a:ext>
            </a:extLst>
          </p:cNvPr>
          <p:cNvSpPr/>
          <p:nvPr/>
        </p:nvSpPr>
        <p:spPr>
          <a:xfrm>
            <a:off x="308057" y="5279245"/>
            <a:ext cx="526978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08853"/>
            <a:r>
              <a:rPr lang="en-US" baseline="30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strongly color-dependent, deviations upwards and downwards possible, </a:t>
            </a:r>
          </a:p>
          <a:p>
            <a:pPr defTabSz="608853"/>
            <a:r>
              <a:rPr lang="en-US" baseline="30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*color dependent, here tested on RAL 7035 as an example,</a:t>
            </a:r>
          </a:p>
          <a:p>
            <a:pPr defTabSz="608853"/>
            <a:r>
              <a:rPr lang="en-US" baseline="30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**test performed with Sikkens Scribe 1 mm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11AAEBF2-BBA2-4045-ACFA-904A56190B95}"/>
              </a:ext>
            </a:extLst>
          </p:cNvPr>
          <p:cNvSpPr txBox="1">
            <a:spLocks/>
          </p:cNvSpPr>
          <p:nvPr/>
        </p:nvSpPr>
        <p:spPr>
          <a:xfrm>
            <a:off x="321503" y="6496407"/>
            <a:ext cx="455756" cy="17222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chemeClr val="tx2"/>
                </a:solidFill>
                <a:latin typeface="+mn-lt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666666"/>
                </a:solidFill>
                <a:latin typeface="Arial" panose="020B0604020202020204"/>
              </a:rPr>
              <a:t>22</a:t>
            </a:r>
          </a:p>
        </p:txBody>
      </p:sp>
      <p:sp>
        <p:nvSpPr>
          <p:cNvPr id="9" name="Footer Placeholder 1">
            <a:extLst>
              <a:ext uri="{FF2B5EF4-FFF2-40B4-BE49-F238E27FC236}">
                <a16:creationId xmlns:a16="http://schemas.microsoft.com/office/drawing/2014/main" id="{4EE3C829-28F9-6149-9E6A-689C2BEDEC9B}"/>
              </a:ext>
            </a:extLst>
          </p:cNvPr>
          <p:cNvSpPr txBox="1">
            <a:spLocks/>
          </p:cNvSpPr>
          <p:nvPr/>
        </p:nvSpPr>
        <p:spPr>
          <a:xfrm>
            <a:off x="763811" y="6496407"/>
            <a:ext cx="9460550" cy="17222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chemeClr val="tx2"/>
                </a:solidFill>
                <a:latin typeface="+mn-lt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666666"/>
                </a:solidFill>
                <a:latin typeface="Arial" panose="020B0604020202020204"/>
              </a:rPr>
              <a:t>Powder Coatings from PPG ©2023 PPG Industries, Inc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132965364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991EF8D2-B083-B145-B42B-D1A1FF790828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88" y="1"/>
            <a:ext cx="12188825" cy="6856215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BF545CF-D3F8-6546-B2EE-55733FD4A0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>
              <a:defRPr/>
            </a:pPr>
            <a:r>
              <a:rPr lang="en-US" dirty="0">
                <a:solidFill>
                  <a:srgbClr val="666666"/>
                </a:solidFill>
              </a:rPr>
              <a:t>Powder Coatings from PPG ©2023 PPG Industries, Inc. All rights reserved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9AB68AA-A7CC-0149-A89B-B1BDEF6A72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1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D7E3C3B-5CCE-4249-9DCC-8EA7E3CCFA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PPG is a </a:t>
            </a:r>
            <a:r>
              <a:rPr lang="en-US" dirty="0">
                <a:solidFill>
                  <a:schemeClr val="accent1"/>
                </a:solidFill>
              </a:rPr>
              <a:t>global maker </a:t>
            </a:r>
            <a:r>
              <a:rPr lang="en-US" dirty="0"/>
              <a:t>of paints, coatings and specialty material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09FB93A-2A42-C64B-A336-2AAB1F6F7EA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31783" y="2013751"/>
            <a:ext cx="584200" cy="5842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B5F0C3D-9058-CD43-9F00-A77A437722D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31783" y="2848519"/>
            <a:ext cx="584200" cy="5842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8082DDF-3187-5443-9301-7C7B76B9EE9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31783" y="3703366"/>
            <a:ext cx="584200" cy="5842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D61880F-0193-5640-9931-8F8D08E4FDF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31783" y="4544424"/>
            <a:ext cx="584200" cy="5842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767AB854-6EE1-8647-B9F8-EADAE35B4D6F}"/>
              </a:ext>
            </a:extLst>
          </p:cNvPr>
          <p:cNvSpPr txBox="1"/>
          <p:nvPr/>
        </p:nvSpPr>
        <p:spPr>
          <a:xfrm>
            <a:off x="5889625" y="2075190"/>
            <a:ext cx="302289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200" dirty="0">
                <a:solidFill>
                  <a:schemeClr val="bg1"/>
                </a:solidFill>
              </a:rPr>
              <a:t>Founded in </a:t>
            </a:r>
            <a:r>
              <a:rPr lang="en-US" sz="2200" b="1" dirty="0">
                <a:solidFill>
                  <a:schemeClr val="bg1"/>
                </a:solidFill>
              </a:rPr>
              <a:t>1883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26402C5-3FF7-6840-905B-451BC44C2747}"/>
              </a:ext>
            </a:extLst>
          </p:cNvPr>
          <p:cNvSpPr txBox="1"/>
          <p:nvPr/>
        </p:nvSpPr>
        <p:spPr>
          <a:xfrm>
            <a:off x="5889624" y="2913573"/>
            <a:ext cx="441779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200" dirty="0">
                <a:solidFill>
                  <a:schemeClr val="bg1"/>
                </a:solidFill>
              </a:rPr>
              <a:t>Headquartered in </a:t>
            </a:r>
            <a:r>
              <a:rPr lang="en-US" sz="2200" b="1" dirty="0">
                <a:solidFill>
                  <a:schemeClr val="bg1"/>
                </a:solidFill>
              </a:rPr>
              <a:t>Pittsburgh, PA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ECB150F-9A72-7E4F-904F-44BC6E90A03D}"/>
              </a:ext>
            </a:extLst>
          </p:cNvPr>
          <p:cNvSpPr txBox="1"/>
          <p:nvPr/>
        </p:nvSpPr>
        <p:spPr>
          <a:xfrm>
            <a:off x="5889625" y="3770161"/>
            <a:ext cx="302289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chemeClr val="bg1"/>
                </a:solidFill>
              </a:rPr>
              <a:t>52,000+ </a:t>
            </a:r>
            <a:r>
              <a:rPr lang="en-US" sz="2200" dirty="0">
                <a:solidFill>
                  <a:schemeClr val="bg1"/>
                </a:solidFill>
              </a:rPr>
              <a:t>Employees</a:t>
            </a:r>
            <a:endParaRPr lang="en-US" sz="2200" b="1" dirty="0">
              <a:solidFill>
                <a:schemeClr val="bg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BE9BACC-B88A-6243-AF8C-B48FA24CF8CE}"/>
              </a:ext>
            </a:extLst>
          </p:cNvPr>
          <p:cNvSpPr txBox="1"/>
          <p:nvPr/>
        </p:nvSpPr>
        <p:spPr>
          <a:xfrm>
            <a:off x="5889624" y="4608544"/>
            <a:ext cx="441779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200" dirty="0">
                <a:solidFill>
                  <a:schemeClr val="bg1"/>
                </a:solidFill>
              </a:rPr>
              <a:t>Facilities in </a:t>
            </a:r>
            <a:r>
              <a:rPr lang="en-US" sz="2200" b="1" dirty="0">
                <a:solidFill>
                  <a:schemeClr val="bg1"/>
                </a:solidFill>
              </a:rPr>
              <a:t>70+ </a:t>
            </a:r>
            <a:r>
              <a:rPr lang="en-US" sz="2200" dirty="0">
                <a:solidFill>
                  <a:schemeClr val="bg1"/>
                </a:solidFill>
              </a:rPr>
              <a:t>countries</a:t>
            </a:r>
            <a:endParaRPr lang="en-US" sz="2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44567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69D4BCF2-C773-495F-A4D5-860FB6A2FA91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1865312" y="4930697"/>
            <a:ext cx="8458200" cy="984250"/>
          </a:xfrm>
        </p:spPr>
        <p:txBody>
          <a:bodyPr/>
          <a:lstStyle/>
          <a:p>
            <a:pPr lvl="0" algn="ctr"/>
            <a:r>
              <a:rPr lang="en-US" dirty="0">
                <a:solidFill>
                  <a:schemeClr val="accent1"/>
                </a:solidFill>
              </a:rPr>
              <a:t>What can we do to enhance your products? 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3B1194-9C24-4524-A847-35A4D9A8416D}"/>
              </a:ext>
            </a:extLst>
          </p:cNvPr>
          <p:cNvSpPr/>
          <p:nvPr/>
        </p:nvSpPr>
        <p:spPr>
          <a:xfrm>
            <a:off x="-1" y="-75304"/>
            <a:ext cx="12192000" cy="372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84951" y="276024"/>
            <a:ext cx="7822096" cy="3855124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11002617" y="5914947"/>
            <a:ext cx="1189382" cy="9430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l-P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2ECC5CE-F38D-7E41-9E6D-2146DC13E819}"/>
              </a:ext>
            </a:extLst>
          </p:cNvPr>
          <p:cNvSpPr txBox="1"/>
          <p:nvPr/>
        </p:nvSpPr>
        <p:spPr>
          <a:xfrm>
            <a:off x="2879304" y="6310003"/>
            <a:ext cx="6430216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e </a:t>
            </a:r>
            <a:r>
              <a:rPr kumimoji="0" lang="en-US" sz="9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PG Logo, </a:t>
            </a:r>
            <a:r>
              <a:rPr kumimoji="0" lang="en-US" sz="9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raflon</a:t>
            </a:r>
            <a:r>
              <a:rPr lang="en-US" sz="900" i="1" dirty="0">
                <a:solidFill>
                  <a:prstClr val="black"/>
                </a:solidFill>
                <a:latin typeface="Arial" panose="020B0604020202020204"/>
              </a:rPr>
              <a:t>, </a:t>
            </a:r>
            <a:r>
              <a:rPr kumimoji="0" lang="en-US" sz="9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nvirocron</a:t>
            </a:r>
            <a:r>
              <a:rPr lang="en-US" sz="900" dirty="0">
                <a:solidFill>
                  <a:prstClr val="black"/>
                </a:solidFill>
                <a:latin typeface="Arial" panose="020B0604020202020204"/>
              </a:rPr>
              <a:t> and </a:t>
            </a:r>
            <a:r>
              <a:rPr kumimoji="0" lang="en-US" sz="9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e protect and beautify the world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lang="en-US" sz="900" dirty="0">
                <a:solidFill>
                  <a:prstClr val="black"/>
                </a:solidFill>
                <a:latin typeface="Arial" panose="020B0604020202020204"/>
              </a:rPr>
              <a:t>are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registered trademarks and </a:t>
            </a:r>
            <a:r>
              <a:rPr kumimoji="0" lang="en-US" sz="9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nergX</a:t>
            </a:r>
            <a:r>
              <a:rPr kumimoji="0" lang="en-US" sz="9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s 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 trademark of PPG Industries Ohio, Inc. ©2023 PPG Industries, Inc. All rights reserved. IC304 10/23</a:t>
            </a:r>
          </a:p>
        </p:txBody>
      </p:sp>
    </p:spTree>
    <p:extLst>
      <p:ext uri="{BB962C8B-B14F-4D97-AF65-F5344CB8AC3E}">
        <p14:creationId xmlns:p14="http://schemas.microsoft.com/office/powerpoint/2010/main" val="2722719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FB9D8367-6FE6-C348-8287-1AD928A292F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56091" y="1910071"/>
            <a:ext cx="8134322" cy="3333676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47AF16E-248C-2A42-9550-1979E72C863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88" y="1910071"/>
            <a:ext cx="5816600" cy="11176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2C651586-FF00-4345-A8EE-3073FE103E5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88" y="3018109"/>
            <a:ext cx="5245100" cy="11176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30171EE6-F759-674E-89D3-6A79C1812620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88" y="4126147"/>
            <a:ext cx="4673600" cy="111760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D9657F0-36A9-CA40-93B4-57D4CF8581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>
              <a:defRPr/>
            </a:pPr>
            <a:r>
              <a:rPr lang="en-US" dirty="0">
                <a:solidFill>
                  <a:srgbClr val="666666"/>
                </a:solidFill>
              </a:rPr>
              <a:t>Powder Coatings from PPG ©2023 PPG Industries, Inc. All rights reserved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F774780-366D-9948-A41B-85C8AE2DE4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3B818C4-FC92-B94F-805E-7AD230349B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We are a </a:t>
            </a:r>
            <a:r>
              <a:rPr lang="en-US" dirty="0">
                <a:solidFill>
                  <a:schemeClr val="accent1"/>
                </a:solidFill>
              </a:rPr>
              <a:t>recognized leader</a:t>
            </a:r>
            <a:r>
              <a:rPr lang="en-US" dirty="0"/>
              <a:t> in…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2D51697-FFB2-304A-8D73-1DC4B77D4F0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44158" y="2029011"/>
            <a:ext cx="863600" cy="8636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819BBC1-CAF1-F64A-B3CD-176A58937A3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44158" y="3142841"/>
            <a:ext cx="863600" cy="8636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F072D5E-0023-364F-9AB9-C45381F87F6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44158" y="4245913"/>
            <a:ext cx="863600" cy="8636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6B50CD63-A8DE-1E46-A73D-6E6D78B35C43}"/>
              </a:ext>
            </a:extLst>
          </p:cNvPr>
          <p:cNvSpPr txBox="1"/>
          <p:nvPr/>
        </p:nvSpPr>
        <p:spPr>
          <a:xfrm>
            <a:off x="1366764" y="2116130"/>
            <a:ext cx="291119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Sustainability</a:t>
            </a:r>
            <a:endParaRPr lang="en-US" sz="3600" b="1" dirty="0">
              <a:solidFill>
                <a:schemeClr val="bg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C63B3AA-924A-FA4F-ABED-27D916B399D6}"/>
              </a:ext>
            </a:extLst>
          </p:cNvPr>
          <p:cNvSpPr txBox="1"/>
          <p:nvPr/>
        </p:nvSpPr>
        <p:spPr>
          <a:xfrm>
            <a:off x="1366763" y="3224168"/>
            <a:ext cx="23749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Innovation</a:t>
            </a:r>
            <a:endParaRPr lang="en-US" sz="3600" b="1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F2324F5-621D-4C4B-AC34-20DACA8DCC54}"/>
              </a:ext>
            </a:extLst>
          </p:cNvPr>
          <p:cNvSpPr txBox="1"/>
          <p:nvPr/>
        </p:nvSpPr>
        <p:spPr>
          <a:xfrm>
            <a:off x="1366762" y="4332206"/>
            <a:ext cx="154990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Color</a:t>
            </a:r>
            <a:endParaRPr lang="en-US" sz="3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59056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" name="Picture 63">
            <a:extLst>
              <a:ext uri="{FF2B5EF4-FFF2-40B4-BE49-F238E27FC236}">
                <a16:creationId xmlns:a16="http://schemas.microsoft.com/office/drawing/2014/main" id="{BB254473-59AB-0545-92A2-0EFEC1483AB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38749" y="3660027"/>
            <a:ext cx="3734210" cy="1500684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5CE74847-71DA-704E-BAB9-97A176FF710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2687" y="3660028"/>
            <a:ext cx="3734210" cy="1514741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2B4895C8-C333-314D-AAA9-65D6C1B6C90C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04861" y="1648589"/>
            <a:ext cx="3727724" cy="1507206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F77FE277-FF80-A04E-AFDC-BFB7C3B50EFD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"/>
          <a:stretch/>
        </p:blipFill>
        <p:spPr>
          <a:xfrm>
            <a:off x="4244958" y="1651607"/>
            <a:ext cx="3733800" cy="1507206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B2621A52-3909-334E-9818-51D2323F1CA0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1520" y="1651607"/>
            <a:ext cx="3733800" cy="150447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4582ABE-9E62-9F4B-B88D-54EABD4AF0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>
              <a:defRPr/>
            </a:pPr>
            <a:r>
              <a:rPr lang="en-US" dirty="0">
                <a:solidFill>
                  <a:srgbClr val="666666"/>
                </a:solidFill>
              </a:rPr>
              <a:t>Powder Coatings from PPG ©2023 PPG Industries, Inc. All rights reserved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2DB71-0639-0D4C-BB81-AE9342A142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3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EA0A799-F8B4-EB46-B0EF-29B1D0D8F7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We are one of the few suppliers offering </a:t>
            </a:r>
            <a:r>
              <a:rPr lang="en-US" dirty="0">
                <a:solidFill>
                  <a:schemeClr val="accent1"/>
                </a:solidFill>
              </a:rPr>
              <a:t>products and capabilities</a:t>
            </a:r>
            <a:br>
              <a:rPr lang="en-US" dirty="0">
                <a:solidFill>
                  <a:schemeClr val="accent1"/>
                </a:solidFill>
              </a:rPr>
            </a:br>
            <a:r>
              <a:rPr lang="en-US" dirty="0"/>
              <a:t>in every </a:t>
            </a:r>
            <a:r>
              <a:rPr lang="en-US" dirty="0">
                <a:solidFill>
                  <a:schemeClr val="accent1"/>
                </a:solidFill>
              </a:rPr>
              <a:t>major coatings technology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46A74858-B724-594F-85BE-C269AF625453}"/>
              </a:ext>
            </a:extLst>
          </p:cNvPr>
          <p:cNvGrpSpPr/>
          <p:nvPr/>
        </p:nvGrpSpPr>
        <p:grpSpPr>
          <a:xfrm>
            <a:off x="291520" y="3050831"/>
            <a:ext cx="3734210" cy="546100"/>
            <a:chOff x="289932" y="3050831"/>
            <a:chExt cx="3734210" cy="546100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B9B560F2-94D8-D64D-A008-1142EB83016F}"/>
                </a:ext>
              </a:extLst>
            </p:cNvPr>
            <p:cNvSpPr/>
            <p:nvPr/>
          </p:nvSpPr>
          <p:spPr>
            <a:xfrm>
              <a:off x="289932" y="3155795"/>
              <a:ext cx="3734210" cy="367989"/>
            </a:xfrm>
            <a:prstGeom prst="rect">
              <a:avLst/>
            </a:prstGeom>
            <a:solidFill>
              <a:srgbClr val="FF7C13">
                <a:alpha val="20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10A394CD-EAB4-D843-ACC2-CD68AA164A4A}"/>
                </a:ext>
              </a:extLst>
            </p:cNvPr>
            <p:cNvSpPr/>
            <p:nvPr/>
          </p:nvSpPr>
          <p:spPr>
            <a:xfrm>
              <a:off x="289932" y="3155795"/>
              <a:ext cx="3640873" cy="367990"/>
            </a:xfrm>
            <a:custGeom>
              <a:avLst/>
              <a:gdLst>
                <a:gd name="connsiteX0" fmla="*/ 3640873 w 3640873"/>
                <a:gd name="connsiteY0" fmla="*/ 0 h 367990"/>
                <a:gd name="connsiteX1" fmla="*/ 0 w 3640873"/>
                <a:gd name="connsiteY1" fmla="*/ 0 h 367990"/>
                <a:gd name="connsiteX2" fmla="*/ 0 w 3640873"/>
                <a:gd name="connsiteY2" fmla="*/ 133815 h 367990"/>
                <a:gd name="connsiteX3" fmla="*/ 0 w 3640873"/>
                <a:gd name="connsiteY3" fmla="*/ 367990 h 367990"/>
                <a:gd name="connsiteX4" fmla="*/ 100361 w 3640873"/>
                <a:gd name="connsiteY4" fmla="*/ 367990 h 367990"/>
                <a:gd name="connsiteX5" fmla="*/ 3468029 w 3640873"/>
                <a:gd name="connsiteY5" fmla="*/ 367990 h 367990"/>
                <a:gd name="connsiteX6" fmla="*/ 3640873 w 3640873"/>
                <a:gd name="connsiteY6" fmla="*/ 0 h 3679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640873" h="367990">
                  <a:moveTo>
                    <a:pt x="3640873" y="0"/>
                  </a:moveTo>
                  <a:lnTo>
                    <a:pt x="0" y="0"/>
                  </a:lnTo>
                  <a:lnTo>
                    <a:pt x="0" y="133815"/>
                  </a:lnTo>
                  <a:lnTo>
                    <a:pt x="0" y="367990"/>
                  </a:lnTo>
                  <a:lnTo>
                    <a:pt x="100361" y="367990"/>
                  </a:lnTo>
                  <a:lnTo>
                    <a:pt x="3468029" y="367990"/>
                  </a:lnTo>
                  <a:lnTo>
                    <a:pt x="3640873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CAF78AF1-6505-914B-9E38-59D01E8DFAC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118977" y="3050831"/>
              <a:ext cx="546100" cy="546100"/>
            </a:xfrm>
            <a:prstGeom prst="rect">
              <a:avLst/>
            </a:prstGeom>
          </p:spPr>
        </p:pic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F4DC3C62-0AF9-C849-A6F1-4AE71A568E03}"/>
                </a:ext>
              </a:extLst>
            </p:cNvPr>
            <p:cNvSpPr txBox="1"/>
            <p:nvPr/>
          </p:nvSpPr>
          <p:spPr>
            <a:xfrm>
              <a:off x="296418" y="3148542"/>
              <a:ext cx="2462809" cy="367990"/>
            </a:xfrm>
            <a:prstGeom prst="rect">
              <a:avLst/>
            </a:prstGeom>
            <a:noFill/>
          </p:spPr>
          <p:txBody>
            <a:bodyPr wrap="square" lIns="72000" tIns="0" rIns="0" bIns="0" rtlCol="0" anchor="ctr" anchorCtr="0">
              <a:noAutofit/>
            </a:bodyPr>
            <a:lstStyle/>
            <a:p>
              <a:r>
                <a:rPr lang="en-US" sz="1200" b="1" dirty="0">
                  <a:solidFill>
                    <a:schemeClr val="bg1"/>
                  </a:solidFill>
                </a:rPr>
                <a:t>Pretreatment</a:t>
              </a:r>
            </a:p>
          </p:txBody>
        </p:sp>
      </p:grpSp>
      <p:sp>
        <p:nvSpPr>
          <p:cNvPr id="37" name="Rectangle 36">
            <a:extLst>
              <a:ext uri="{FF2B5EF4-FFF2-40B4-BE49-F238E27FC236}">
                <a16:creationId xmlns:a16="http://schemas.microsoft.com/office/drawing/2014/main" id="{E05A76BB-2524-3546-ACB4-E9CD7542C29B}"/>
              </a:ext>
            </a:extLst>
          </p:cNvPr>
          <p:cNvSpPr/>
          <p:nvPr/>
        </p:nvSpPr>
        <p:spPr>
          <a:xfrm>
            <a:off x="4244753" y="3155796"/>
            <a:ext cx="3734210" cy="367989"/>
          </a:xfrm>
          <a:prstGeom prst="rect">
            <a:avLst/>
          </a:prstGeom>
          <a:solidFill>
            <a:srgbClr val="C00000">
              <a:alpha val="2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Freeform 37">
            <a:extLst>
              <a:ext uri="{FF2B5EF4-FFF2-40B4-BE49-F238E27FC236}">
                <a16:creationId xmlns:a16="http://schemas.microsoft.com/office/drawing/2014/main" id="{D97C5C60-40EC-C640-9B72-D4E669A69ADA}"/>
              </a:ext>
            </a:extLst>
          </p:cNvPr>
          <p:cNvSpPr/>
          <p:nvPr/>
        </p:nvSpPr>
        <p:spPr>
          <a:xfrm>
            <a:off x="4244754" y="3155795"/>
            <a:ext cx="3640873" cy="367990"/>
          </a:xfrm>
          <a:custGeom>
            <a:avLst/>
            <a:gdLst>
              <a:gd name="connsiteX0" fmla="*/ 3640873 w 3640873"/>
              <a:gd name="connsiteY0" fmla="*/ 0 h 367990"/>
              <a:gd name="connsiteX1" fmla="*/ 0 w 3640873"/>
              <a:gd name="connsiteY1" fmla="*/ 0 h 367990"/>
              <a:gd name="connsiteX2" fmla="*/ 0 w 3640873"/>
              <a:gd name="connsiteY2" fmla="*/ 133815 h 367990"/>
              <a:gd name="connsiteX3" fmla="*/ 0 w 3640873"/>
              <a:gd name="connsiteY3" fmla="*/ 367990 h 367990"/>
              <a:gd name="connsiteX4" fmla="*/ 100361 w 3640873"/>
              <a:gd name="connsiteY4" fmla="*/ 367990 h 367990"/>
              <a:gd name="connsiteX5" fmla="*/ 3468029 w 3640873"/>
              <a:gd name="connsiteY5" fmla="*/ 367990 h 367990"/>
              <a:gd name="connsiteX6" fmla="*/ 3640873 w 3640873"/>
              <a:gd name="connsiteY6" fmla="*/ 0 h 367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640873" h="367990">
                <a:moveTo>
                  <a:pt x="3640873" y="0"/>
                </a:moveTo>
                <a:lnTo>
                  <a:pt x="0" y="0"/>
                </a:lnTo>
                <a:lnTo>
                  <a:pt x="0" y="133815"/>
                </a:lnTo>
                <a:lnTo>
                  <a:pt x="0" y="367990"/>
                </a:lnTo>
                <a:lnTo>
                  <a:pt x="100361" y="367990"/>
                </a:lnTo>
                <a:lnTo>
                  <a:pt x="3468029" y="367990"/>
                </a:lnTo>
                <a:lnTo>
                  <a:pt x="3640873" y="0"/>
                </a:lnTo>
                <a:close/>
              </a:path>
            </a:pathLst>
          </a:cu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2A10EFB9-A74F-2F40-B0A6-11E406B98AB3}"/>
              </a:ext>
            </a:extLst>
          </p:cNvPr>
          <p:cNvSpPr txBox="1"/>
          <p:nvPr/>
        </p:nvSpPr>
        <p:spPr>
          <a:xfrm>
            <a:off x="4251240" y="3148542"/>
            <a:ext cx="2462809" cy="367990"/>
          </a:xfrm>
          <a:prstGeom prst="rect">
            <a:avLst/>
          </a:prstGeom>
          <a:noFill/>
        </p:spPr>
        <p:txBody>
          <a:bodyPr wrap="square" lIns="72000" tIns="0" rIns="0" bIns="0" rtlCol="0" anchor="ctr" anchorCtr="0">
            <a:noAutofit/>
          </a:bodyPr>
          <a:lstStyle/>
          <a:p>
            <a:r>
              <a:rPr lang="en-US" sz="1200" b="1" dirty="0">
                <a:solidFill>
                  <a:schemeClr val="bg1"/>
                </a:solidFill>
              </a:rPr>
              <a:t>Electrocoat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AA629956-51EF-AE41-8A13-45A4CFDEA20C}"/>
              </a:ext>
            </a:extLst>
          </p:cNvPr>
          <p:cNvSpPr/>
          <p:nvPr/>
        </p:nvSpPr>
        <p:spPr>
          <a:xfrm>
            <a:off x="8204861" y="3155796"/>
            <a:ext cx="3734210" cy="367989"/>
          </a:xfrm>
          <a:prstGeom prst="rect">
            <a:avLst/>
          </a:prstGeom>
          <a:solidFill>
            <a:schemeClr val="accent2"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Freeform 42">
            <a:extLst>
              <a:ext uri="{FF2B5EF4-FFF2-40B4-BE49-F238E27FC236}">
                <a16:creationId xmlns:a16="http://schemas.microsoft.com/office/drawing/2014/main" id="{D01725B6-DE40-6A44-98BD-3A80623E8197}"/>
              </a:ext>
            </a:extLst>
          </p:cNvPr>
          <p:cNvSpPr/>
          <p:nvPr/>
        </p:nvSpPr>
        <p:spPr>
          <a:xfrm>
            <a:off x="8204862" y="3155795"/>
            <a:ext cx="3640873" cy="367990"/>
          </a:xfrm>
          <a:custGeom>
            <a:avLst/>
            <a:gdLst>
              <a:gd name="connsiteX0" fmla="*/ 3640873 w 3640873"/>
              <a:gd name="connsiteY0" fmla="*/ 0 h 367990"/>
              <a:gd name="connsiteX1" fmla="*/ 0 w 3640873"/>
              <a:gd name="connsiteY1" fmla="*/ 0 h 367990"/>
              <a:gd name="connsiteX2" fmla="*/ 0 w 3640873"/>
              <a:gd name="connsiteY2" fmla="*/ 133815 h 367990"/>
              <a:gd name="connsiteX3" fmla="*/ 0 w 3640873"/>
              <a:gd name="connsiteY3" fmla="*/ 367990 h 367990"/>
              <a:gd name="connsiteX4" fmla="*/ 100361 w 3640873"/>
              <a:gd name="connsiteY4" fmla="*/ 367990 h 367990"/>
              <a:gd name="connsiteX5" fmla="*/ 3468029 w 3640873"/>
              <a:gd name="connsiteY5" fmla="*/ 367990 h 367990"/>
              <a:gd name="connsiteX6" fmla="*/ 3640873 w 3640873"/>
              <a:gd name="connsiteY6" fmla="*/ 0 h 367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640873" h="367990">
                <a:moveTo>
                  <a:pt x="3640873" y="0"/>
                </a:moveTo>
                <a:lnTo>
                  <a:pt x="0" y="0"/>
                </a:lnTo>
                <a:lnTo>
                  <a:pt x="0" y="133815"/>
                </a:lnTo>
                <a:lnTo>
                  <a:pt x="0" y="367990"/>
                </a:lnTo>
                <a:lnTo>
                  <a:pt x="100361" y="367990"/>
                </a:lnTo>
                <a:lnTo>
                  <a:pt x="3468029" y="367990"/>
                </a:lnTo>
                <a:lnTo>
                  <a:pt x="3640873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F43D7DA4-753A-4A48-9443-BB2C3CAF52C2}"/>
              </a:ext>
            </a:extLst>
          </p:cNvPr>
          <p:cNvSpPr txBox="1"/>
          <p:nvPr/>
        </p:nvSpPr>
        <p:spPr>
          <a:xfrm>
            <a:off x="8211348" y="3148542"/>
            <a:ext cx="2462809" cy="367990"/>
          </a:xfrm>
          <a:prstGeom prst="rect">
            <a:avLst/>
          </a:prstGeom>
          <a:noFill/>
        </p:spPr>
        <p:txBody>
          <a:bodyPr wrap="square" lIns="72000" tIns="0" rIns="0" bIns="0" rtlCol="0" anchor="ctr" anchorCtr="0">
            <a:noAutofit/>
          </a:bodyPr>
          <a:lstStyle/>
          <a:p>
            <a:r>
              <a:rPr lang="en-US" sz="1200" b="1" dirty="0">
                <a:solidFill>
                  <a:schemeClr val="bg1"/>
                </a:solidFill>
              </a:rPr>
              <a:t>Liquid Coating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1A95F59-19CF-714A-A1CF-AB14327780E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074844" y="3050831"/>
            <a:ext cx="546100" cy="5461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16AF7E9-54A7-CB48-8604-78344FC2B4E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011608" y="3059487"/>
            <a:ext cx="546100" cy="546100"/>
          </a:xfrm>
          <a:prstGeom prst="rect">
            <a:avLst/>
          </a:prstGeom>
        </p:spPr>
      </p:pic>
      <p:sp>
        <p:nvSpPr>
          <p:cNvPr id="49" name="Rectangle 48">
            <a:extLst>
              <a:ext uri="{FF2B5EF4-FFF2-40B4-BE49-F238E27FC236}">
                <a16:creationId xmlns:a16="http://schemas.microsoft.com/office/drawing/2014/main" id="{909B9A4A-8967-6B44-AFCC-30A1F27C566F}"/>
              </a:ext>
            </a:extLst>
          </p:cNvPr>
          <p:cNvSpPr/>
          <p:nvPr/>
        </p:nvSpPr>
        <p:spPr>
          <a:xfrm>
            <a:off x="291520" y="5171973"/>
            <a:ext cx="3734210" cy="367989"/>
          </a:xfrm>
          <a:prstGeom prst="rect">
            <a:avLst/>
          </a:prstGeom>
          <a:solidFill>
            <a:schemeClr val="accent4">
              <a:alpha val="2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Freeform 49">
            <a:extLst>
              <a:ext uri="{FF2B5EF4-FFF2-40B4-BE49-F238E27FC236}">
                <a16:creationId xmlns:a16="http://schemas.microsoft.com/office/drawing/2014/main" id="{1B80977F-0ABD-A846-9615-38495285B791}"/>
              </a:ext>
            </a:extLst>
          </p:cNvPr>
          <p:cNvSpPr/>
          <p:nvPr/>
        </p:nvSpPr>
        <p:spPr>
          <a:xfrm>
            <a:off x="291521" y="5171972"/>
            <a:ext cx="3640873" cy="367990"/>
          </a:xfrm>
          <a:custGeom>
            <a:avLst/>
            <a:gdLst>
              <a:gd name="connsiteX0" fmla="*/ 3640873 w 3640873"/>
              <a:gd name="connsiteY0" fmla="*/ 0 h 367990"/>
              <a:gd name="connsiteX1" fmla="*/ 0 w 3640873"/>
              <a:gd name="connsiteY1" fmla="*/ 0 h 367990"/>
              <a:gd name="connsiteX2" fmla="*/ 0 w 3640873"/>
              <a:gd name="connsiteY2" fmla="*/ 133815 h 367990"/>
              <a:gd name="connsiteX3" fmla="*/ 0 w 3640873"/>
              <a:gd name="connsiteY3" fmla="*/ 367990 h 367990"/>
              <a:gd name="connsiteX4" fmla="*/ 100361 w 3640873"/>
              <a:gd name="connsiteY4" fmla="*/ 367990 h 367990"/>
              <a:gd name="connsiteX5" fmla="*/ 3468029 w 3640873"/>
              <a:gd name="connsiteY5" fmla="*/ 367990 h 367990"/>
              <a:gd name="connsiteX6" fmla="*/ 3640873 w 3640873"/>
              <a:gd name="connsiteY6" fmla="*/ 0 h 367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640873" h="367990">
                <a:moveTo>
                  <a:pt x="3640873" y="0"/>
                </a:moveTo>
                <a:lnTo>
                  <a:pt x="0" y="0"/>
                </a:lnTo>
                <a:lnTo>
                  <a:pt x="0" y="133815"/>
                </a:lnTo>
                <a:lnTo>
                  <a:pt x="0" y="367990"/>
                </a:lnTo>
                <a:lnTo>
                  <a:pt x="100361" y="367990"/>
                </a:lnTo>
                <a:lnTo>
                  <a:pt x="3468029" y="367990"/>
                </a:lnTo>
                <a:lnTo>
                  <a:pt x="3640873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25B38324-76A8-724C-A093-1AD7CA1DB7C3}"/>
              </a:ext>
            </a:extLst>
          </p:cNvPr>
          <p:cNvSpPr txBox="1"/>
          <p:nvPr/>
        </p:nvSpPr>
        <p:spPr>
          <a:xfrm>
            <a:off x="298007" y="5164719"/>
            <a:ext cx="2462809" cy="367990"/>
          </a:xfrm>
          <a:prstGeom prst="rect">
            <a:avLst/>
          </a:prstGeom>
          <a:noFill/>
        </p:spPr>
        <p:txBody>
          <a:bodyPr wrap="square" lIns="72000" tIns="0" rIns="0" bIns="0" rtlCol="0" anchor="ctr" anchorCtr="0">
            <a:noAutofit/>
          </a:bodyPr>
          <a:lstStyle/>
          <a:p>
            <a:r>
              <a:rPr lang="en-US" sz="1200" b="1" dirty="0">
                <a:solidFill>
                  <a:schemeClr val="bg1"/>
                </a:solidFill>
              </a:rPr>
              <a:t>Powder Coating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8F21EC8-A16B-DA47-A888-867E0DF8E97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128197" y="5082916"/>
            <a:ext cx="546100" cy="546100"/>
          </a:xfrm>
          <a:prstGeom prst="rect">
            <a:avLst/>
          </a:prstGeom>
        </p:spPr>
      </p:pic>
      <p:sp>
        <p:nvSpPr>
          <p:cNvPr id="53" name="Rectangle 52">
            <a:extLst>
              <a:ext uri="{FF2B5EF4-FFF2-40B4-BE49-F238E27FC236}">
                <a16:creationId xmlns:a16="http://schemas.microsoft.com/office/drawing/2014/main" id="{7BDB0E92-CCBE-7447-8623-2C5E583D20DB}"/>
              </a:ext>
            </a:extLst>
          </p:cNvPr>
          <p:cNvSpPr/>
          <p:nvPr/>
        </p:nvSpPr>
        <p:spPr>
          <a:xfrm>
            <a:off x="4239045" y="5164339"/>
            <a:ext cx="3734210" cy="367989"/>
          </a:xfrm>
          <a:prstGeom prst="rect">
            <a:avLst/>
          </a:prstGeom>
          <a:solidFill>
            <a:srgbClr val="7030A0">
              <a:alpha val="2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Freeform 53">
            <a:extLst>
              <a:ext uri="{FF2B5EF4-FFF2-40B4-BE49-F238E27FC236}">
                <a16:creationId xmlns:a16="http://schemas.microsoft.com/office/drawing/2014/main" id="{233DBC01-FA66-1441-A864-AA9C2BF0B183}"/>
              </a:ext>
            </a:extLst>
          </p:cNvPr>
          <p:cNvSpPr/>
          <p:nvPr/>
        </p:nvSpPr>
        <p:spPr>
          <a:xfrm>
            <a:off x="4239046" y="5164338"/>
            <a:ext cx="3640873" cy="367990"/>
          </a:xfrm>
          <a:custGeom>
            <a:avLst/>
            <a:gdLst>
              <a:gd name="connsiteX0" fmla="*/ 3640873 w 3640873"/>
              <a:gd name="connsiteY0" fmla="*/ 0 h 367990"/>
              <a:gd name="connsiteX1" fmla="*/ 0 w 3640873"/>
              <a:gd name="connsiteY1" fmla="*/ 0 h 367990"/>
              <a:gd name="connsiteX2" fmla="*/ 0 w 3640873"/>
              <a:gd name="connsiteY2" fmla="*/ 133815 h 367990"/>
              <a:gd name="connsiteX3" fmla="*/ 0 w 3640873"/>
              <a:gd name="connsiteY3" fmla="*/ 367990 h 367990"/>
              <a:gd name="connsiteX4" fmla="*/ 100361 w 3640873"/>
              <a:gd name="connsiteY4" fmla="*/ 367990 h 367990"/>
              <a:gd name="connsiteX5" fmla="*/ 3468029 w 3640873"/>
              <a:gd name="connsiteY5" fmla="*/ 367990 h 367990"/>
              <a:gd name="connsiteX6" fmla="*/ 3640873 w 3640873"/>
              <a:gd name="connsiteY6" fmla="*/ 0 h 367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640873" h="367990">
                <a:moveTo>
                  <a:pt x="3640873" y="0"/>
                </a:moveTo>
                <a:lnTo>
                  <a:pt x="0" y="0"/>
                </a:lnTo>
                <a:lnTo>
                  <a:pt x="0" y="133815"/>
                </a:lnTo>
                <a:lnTo>
                  <a:pt x="0" y="367990"/>
                </a:lnTo>
                <a:lnTo>
                  <a:pt x="100361" y="367990"/>
                </a:lnTo>
                <a:lnTo>
                  <a:pt x="3468029" y="367990"/>
                </a:lnTo>
                <a:lnTo>
                  <a:pt x="3640873" y="0"/>
                </a:lnTo>
                <a:close/>
              </a:path>
            </a:pathLst>
          </a:custGeom>
          <a:solidFill>
            <a:srgbClr val="971C9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D36A5EFC-8E99-9546-A152-3520B806D5F3}"/>
              </a:ext>
            </a:extLst>
          </p:cNvPr>
          <p:cNvSpPr txBox="1"/>
          <p:nvPr/>
        </p:nvSpPr>
        <p:spPr>
          <a:xfrm>
            <a:off x="4245532" y="5157085"/>
            <a:ext cx="2755959" cy="367990"/>
          </a:xfrm>
          <a:prstGeom prst="rect">
            <a:avLst/>
          </a:prstGeom>
          <a:noFill/>
        </p:spPr>
        <p:txBody>
          <a:bodyPr wrap="square" lIns="72000" tIns="0" rIns="0" bIns="0" rtlCol="0" anchor="ctr" anchorCtr="0">
            <a:noAutofit/>
          </a:bodyPr>
          <a:lstStyle/>
          <a:p>
            <a:r>
              <a:rPr lang="en-US" sz="1200" b="1" dirty="0">
                <a:solidFill>
                  <a:schemeClr val="bg1"/>
                </a:solidFill>
              </a:rPr>
              <a:t>Ultraviolet &amp; </a:t>
            </a:r>
            <a:r>
              <a:rPr lang="en-US" sz="1200" b="1" dirty="0" err="1">
                <a:solidFill>
                  <a:schemeClr val="bg1"/>
                </a:solidFill>
              </a:rPr>
              <a:t>Electrobeam</a:t>
            </a:r>
            <a:r>
              <a:rPr lang="en-US" sz="1200" b="1" dirty="0">
                <a:solidFill>
                  <a:schemeClr val="bg1"/>
                </a:solidFill>
              </a:rPr>
              <a:t> Coating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91A7D33-C1AA-B144-823A-A8B3C68F5554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074844" y="5079013"/>
            <a:ext cx="546100" cy="546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942466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89D401CA-AE41-594B-B327-931531120FB6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787"/>
            <a:ext cx="12188823" cy="6856213"/>
          </a:xfrm>
          <a:prstGeom prst="rect">
            <a:avLst/>
          </a:prstGeom>
        </p:spPr>
      </p:pic>
      <p:sp>
        <p:nvSpPr>
          <p:cNvPr id="7" name="Content Placeholder 22">
            <a:extLst>
              <a:ext uri="{FF2B5EF4-FFF2-40B4-BE49-F238E27FC236}">
                <a16:creationId xmlns:a16="http://schemas.microsoft.com/office/drawing/2014/main" id="{B77B15BE-AE1B-C44B-968A-C086DF509A4E}"/>
              </a:ext>
            </a:extLst>
          </p:cNvPr>
          <p:cNvSpPr txBox="1">
            <a:spLocks/>
          </p:cNvSpPr>
          <p:nvPr/>
        </p:nvSpPr>
        <p:spPr>
          <a:xfrm>
            <a:off x="1326423" y="1406770"/>
            <a:ext cx="4618892" cy="800594"/>
          </a:xfrm>
          <a:prstGeom prst="rect">
            <a:avLst/>
          </a:prstGeom>
        </p:spPr>
        <p:txBody>
          <a:bodyPr/>
          <a:lstStyle>
            <a:lvl1pPr marL="168275" indent="-168275" algn="l" defTabSz="457200" rtl="0" eaLnBrk="1" latinLnBrk="0" hangingPunct="1">
              <a:lnSpc>
                <a:spcPct val="85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Arial"/>
              </a:defRPr>
            </a:lvl1pPr>
            <a:lvl2pPr marL="396875" indent="-168275" algn="l" defTabSz="457200" rtl="0" eaLnBrk="1" latinLnBrk="0" hangingPunct="1">
              <a:lnSpc>
                <a:spcPct val="85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Arial"/>
              <a:buChar char="•"/>
              <a:defRPr sz="22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577850" indent="-180975" algn="l" defTabSz="457200" rtl="0" eaLnBrk="1" latinLnBrk="0" hangingPunct="1">
              <a:lnSpc>
                <a:spcPct val="85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Arial"/>
              <a:buChar char="•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Arial"/>
              </a:defRPr>
            </a:lvl3pPr>
            <a:lvl4pPr marL="685800" indent="-168275" algn="l" defTabSz="457200" rtl="0" eaLnBrk="1" latinLnBrk="0" hangingPunct="1">
              <a:lnSpc>
                <a:spcPct val="85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Arial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Arial"/>
              </a:defRPr>
            </a:lvl4pPr>
            <a:lvl5pPr marL="685800" indent="-169863" algn="l" defTabSz="457200" rtl="0" eaLnBrk="1" latinLnBrk="0" hangingPunct="1">
              <a:spcBef>
                <a:spcPts val="528"/>
              </a:spcBef>
              <a:spcAft>
                <a:spcPts val="0"/>
              </a:spcAft>
              <a:buClr>
                <a:schemeClr val="accent1"/>
              </a:buClr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/>
              </a:defRPr>
            </a:lvl5pPr>
            <a:lvl6pPr marL="800100" indent="-114300" algn="l" defTabSz="457200" rtl="0" eaLnBrk="1" latinLnBrk="0" hangingPunct="1">
              <a:spcBef>
                <a:spcPts val="528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5988" indent="-115888" algn="l" defTabSz="457200" rtl="0" eaLnBrk="1" latinLnBrk="0" hangingPunct="1">
              <a:spcBef>
                <a:spcPts val="528"/>
              </a:spcBef>
              <a:spcAft>
                <a:spcPts val="0"/>
              </a:spcAft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30288" indent="-114300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•"/>
              <a:defRPr sz="105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198563" indent="-106363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•"/>
              <a:defRPr sz="105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78A9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Knowledge and expertise pooled from around the globe</a:t>
            </a:r>
          </a:p>
        </p:txBody>
      </p:sp>
      <p:sp>
        <p:nvSpPr>
          <p:cNvPr id="8" name="Content Placeholder 22">
            <a:extLst>
              <a:ext uri="{FF2B5EF4-FFF2-40B4-BE49-F238E27FC236}">
                <a16:creationId xmlns:a16="http://schemas.microsoft.com/office/drawing/2014/main" id="{DF76D678-8070-A94A-8647-4D298392883D}"/>
              </a:ext>
            </a:extLst>
          </p:cNvPr>
          <p:cNvSpPr txBox="1">
            <a:spLocks/>
          </p:cNvSpPr>
          <p:nvPr/>
        </p:nvSpPr>
        <p:spPr>
          <a:xfrm>
            <a:off x="1326423" y="2574604"/>
            <a:ext cx="4277335" cy="800594"/>
          </a:xfrm>
          <a:prstGeom prst="rect">
            <a:avLst/>
          </a:prstGeom>
        </p:spPr>
        <p:txBody>
          <a:bodyPr/>
          <a:lstStyle>
            <a:lvl1pPr marL="168275" indent="-168275" algn="l" defTabSz="457200" rtl="0" eaLnBrk="1" latinLnBrk="0" hangingPunct="1">
              <a:lnSpc>
                <a:spcPct val="85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Arial"/>
              </a:defRPr>
            </a:lvl1pPr>
            <a:lvl2pPr marL="396875" indent="-168275" algn="l" defTabSz="457200" rtl="0" eaLnBrk="1" latinLnBrk="0" hangingPunct="1">
              <a:lnSpc>
                <a:spcPct val="85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Arial"/>
              <a:buChar char="•"/>
              <a:defRPr sz="22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577850" indent="-180975" algn="l" defTabSz="457200" rtl="0" eaLnBrk="1" latinLnBrk="0" hangingPunct="1">
              <a:lnSpc>
                <a:spcPct val="85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Arial"/>
              <a:buChar char="•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Arial"/>
              </a:defRPr>
            </a:lvl3pPr>
            <a:lvl4pPr marL="685800" indent="-168275" algn="l" defTabSz="457200" rtl="0" eaLnBrk="1" latinLnBrk="0" hangingPunct="1">
              <a:lnSpc>
                <a:spcPct val="85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Arial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Arial"/>
              </a:defRPr>
            </a:lvl4pPr>
            <a:lvl5pPr marL="685800" indent="-169863" algn="l" defTabSz="457200" rtl="0" eaLnBrk="1" latinLnBrk="0" hangingPunct="1">
              <a:spcBef>
                <a:spcPts val="528"/>
              </a:spcBef>
              <a:spcAft>
                <a:spcPts val="0"/>
              </a:spcAft>
              <a:buClr>
                <a:schemeClr val="accent1"/>
              </a:buClr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/>
              </a:defRPr>
            </a:lvl5pPr>
            <a:lvl6pPr marL="800100" indent="-114300" algn="l" defTabSz="457200" rtl="0" eaLnBrk="1" latinLnBrk="0" hangingPunct="1">
              <a:spcBef>
                <a:spcPts val="528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5988" indent="-115888" algn="l" defTabSz="457200" rtl="0" eaLnBrk="1" latinLnBrk="0" hangingPunct="1">
              <a:spcBef>
                <a:spcPts val="528"/>
              </a:spcBef>
              <a:spcAft>
                <a:spcPts val="0"/>
              </a:spcAft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30288" indent="-114300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•"/>
              <a:defRPr sz="105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198563" indent="-106363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•"/>
              <a:defRPr sz="105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78A9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Consistent formulation, delivered anywhere</a:t>
            </a:r>
          </a:p>
        </p:txBody>
      </p:sp>
      <p:sp>
        <p:nvSpPr>
          <p:cNvPr id="9" name="Content Placeholder 22">
            <a:extLst>
              <a:ext uri="{FF2B5EF4-FFF2-40B4-BE49-F238E27FC236}">
                <a16:creationId xmlns:a16="http://schemas.microsoft.com/office/drawing/2014/main" id="{5FA5EFB2-E7B7-BC46-A80C-A57E532EEFC9}"/>
              </a:ext>
            </a:extLst>
          </p:cNvPr>
          <p:cNvSpPr txBox="1">
            <a:spLocks/>
          </p:cNvSpPr>
          <p:nvPr/>
        </p:nvSpPr>
        <p:spPr>
          <a:xfrm>
            <a:off x="1326422" y="3742438"/>
            <a:ext cx="4970585" cy="800594"/>
          </a:xfrm>
          <a:prstGeom prst="rect">
            <a:avLst/>
          </a:prstGeom>
        </p:spPr>
        <p:txBody>
          <a:bodyPr/>
          <a:lstStyle>
            <a:lvl1pPr marL="168275" indent="-168275" algn="l" defTabSz="457200" rtl="0" eaLnBrk="1" latinLnBrk="0" hangingPunct="1">
              <a:lnSpc>
                <a:spcPct val="85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Arial"/>
              </a:defRPr>
            </a:lvl1pPr>
            <a:lvl2pPr marL="396875" indent="-168275" algn="l" defTabSz="457200" rtl="0" eaLnBrk="1" latinLnBrk="0" hangingPunct="1">
              <a:lnSpc>
                <a:spcPct val="85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Arial"/>
              <a:buChar char="•"/>
              <a:defRPr sz="22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577850" indent="-180975" algn="l" defTabSz="457200" rtl="0" eaLnBrk="1" latinLnBrk="0" hangingPunct="1">
              <a:lnSpc>
                <a:spcPct val="85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Arial"/>
              <a:buChar char="•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Arial"/>
              </a:defRPr>
            </a:lvl3pPr>
            <a:lvl4pPr marL="685800" indent="-168275" algn="l" defTabSz="457200" rtl="0" eaLnBrk="1" latinLnBrk="0" hangingPunct="1">
              <a:lnSpc>
                <a:spcPct val="85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Arial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Arial"/>
              </a:defRPr>
            </a:lvl4pPr>
            <a:lvl5pPr marL="685800" indent="-169863" algn="l" defTabSz="457200" rtl="0" eaLnBrk="1" latinLnBrk="0" hangingPunct="1">
              <a:spcBef>
                <a:spcPts val="528"/>
              </a:spcBef>
              <a:spcAft>
                <a:spcPts val="0"/>
              </a:spcAft>
              <a:buClr>
                <a:schemeClr val="accent1"/>
              </a:buClr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/>
              </a:defRPr>
            </a:lvl5pPr>
            <a:lvl6pPr marL="800100" indent="-114300" algn="l" defTabSz="457200" rtl="0" eaLnBrk="1" latinLnBrk="0" hangingPunct="1">
              <a:spcBef>
                <a:spcPts val="528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5988" indent="-115888" algn="l" defTabSz="457200" rtl="0" eaLnBrk="1" latinLnBrk="0" hangingPunct="1">
              <a:spcBef>
                <a:spcPts val="528"/>
              </a:spcBef>
              <a:spcAft>
                <a:spcPts val="0"/>
              </a:spcAft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30288" indent="-114300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•"/>
              <a:defRPr sz="105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198563" indent="-106363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•"/>
              <a:defRPr sz="105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78A9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Global sourcing that ensures a steady raw materials supply and competitive pricing</a:t>
            </a:r>
          </a:p>
        </p:txBody>
      </p:sp>
      <p:sp>
        <p:nvSpPr>
          <p:cNvPr id="11" name="Content Placeholder 22">
            <a:extLst>
              <a:ext uri="{FF2B5EF4-FFF2-40B4-BE49-F238E27FC236}">
                <a16:creationId xmlns:a16="http://schemas.microsoft.com/office/drawing/2014/main" id="{671E80F4-B2DC-DC4D-8603-02D45A360006}"/>
              </a:ext>
            </a:extLst>
          </p:cNvPr>
          <p:cNvSpPr txBox="1">
            <a:spLocks/>
          </p:cNvSpPr>
          <p:nvPr/>
        </p:nvSpPr>
        <p:spPr>
          <a:xfrm>
            <a:off x="1326422" y="4928276"/>
            <a:ext cx="4970585" cy="800594"/>
          </a:xfrm>
          <a:prstGeom prst="rect">
            <a:avLst/>
          </a:prstGeom>
        </p:spPr>
        <p:txBody>
          <a:bodyPr/>
          <a:lstStyle>
            <a:lvl1pPr marL="168275" indent="-168275" algn="l" defTabSz="457200" rtl="0" eaLnBrk="1" latinLnBrk="0" hangingPunct="1">
              <a:lnSpc>
                <a:spcPct val="85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Arial"/>
              </a:defRPr>
            </a:lvl1pPr>
            <a:lvl2pPr marL="396875" indent="-168275" algn="l" defTabSz="457200" rtl="0" eaLnBrk="1" latinLnBrk="0" hangingPunct="1">
              <a:lnSpc>
                <a:spcPct val="85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Arial"/>
              <a:buChar char="•"/>
              <a:defRPr sz="22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577850" indent="-180975" algn="l" defTabSz="457200" rtl="0" eaLnBrk="1" latinLnBrk="0" hangingPunct="1">
              <a:lnSpc>
                <a:spcPct val="85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Arial"/>
              <a:buChar char="•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Arial"/>
              </a:defRPr>
            </a:lvl3pPr>
            <a:lvl4pPr marL="685800" indent="-168275" algn="l" defTabSz="457200" rtl="0" eaLnBrk="1" latinLnBrk="0" hangingPunct="1">
              <a:lnSpc>
                <a:spcPct val="85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Arial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Arial"/>
              </a:defRPr>
            </a:lvl4pPr>
            <a:lvl5pPr marL="685800" indent="-169863" algn="l" defTabSz="457200" rtl="0" eaLnBrk="1" latinLnBrk="0" hangingPunct="1">
              <a:spcBef>
                <a:spcPts val="528"/>
              </a:spcBef>
              <a:spcAft>
                <a:spcPts val="0"/>
              </a:spcAft>
              <a:buClr>
                <a:schemeClr val="accent1"/>
              </a:buClr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/>
              </a:defRPr>
            </a:lvl5pPr>
            <a:lvl6pPr marL="800100" indent="-114300" algn="l" defTabSz="457200" rtl="0" eaLnBrk="1" latinLnBrk="0" hangingPunct="1">
              <a:spcBef>
                <a:spcPts val="528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5988" indent="-115888" algn="l" defTabSz="457200" rtl="0" eaLnBrk="1" latinLnBrk="0" hangingPunct="1">
              <a:spcBef>
                <a:spcPts val="528"/>
              </a:spcBef>
              <a:spcAft>
                <a:spcPts val="0"/>
              </a:spcAft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30288" indent="-114300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•"/>
              <a:defRPr sz="105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198563" indent="-106363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•"/>
              <a:defRPr sz="105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78A9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Economy of sca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C3D8F57-EEFA-7243-9FB3-0AA712ABD3A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rgbClr val="666666"/>
                </a:solidFill>
                <a:latin typeface="Arial" panose="020B0604020202020204"/>
              </a:rPr>
              <a:t>4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0D2E2D52-A490-1841-B5DE-4E7454380E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lobal Reach</a:t>
            </a:r>
          </a:p>
        </p:txBody>
      </p:sp>
      <p:sp>
        <p:nvSpPr>
          <p:cNvPr id="12" name="Footer Placeholder 1">
            <a:extLst>
              <a:ext uri="{FF2B5EF4-FFF2-40B4-BE49-F238E27FC236}">
                <a16:creationId xmlns:a16="http://schemas.microsoft.com/office/drawing/2014/main" id="{D4582ABE-9E62-9F4B-B88D-54EABD4AF0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63811" y="6496407"/>
            <a:ext cx="9460550" cy="172221"/>
          </a:xfrm>
        </p:spPr>
        <p:txBody>
          <a:bodyPr/>
          <a:lstStyle/>
          <a:p>
            <a:pPr marL="0" marR="0" lvl="0" indent="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Powder Coatings from PPG ©2023 PPG Industries, Inc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179159072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raphic 7">
            <a:extLst>
              <a:ext uri="{FF2B5EF4-FFF2-40B4-BE49-F238E27FC236}">
                <a16:creationId xmlns:a16="http://schemas.microsoft.com/office/drawing/2014/main" id="{0AE1F320-B039-4136-B223-199CE8C98567}"/>
              </a:ext>
            </a:extLst>
          </p:cNvPr>
          <p:cNvSpPr/>
          <p:nvPr/>
        </p:nvSpPr>
        <p:spPr>
          <a:xfrm>
            <a:off x="1924058" y="1366550"/>
            <a:ext cx="9660304" cy="4529206"/>
          </a:xfrm>
          <a:custGeom>
            <a:avLst/>
            <a:gdLst>
              <a:gd name="connsiteX0" fmla="*/ 7739255 w 9043663"/>
              <a:gd name="connsiteY0" fmla="*/ 3664184 h 3664183"/>
              <a:gd name="connsiteX1" fmla="*/ 7760756 w 9043663"/>
              <a:gd name="connsiteY1" fmla="*/ 3664184 h 3664183"/>
              <a:gd name="connsiteX2" fmla="*/ 7760756 w 9043663"/>
              <a:gd name="connsiteY2" fmla="*/ 3659001 h 3664183"/>
              <a:gd name="connsiteX3" fmla="*/ 7739255 w 9043663"/>
              <a:gd name="connsiteY3" fmla="*/ 3659001 h 3664183"/>
              <a:gd name="connsiteX4" fmla="*/ 7739255 w 9043663"/>
              <a:gd name="connsiteY4" fmla="*/ 3664184 h 3664183"/>
              <a:gd name="connsiteX5" fmla="*/ 8835818 w 9043663"/>
              <a:gd name="connsiteY5" fmla="*/ 2418257 h 3664183"/>
              <a:gd name="connsiteX6" fmla="*/ 8857320 w 9043663"/>
              <a:gd name="connsiteY6" fmla="*/ 2441062 h 3664183"/>
              <a:gd name="connsiteX7" fmla="*/ 8880016 w 9043663"/>
              <a:gd name="connsiteY7" fmla="*/ 2441062 h 3664183"/>
              <a:gd name="connsiteX8" fmla="*/ 8876431 w 9043663"/>
              <a:gd name="connsiteY8" fmla="*/ 2436915 h 3664183"/>
              <a:gd name="connsiteX9" fmla="*/ 8870459 w 9043663"/>
              <a:gd name="connsiteY9" fmla="*/ 2425513 h 3664183"/>
              <a:gd name="connsiteX10" fmla="*/ 8845374 w 9043663"/>
              <a:gd name="connsiteY10" fmla="*/ 2420331 h 3664183"/>
              <a:gd name="connsiteX11" fmla="*/ 8835818 w 9043663"/>
              <a:gd name="connsiteY11" fmla="*/ 2418257 h 3664183"/>
              <a:gd name="connsiteX12" fmla="*/ 1781020 w 9043663"/>
              <a:gd name="connsiteY12" fmla="*/ 1545487 h 3664183"/>
              <a:gd name="connsiteX13" fmla="*/ 1781020 w 9043663"/>
              <a:gd name="connsiteY13" fmla="*/ 1557926 h 3664183"/>
              <a:gd name="connsiteX14" fmla="*/ 1808494 w 9043663"/>
              <a:gd name="connsiteY14" fmla="*/ 1553780 h 3664183"/>
              <a:gd name="connsiteX15" fmla="*/ 1794160 w 9043663"/>
              <a:gd name="connsiteY15" fmla="*/ 1541341 h 3664183"/>
              <a:gd name="connsiteX16" fmla="*/ 1781020 w 9043663"/>
              <a:gd name="connsiteY16" fmla="*/ 1545487 h 3664183"/>
              <a:gd name="connsiteX17" fmla="*/ 2389028 w 9043663"/>
              <a:gd name="connsiteY17" fmla="*/ 1688530 h 3664183"/>
              <a:gd name="connsiteX18" fmla="*/ 2372305 w 9043663"/>
              <a:gd name="connsiteY18" fmla="*/ 1695786 h 3664183"/>
              <a:gd name="connsiteX19" fmla="*/ 2372305 w 9043663"/>
              <a:gd name="connsiteY19" fmla="*/ 1712371 h 3664183"/>
              <a:gd name="connsiteX20" fmla="*/ 2393806 w 9043663"/>
              <a:gd name="connsiteY20" fmla="*/ 1700969 h 3664183"/>
              <a:gd name="connsiteX21" fmla="*/ 2389028 w 9043663"/>
              <a:gd name="connsiteY21" fmla="*/ 1688530 h 3664183"/>
              <a:gd name="connsiteX22" fmla="*/ 2403362 w 9043663"/>
              <a:gd name="connsiteY22" fmla="*/ 1743467 h 3664183"/>
              <a:gd name="connsiteX23" fmla="*/ 2389028 w 9043663"/>
              <a:gd name="connsiteY23" fmla="*/ 1735175 h 3664183"/>
              <a:gd name="connsiteX24" fmla="*/ 2385444 w 9043663"/>
              <a:gd name="connsiteY24" fmla="*/ 1739321 h 3664183"/>
              <a:gd name="connsiteX25" fmla="*/ 2399778 w 9043663"/>
              <a:gd name="connsiteY25" fmla="*/ 1747614 h 3664183"/>
              <a:gd name="connsiteX26" fmla="*/ 2403362 w 9043663"/>
              <a:gd name="connsiteY26" fmla="*/ 1743467 h 3664183"/>
              <a:gd name="connsiteX27" fmla="*/ 1961392 w 9043663"/>
              <a:gd name="connsiteY27" fmla="*/ 1415919 h 3664183"/>
              <a:gd name="connsiteX28" fmla="*/ 1925556 w 9043663"/>
              <a:gd name="connsiteY28" fmla="*/ 1406591 h 3664183"/>
              <a:gd name="connsiteX29" fmla="*/ 1924362 w 9043663"/>
              <a:gd name="connsiteY29" fmla="*/ 1411773 h 3664183"/>
              <a:gd name="connsiteX30" fmla="*/ 1960197 w 9043663"/>
              <a:gd name="connsiteY30" fmla="*/ 1421102 h 3664183"/>
              <a:gd name="connsiteX31" fmla="*/ 1961392 w 9043663"/>
              <a:gd name="connsiteY31" fmla="*/ 1415919 h 3664183"/>
              <a:gd name="connsiteX32" fmla="*/ 1966170 w 9043663"/>
              <a:gd name="connsiteY32" fmla="*/ 1434577 h 3664183"/>
              <a:gd name="connsiteX33" fmla="*/ 1981698 w 9043663"/>
              <a:gd name="connsiteY33" fmla="*/ 1421102 h 3664183"/>
              <a:gd name="connsiteX34" fmla="*/ 1981698 w 9043663"/>
              <a:gd name="connsiteY34" fmla="*/ 1421102 h 3664183"/>
              <a:gd name="connsiteX35" fmla="*/ 1982893 w 9043663"/>
              <a:gd name="connsiteY35" fmla="*/ 1419029 h 3664183"/>
              <a:gd name="connsiteX36" fmla="*/ 1985282 w 9043663"/>
              <a:gd name="connsiteY36" fmla="*/ 1416956 h 3664183"/>
              <a:gd name="connsiteX37" fmla="*/ 1985282 w 9043663"/>
              <a:gd name="connsiteY37" fmla="*/ 1416956 h 3664183"/>
              <a:gd name="connsiteX38" fmla="*/ 1985282 w 9043663"/>
              <a:gd name="connsiteY38" fmla="*/ 1416956 h 3664183"/>
              <a:gd name="connsiteX39" fmla="*/ 1982893 w 9043663"/>
              <a:gd name="connsiteY39" fmla="*/ 1415919 h 3664183"/>
              <a:gd name="connsiteX40" fmla="*/ 1980504 w 9043663"/>
              <a:gd name="connsiteY40" fmla="*/ 1413846 h 3664183"/>
              <a:gd name="connsiteX41" fmla="*/ 1980504 w 9043663"/>
              <a:gd name="connsiteY41" fmla="*/ 1413846 h 3664183"/>
              <a:gd name="connsiteX42" fmla="*/ 1967364 w 9043663"/>
              <a:gd name="connsiteY42" fmla="*/ 1404517 h 3664183"/>
              <a:gd name="connsiteX43" fmla="*/ 1964975 w 9043663"/>
              <a:gd name="connsiteY43" fmla="*/ 1402444 h 3664183"/>
              <a:gd name="connsiteX44" fmla="*/ 1961392 w 9043663"/>
              <a:gd name="connsiteY44" fmla="*/ 1406591 h 3664183"/>
              <a:gd name="connsiteX45" fmla="*/ 1963781 w 9043663"/>
              <a:gd name="connsiteY45" fmla="*/ 1408663 h 3664183"/>
              <a:gd name="connsiteX46" fmla="*/ 1975726 w 9043663"/>
              <a:gd name="connsiteY46" fmla="*/ 1416956 h 3664183"/>
              <a:gd name="connsiteX47" fmla="*/ 1961392 w 9043663"/>
              <a:gd name="connsiteY47" fmla="*/ 1429394 h 3664183"/>
              <a:gd name="connsiteX48" fmla="*/ 1966170 w 9043663"/>
              <a:gd name="connsiteY48" fmla="*/ 1434577 h 3664183"/>
              <a:gd name="connsiteX49" fmla="*/ 2006783 w 9043663"/>
              <a:gd name="connsiteY49" fmla="*/ 1454271 h 3664183"/>
              <a:gd name="connsiteX50" fmla="*/ 1997227 w 9043663"/>
              <a:gd name="connsiteY50" fmla="*/ 1449089 h 3664183"/>
              <a:gd name="connsiteX51" fmla="*/ 1986476 w 9043663"/>
              <a:gd name="connsiteY51" fmla="*/ 1443906 h 3664183"/>
              <a:gd name="connsiteX52" fmla="*/ 1986476 w 9043663"/>
              <a:gd name="connsiteY52" fmla="*/ 1443906 h 3664183"/>
              <a:gd name="connsiteX53" fmla="*/ 1984087 w 9043663"/>
              <a:gd name="connsiteY53" fmla="*/ 1442870 h 3664183"/>
              <a:gd name="connsiteX54" fmla="*/ 1981698 w 9043663"/>
              <a:gd name="connsiteY54" fmla="*/ 1447016 h 3664183"/>
              <a:gd name="connsiteX55" fmla="*/ 1994838 w 9043663"/>
              <a:gd name="connsiteY55" fmla="*/ 1453235 h 3664183"/>
              <a:gd name="connsiteX56" fmla="*/ 2003200 w 9043663"/>
              <a:gd name="connsiteY56" fmla="*/ 1457381 h 3664183"/>
              <a:gd name="connsiteX57" fmla="*/ 2002005 w 9043663"/>
              <a:gd name="connsiteY57" fmla="*/ 1461527 h 3664183"/>
              <a:gd name="connsiteX58" fmla="*/ 2000811 w 9043663"/>
              <a:gd name="connsiteY58" fmla="*/ 1467747 h 3664183"/>
              <a:gd name="connsiteX59" fmla="*/ 2000811 w 9043663"/>
              <a:gd name="connsiteY59" fmla="*/ 1467747 h 3664183"/>
              <a:gd name="connsiteX60" fmla="*/ 2000811 w 9043663"/>
              <a:gd name="connsiteY60" fmla="*/ 1469819 h 3664183"/>
              <a:gd name="connsiteX61" fmla="*/ 2006783 w 9043663"/>
              <a:gd name="connsiteY61" fmla="*/ 1470856 h 3664183"/>
              <a:gd name="connsiteX62" fmla="*/ 2009172 w 9043663"/>
              <a:gd name="connsiteY62" fmla="*/ 1461527 h 3664183"/>
              <a:gd name="connsiteX63" fmla="*/ 2010367 w 9043663"/>
              <a:gd name="connsiteY63" fmla="*/ 1455308 h 3664183"/>
              <a:gd name="connsiteX64" fmla="*/ 2011561 w 9043663"/>
              <a:gd name="connsiteY64" fmla="*/ 1453235 h 3664183"/>
              <a:gd name="connsiteX65" fmla="*/ 2010367 w 9043663"/>
              <a:gd name="connsiteY65" fmla="*/ 1453235 h 3664183"/>
              <a:gd name="connsiteX66" fmla="*/ 2010367 w 9043663"/>
              <a:gd name="connsiteY66" fmla="*/ 1452198 h 3664183"/>
              <a:gd name="connsiteX67" fmla="*/ 2006783 w 9043663"/>
              <a:gd name="connsiteY67" fmla="*/ 1454271 h 3664183"/>
              <a:gd name="connsiteX68" fmla="*/ 2013950 w 9043663"/>
              <a:gd name="connsiteY68" fmla="*/ 1467747 h 3664183"/>
              <a:gd name="connsiteX69" fmla="*/ 2013950 w 9043663"/>
              <a:gd name="connsiteY69" fmla="*/ 1467747 h 3664183"/>
              <a:gd name="connsiteX70" fmla="*/ 2011561 w 9043663"/>
              <a:gd name="connsiteY70" fmla="*/ 1465673 h 3664183"/>
              <a:gd name="connsiteX71" fmla="*/ 2006783 w 9043663"/>
              <a:gd name="connsiteY71" fmla="*/ 1468783 h 3664183"/>
              <a:gd name="connsiteX72" fmla="*/ 2011561 w 9043663"/>
              <a:gd name="connsiteY72" fmla="*/ 1473966 h 3664183"/>
              <a:gd name="connsiteX73" fmla="*/ 2017534 w 9043663"/>
              <a:gd name="connsiteY73" fmla="*/ 1481222 h 3664183"/>
              <a:gd name="connsiteX74" fmla="*/ 2017534 w 9043663"/>
              <a:gd name="connsiteY74" fmla="*/ 1481222 h 3664183"/>
              <a:gd name="connsiteX75" fmla="*/ 2019923 w 9043663"/>
              <a:gd name="connsiteY75" fmla="*/ 1483295 h 3664183"/>
              <a:gd name="connsiteX76" fmla="*/ 2024701 w 9043663"/>
              <a:gd name="connsiteY76" fmla="*/ 1480185 h 3664183"/>
              <a:gd name="connsiteX77" fmla="*/ 2019923 w 9043663"/>
              <a:gd name="connsiteY77" fmla="*/ 1475002 h 3664183"/>
              <a:gd name="connsiteX78" fmla="*/ 2013950 w 9043663"/>
              <a:gd name="connsiteY78" fmla="*/ 1467747 h 3664183"/>
              <a:gd name="connsiteX79" fmla="*/ 2013950 w 9043663"/>
              <a:gd name="connsiteY79" fmla="*/ 1493660 h 3664183"/>
              <a:gd name="connsiteX80" fmla="*/ 2024701 w 9043663"/>
              <a:gd name="connsiteY80" fmla="*/ 1521647 h 3664183"/>
              <a:gd name="connsiteX81" fmla="*/ 2030673 w 9043663"/>
              <a:gd name="connsiteY81" fmla="*/ 1519574 h 3664183"/>
              <a:gd name="connsiteX82" fmla="*/ 2019923 w 9043663"/>
              <a:gd name="connsiteY82" fmla="*/ 1491587 h 3664183"/>
              <a:gd name="connsiteX83" fmla="*/ 2013950 w 9043663"/>
              <a:gd name="connsiteY83" fmla="*/ 1493660 h 3664183"/>
              <a:gd name="connsiteX84" fmla="*/ 2030673 w 9043663"/>
              <a:gd name="connsiteY84" fmla="*/ 1533049 h 3664183"/>
              <a:gd name="connsiteX85" fmla="*/ 2034257 w 9043663"/>
              <a:gd name="connsiteY85" fmla="*/ 1537195 h 3664183"/>
              <a:gd name="connsiteX86" fmla="*/ 2036646 w 9043663"/>
              <a:gd name="connsiteY86" fmla="*/ 1536159 h 3664183"/>
              <a:gd name="connsiteX87" fmla="*/ 2053369 w 9043663"/>
              <a:gd name="connsiteY87" fmla="*/ 1526829 h 3664183"/>
              <a:gd name="connsiteX88" fmla="*/ 2054564 w 9043663"/>
              <a:gd name="connsiteY88" fmla="*/ 1526829 h 3664183"/>
              <a:gd name="connsiteX89" fmla="*/ 2055758 w 9043663"/>
              <a:gd name="connsiteY89" fmla="*/ 1524757 h 3664183"/>
              <a:gd name="connsiteX90" fmla="*/ 2056953 w 9043663"/>
              <a:gd name="connsiteY90" fmla="*/ 1523720 h 3664183"/>
              <a:gd name="connsiteX91" fmla="*/ 2055758 w 9043663"/>
              <a:gd name="connsiteY91" fmla="*/ 1522683 h 3664183"/>
              <a:gd name="connsiteX92" fmla="*/ 2055758 w 9043663"/>
              <a:gd name="connsiteY92" fmla="*/ 1521647 h 3664183"/>
              <a:gd name="connsiteX93" fmla="*/ 2053369 w 9043663"/>
              <a:gd name="connsiteY93" fmla="*/ 1520610 h 3664183"/>
              <a:gd name="connsiteX94" fmla="*/ 2052175 w 9043663"/>
              <a:gd name="connsiteY94" fmla="*/ 1519574 h 3664183"/>
              <a:gd name="connsiteX95" fmla="*/ 2050980 w 9043663"/>
              <a:gd name="connsiteY95" fmla="*/ 1520610 h 3664183"/>
              <a:gd name="connsiteX96" fmla="*/ 2031868 w 9043663"/>
              <a:gd name="connsiteY96" fmla="*/ 1515428 h 3664183"/>
              <a:gd name="connsiteX97" fmla="*/ 2029479 w 9043663"/>
              <a:gd name="connsiteY97" fmla="*/ 1520610 h 3664183"/>
              <a:gd name="connsiteX98" fmla="*/ 2045008 w 9043663"/>
              <a:gd name="connsiteY98" fmla="*/ 1524757 h 3664183"/>
              <a:gd name="connsiteX99" fmla="*/ 2031868 w 9043663"/>
              <a:gd name="connsiteY99" fmla="*/ 1532012 h 3664183"/>
              <a:gd name="connsiteX100" fmla="*/ 2030673 w 9043663"/>
              <a:gd name="connsiteY100" fmla="*/ 1533049 h 3664183"/>
              <a:gd name="connsiteX101" fmla="*/ 2071287 w 9043663"/>
              <a:gd name="connsiteY101" fmla="*/ 1534085 h 3664183"/>
              <a:gd name="connsiteX102" fmla="*/ 2089205 w 9043663"/>
              <a:gd name="connsiteY102" fmla="*/ 1534085 h 3664183"/>
              <a:gd name="connsiteX103" fmla="*/ 2089205 w 9043663"/>
              <a:gd name="connsiteY103" fmla="*/ 1528903 h 3664183"/>
              <a:gd name="connsiteX104" fmla="*/ 2071287 w 9043663"/>
              <a:gd name="connsiteY104" fmla="*/ 1528903 h 3664183"/>
              <a:gd name="connsiteX105" fmla="*/ 2071287 w 9043663"/>
              <a:gd name="connsiteY105" fmla="*/ 1534085 h 3664183"/>
              <a:gd name="connsiteX106" fmla="*/ 2085621 w 9043663"/>
              <a:gd name="connsiteY106" fmla="*/ 1545487 h 3664183"/>
              <a:gd name="connsiteX107" fmla="*/ 2088010 w 9043663"/>
              <a:gd name="connsiteY107" fmla="*/ 1550670 h 3664183"/>
              <a:gd name="connsiteX108" fmla="*/ 2090399 w 9043663"/>
              <a:gd name="connsiteY108" fmla="*/ 1549634 h 3664183"/>
              <a:gd name="connsiteX109" fmla="*/ 2098761 w 9043663"/>
              <a:gd name="connsiteY109" fmla="*/ 1547560 h 3664183"/>
              <a:gd name="connsiteX110" fmla="*/ 2107122 w 9043663"/>
              <a:gd name="connsiteY110" fmla="*/ 1548597 h 3664183"/>
              <a:gd name="connsiteX111" fmla="*/ 2116678 w 9043663"/>
              <a:gd name="connsiteY111" fmla="*/ 1549634 h 3664183"/>
              <a:gd name="connsiteX112" fmla="*/ 2116678 w 9043663"/>
              <a:gd name="connsiteY112" fmla="*/ 1549634 h 3664183"/>
              <a:gd name="connsiteX113" fmla="*/ 2119067 w 9043663"/>
              <a:gd name="connsiteY113" fmla="*/ 1549634 h 3664183"/>
              <a:gd name="connsiteX114" fmla="*/ 2120262 w 9043663"/>
              <a:gd name="connsiteY114" fmla="*/ 1544451 h 3664183"/>
              <a:gd name="connsiteX115" fmla="*/ 2108317 w 9043663"/>
              <a:gd name="connsiteY115" fmla="*/ 1542378 h 3664183"/>
              <a:gd name="connsiteX116" fmla="*/ 2101150 w 9043663"/>
              <a:gd name="connsiteY116" fmla="*/ 1541341 h 3664183"/>
              <a:gd name="connsiteX117" fmla="*/ 2101150 w 9043663"/>
              <a:gd name="connsiteY117" fmla="*/ 1540305 h 3664183"/>
              <a:gd name="connsiteX118" fmla="*/ 2098761 w 9043663"/>
              <a:gd name="connsiteY118" fmla="*/ 1541341 h 3664183"/>
              <a:gd name="connsiteX119" fmla="*/ 2096372 w 9043663"/>
              <a:gd name="connsiteY119" fmla="*/ 1541341 h 3664183"/>
              <a:gd name="connsiteX120" fmla="*/ 2096372 w 9043663"/>
              <a:gd name="connsiteY120" fmla="*/ 1542378 h 3664183"/>
              <a:gd name="connsiteX121" fmla="*/ 2089205 w 9043663"/>
              <a:gd name="connsiteY121" fmla="*/ 1544451 h 3664183"/>
              <a:gd name="connsiteX122" fmla="*/ 2085621 w 9043663"/>
              <a:gd name="connsiteY122" fmla="*/ 1545487 h 3664183"/>
              <a:gd name="connsiteX123" fmla="*/ 1852691 w 9043663"/>
              <a:gd name="connsiteY123" fmla="*/ 1466710 h 3664183"/>
              <a:gd name="connsiteX124" fmla="*/ 1834773 w 9043663"/>
              <a:gd name="connsiteY124" fmla="*/ 1466710 h 3664183"/>
              <a:gd name="connsiteX125" fmla="*/ 1834773 w 9043663"/>
              <a:gd name="connsiteY125" fmla="*/ 1471893 h 3664183"/>
              <a:gd name="connsiteX126" fmla="*/ 1852691 w 9043663"/>
              <a:gd name="connsiteY126" fmla="*/ 1471893 h 3664183"/>
              <a:gd name="connsiteX127" fmla="*/ 1852691 w 9043663"/>
              <a:gd name="connsiteY127" fmla="*/ 1466710 h 3664183"/>
              <a:gd name="connsiteX128" fmla="*/ 2491756 w 9043663"/>
              <a:gd name="connsiteY128" fmla="*/ 53900 h 3664183"/>
              <a:gd name="connsiteX129" fmla="*/ 2421279 w 9043663"/>
              <a:gd name="connsiteY129" fmla="*/ 62193 h 3664183"/>
              <a:gd name="connsiteX130" fmla="*/ 2512063 w 9043663"/>
              <a:gd name="connsiteY130" fmla="*/ 70485 h 3664183"/>
              <a:gd name="connsiteX131" fmla="*/ 2491756 w 9043663"/>
              <a:gd name="connsiteY131" fmla="*/ 53900 h 3664183"/>
              <a:gd name="connsiteX132" fmla="*/ 50170 w 9043663"/>
              <a:gd name="connsiteY132" fmla="*/ 682046 h 3664183"/>
              <a:gd name="connsiteX133" fmla="*/ 1195 w 9043663"/>
              <a:gd name="connsiteY133" fmla="*/ 690338 h 3664183"/>
              <a:gd name="connsiteX134" fmla="*/ 1195 w 9043663"/>
              <a:gd name="connsiteY134" fmla="*/ 693448 h 3664183"/>
              <a:gd name="connsiteX135" fmla="*/ 0 w 9043663"/>
              <a:gd name="connsiteY135" fmla="*/ 693448 h 3664183"/>
              <a:gd name="connsiteX136" fmla="*/ 1195 w 9043663"/>
              <a:gd name="connsiteY136" fmla="*/ 696558 h 3664183"/>
              <a:gd name="connsiteX137" fmla="*/ 0 w 9043663"/>
              <a:gd name="connsiteY137" fmla="*/ 696558 h 3664183"/>
              <a:gd name="connsiteX138" fmla="*/ 1195 w 9043663"/>
              <a:gd name="connsiteY138" fmla="*/ 700704 h 3664183"/>
              <a:gd name="connsiteX139" fmla="*/ 1195 w 9043663"/>
              <a:gd name="connsiteY139" fmla="*/ 706923 h 3664183"/>
              <a:gd name="connsiteX140" fmla="*/ 53753 w 9043663"/>
              <a:gd name="connsiteY140" fmla="*/ 691375 h 3664183"/>
              <a:gd name="connsiteX141" fmla="*/ 53753 w 9043663"/>
              <a:gd name="connsiteY141" fmla="*/ 690338 h 3664183"/>
              <a:gd name="connsiteX142" fmla="*/ 53753 w 9043663"/>
              <a:gd name="connsiteY142" fmla="*/ 691375 h 3664183"/>
              <a:gd name="connsiteX143" fmla="*/ 142147 w 9043663"/>
              <a:gd name="connsiteY143" fmla="*/ 663388 h 3664183"/>
              <a:gd name="connsiteX144" fmla="*/ 86005 w 9043663"/>
              <a:gd name="connsiteY144" fmla="*/ 663388 h 3664183"/>
              <a:gd name="connsiteX145" fmla="*/ 50170 w 9043663"/>
              <a:gd name="connsiteY145" fmla="*/ 682046 h 3664183"/>
              <a:gd name="connsiteX146" fmla="*/ 413302 w 9043663"/>
              <a:gd name="connsiteY146" fmla="*/ 430166 h 3664183"/>
              <a:gd name="connsiteX147" fmla="*/ 403746 w 9043663"/>
              <a:gd name="connsiteY147" fmla="*/ 430166 h 3664183"/>
              <a:gd name="connsiteX148" fmla="*/ 403746 w 9043663"/>
              <a:gd name="connsiteY148" fmla="*/ 435349 h 3664183"/>
              <a:gd name="connsiteX149" fmla="*/ 413302 w 9043663"/>
              <a:gd name="connsiteY149" fmla="*/ 435349 h 3664183"/>
              <a:gd name="connsiteX150" fmla="*/ 413302 w 9043663"/>
              <a:gd name="connsiteY150" fmla="*/ 430166 h 3664183"/>
              <a:gd name="connsiteX151" fmla="*/ 2184766 w 9043663"/>
              <a:gd name="connsiteY151" fmla="*/ 1649142 h 3664183"/>
              <a:gd name="connsiteX152" fmla="*/ 2200294 w 9043663"/>
              <a:gd name="connsiteY152" fmla="*/ 1635667 h 3664183"/>
              <a:gd name="connsiteX153" fmla="*/ 2185960 w 9043663"/>
              <a:gd name="connsiteY153" fmla="*/ 1617009 h 3664183"/>
              <a:gd name="connsiteX154" fmla="*/ 2165654 w 9043663"/>
              <a:gd name="connsiteY154" fmla="*/ 1617009 h 3664183"/>
              <a:gd name="connsiteX155" fmla="*/ 2179988 w 9043663"/>
              <a:gd name="connsiteY155" fmla="*/ 1606643 h 3664183"/>
              <a:gd name="connsiteX156" fmla="*/ 2157292 w 9043663"/>
              <a:gd name="connsiteY156" fmla="*/ 1606643 h 3664183"/>
              <a:gd name="connsiteX157" fmla="*/ 2148930 w 9043663"/>
              <a:gd name="connsiteY157" fmla="*/ 1601461 h 3664183"/>
              <a:gd name="connsiteX158" fmla="*/ 2099955 w 9043663"/>
              <a:gd name="connsiteY158" fmla="*/ 1596278 h 3664183"/>
              <a:gd name="connsiteX159" fmla="*/ 2099955 w 9043663"/>
              <a:gd name="connsiteY159" fmla="*/ 1596278 h 3664183"/>
              <a:gd name="connsiteX160" fmla="*/ 2059342 w 9043663"/>
              <a:gd name="connsiteY160" fmla="*/ 1590059 h 3664183"/>
              <a:gd name="connsiteX161" fmla="*/ 2043813 w 9043663"/>
              <a:gd name="connsiteY161" fmla="*/ 1603534 h 3664183"/>
              <a:gd name="connsiteX162" fmla="*/ 2058147 w 9043663"/>
              <a:gd name="connsiteY162" fmla="*/ 1603534 h 3664183"/>
              <a:gd name="connsiteX163" fmla="*/ 2071287 w 9043663"/>
              <a:gd name="connsiteY163" fmla="*/ 1632557 h 3664183"/>
              <a:gd name="connsiteX164" fmla="*/ 2050980 w 9043663"/>
              <a:gd name="connsiteY164" fmla="*/ 1636703 h 3664183"/>
              <a:gd name="connsiteX165" fmla="*/ 2023506 w 9043663"/>
              <a:gd name="connsiteY165" fmla="*/ 1631520 h 3664183"/>
              <a:gd name="connsiteX166" fmla="*/ 2009172 w 9043663"/>
              <a:gd name="connsiteY166" fmla="*/ 1639813 h 3664183"/>
              <a:gd name="connsiteX167" fmla="*/ 2031868 w 9043663"/>
              <a:gd name="connsiteY167" fmla="*/ 1650178 h 3664183"/>
              <a:gd name="connsiteX168" fmla="*/ 2084427 w 9043663"/>
              <a:gd name="connsiteY168" fmla="*/ 1648105 h 3664183"/>
              <a:gd name="connsiteX169" fmla="*/ 2098761 w 9043663"/>
              <a:gd name="connsiteY169" fmla="*/ 1666763 h 3664183"/>
              <a:gd name="connsiteX170" fmla="*/ 2109512 w 9043663"/>
              <a:gd name="connsiteY170" fmla="*/ 1642922 h 3664183"/>
              <a:gd name="connsiteX171" fmla="*/ 2121457 w 9043663"/>
              <a:gd name="connsiteY171" fmla="*/ 1639813 h 3664183"/>
              <a:gd name="connsiteX172" fmla="*/ 2119067 w 9043663"/>
              <a:gd name="connsiteY172" fmla="*/ 1650178 h 3664183"/>
              <a:gd name="connsiteX173" fmla="*/ 2170432 w 9043663"/>
              <a:gd name="connsiteY173" fmla="*/ 1638776 h 3664183"/>
              <a:gd name="connsiteX174" fmla="*/ 2184766 w 9043663"/>
              <a:gd name="connsiteY174" fmla="*/ 1649142 h 3664183"/>
              <a:gd name="connsiteX175" fmla="*/ 1896888 w 9043663"/>
              <a:gd name="connsiteY175" fmla="*/ 1646032 h 3664183"/>
              <a:gd name="connsiteX176" fmla="*/ 1932723 w 9043663"/>
              <a:gd name="connsiteY176" fmla="*/ 1658471 h 3664183"/>
              <a:gd name="connsiteX177" fmla="*/ 1963781 w 9043663"/>
              <a:gd name="connsiteY177" fmla="*/ 1652251 h 3664183"/>
              <a:gd name="connsiteX178" fmla="*/ 1959003 w 9043663"/>
              <a:gd name="connsiteY178" fmla="*/ 1642922 h 3664183"/>
              <a:gd name="connsiteX179" fmla="*/ 1917195 w 9043663"/>
              <a:gd name="connsiteY179" fmla="*/ 1634630 h 3664183"/>
              <a:gd name="connsiteX180" fmla="*/ 1896888 w 9043663"/>
              <a:gd name="connsiteY180" fmla="*/ 1646032 h 3664183"/>
              <a:gd name="connsiteX181" fmla="*/ 2018728 w 9043663"/>
              <a:gd name="connsiteY181" fmla="*/ 1573474 h 3664183"/>
              <a:gd name="connsiteX182" fmla="*/ 1997227 w 9043663"/>
              <a:gd name="connsiteY182" fmla="*/ 1573474 h 3664183"/>
              <a:gd name="connsiteX183" fmla="*/ 1999616 w 9043663"/>
              <a:gd name="connsiteY183" fmla="*/ 1564145 h 3664183"/>
              <a:gd name="connsiteX184" fmla="*/ 1973337 w 9043663"/>
              <a:gd name="connsiteY184" fmla="*/ 1557926 h 3664183"/>
              <a:gd name="connsiteX185" fmla="*/ 1923167 w 9043663"/>
              <a:gd name="connsiteY185" fmla="*/ 1529939 h 3664183"/>
              <a:gd name="connsiteX186" fmla="*/ 1838357 w 9043663"/>
              <a:gd name="connsiteY186" fmla="*/ 1506099 h 3664183"/>
              <a:gd name="connsiteX187" fmla="*/ 1777437 w 9043663"/>
              <a:gd name="connsiteY187" fmla="*/ 1514391 h 3664183"/>
              <a:gd name="connsiteX188" fmla="*/ 1727267 w 9043663"/>
              <a:gd name="connsiteY188" fmla="*/ 1545487 h 3664183"/>
              <a:gd name="connsiteX189" fmla="*/ 1751157 w 9043663"/>
              <a:gd name="connsiteY189" fmla="*/ 1545487 h 3664183"/>
              <a:gd name="connsiteX190" fmla="*/ 1798938 w 9043663"/>
              <a:gd name="connsiteY190" fmla="*/ 1524757 h 3664183"/>
              <a:gd name="connsiteX191" fmla="*/ 1818050 w 9043663"/>
              <a:gd name="connsiteY191" fmla="*/ 1525793 h 3664183"/>
              <a:gd name="connsiteX192" fmla="*/ 1810883 w 9043663"/>
              <a:gd name="connsiteY192" fmla="*/ 1527866 h 3664183"/>
              <a:gd name="connsiteX193" fmla="*/ 1819245 w 9043663"/>
              <a:gd name="connsiteY193" fmla="*/ 1539268 h 3664183"/>
              <a:gd name="connsiteX194" fmla="*/ 1905250 w 9043663"/>
              <a:gd name="connsiteY194" fmla="*/ 1551707 h 3664183"/>
              <a:gd name="connsiteX195" fmla="*/ 1923167 w 9043663"/>
              <a:gd name="connsiteY195" fmla="*/ 1575547 h 3664183"/>
              <a:gd name="connsiteX196" fmla="*/ 1939890 w 9043663"/>
              <a:gd name="connsiteY196" fmla="*/ 1575547 h 3664183"/>
              <a:gd name="connsiteX197" fmla="*/ 1942280 w 9043663"/>
              <a:gd name="connsiteY197" fmla="*/ 1582803 h 3664183"/>
              <a:gd name="connsiteX198" fmla="*/ 1919584 w 9043663"/>
              <a:gd name="connsiteY198" fmla="*/ 1602497 h 3664183"/>
              <a:gd name="connsiteX199" fmla="*/ 2039035 w 9043663"/>
              <a:gd name="connsiteY199" fmla="*/ 1593168 h 3664183"/>
              <a:gd name="connsiteX200" fmla="*/ 2018728 w 9043663"/>
              <a:gd name="connsiteY200" fmla="*/ 1573474 h 3664183"/>
              <a:gd name="connsiteX201" fmla="*/ 2226574 w 9043663"/>
              <a:gd name="connsiteY201" fmla="*/ 1635667 h 3664183"/>
              <a:gd name="connsiteX202" fmla="*/ 2221796 w 9043663"/>
              <a:gd name="connsiteY202" fmla="*/ 1651215 h 3664183"/>
              <a:gd name="connsiteX203" fmla="*/ 2258826 w 9043663"/>
              <a:gd name="connsiteY203" fmla="*/ 1651215 h 3664183"/>
              <a:gd name="connsiteX204" fmla="*/ 2271965 w 9043663"/>
              <a:gd name="connsiteY204" fmla="*/ 1642922 h 3664183"/>
              <a:gd name="connsiteX205" fmla="*/ 2258826 w 9043663"/>
              <a:gd name="connsiteY205" fmla="*/ 1634630 h 3664183"/>
              <a:gd name="connsiteX206" fmla="*/ 2226574 w 9043663"/>
              <a:gd name="connsiteY206" fmla="*/ 1634630 h 3664183"/>
              <a:gd name="connsiteX207" fmla="*/ 1945863 w 9043663"/>
              <a:gd name="connsiteY207" fmla="*/ 1496770 h 3664183"/>
              <a:gd name="connsiteX208" fmla="*/ 1950641 w 9043663"/>
              <a:gd name="connsiteY208" fmla="*/ 1502989 h 3664183"/>
              <a:gd name="connsiteX209" fmla="*/ 1954225 w 9043663"/>
              <a:gd name="connsiteY209" fmla="*/ 1468783 h 3664183"/>
              <a:gd name="connsiteX210" fmla="*/ 1942280 w 9043663"/>
              <a:gd name="connsiteY210" fmla="*/ 1451162 h 3664183"/>
              <a:gd name="connsiteX211" fmla="*/ 1939890 w 9043663"/>
              <a:gd name="connsiteY211" fmla="*/ 1454271 h 3664183"/>
              <a:gd name="connsiteX212" fmla="*/ 1926751 w 9043663"/>
              <a:gd name="connsiteY212" fmla="*/ 1468783 h 3664183"/>
              <a:gd name="connsiteX213" fmla="*/ 1927945 w 9043663"/>
              <a:gd name="connsiteY213" fmla="*/ 1469819 h 3664183"/>
              <a:gd name="connsiteX214" fmla="*/ 1926751 w 9043663"/>
              <a:gd name="connsiteY214" fmla="*/ 1470856 h 3664183"/>
              <a:gd name="connsiteX215" fmla="*/ 1945863 w 9043663"/>
              <a:gd name="connsiteY215" fmla="*/ 1496770 h 3664183"/>
              <a:gd name="connsiteX216" fmla="*/ 2066509 w 9043663"/>
              <a:gd name="connsiteY216" fmla="*/ 1570364 h 3664183"/>
              <a:gd name="connsiteX217" fmla="*/ 2084427 w 9043663"/>
              <a:gd name="connsiteY217" fmla="*/ 1548597 h 3664183"/>
              <a:gd name="connsiteX218" fmla="*/ 2041424 w 9043663"/>
              <a:gd name="connsiteY218" fmla="*/ 1570364 h 3664183"/>
              <a:gd name="connsiteX219" fmla="*/ 2066509 w 9043663"/>
              <a:gd name="connsiteY219" fmla="*/ 1570364 h 3664183"/>
              <a:gd name="connsiteX220" fmla="*/ 2562232 w 9043663"/>
              <a:gd name="connsiteY220" fmla="*/ 775335 h 3664183"/>
              <a:gd name="connsiteX221" fmla="*/ 2550287 w 9043663"/>
              <a:gd name="connsiteY221" fmla="*/ 773262 h 3664183"/>
              <a:gd name="connsiteX222" fmla="*/ 2559843 w 9043663"/>
              <a:gd name="connsiteY222" fmla="*/ 779481 h 3664183"/>
              <a:gd name="connsiteX223" fmla="*/ 2590900 w 9043663"/>
              <a:gd name="connsiteY223" fmla="*/ 803322 h 3664183"/>
              <a:gd name="connsiteX224" fmla="*/ 2624347 w 9043663"/>
              <a:gd name="connsiteY224" fmla="*/ 803322 h 3664183"/>
              <a:gd name="connsiteX225" fmla="*/ 2635098 w 9043663"/>
              <a:gd name="connsiteY225" fmla="*/ 804358 h 3664183"/>
              <a:gd name="connsiteX226" fmla="*/ 2625541 w 9043663"/>
              <a:gd name="connsiteY226" fmla="*/ 799176 h 3664183"/>
              <a:gd name="connsiteX227" fmla="*/ 2599262 w 9043663"/>
              <a:gd name="connsiteY227" fmla="*/ 781554 h 3664183"/>
              <a:gd name="connsiteX228" fmla="*/ 2562232 w 9043663"/>
              <a:gd name="connsiteY228" fmla="*/ 775335 h 3664183"/>
              <a:gd name="connsiteX229" fmla="*/ 2366332 w 9043663"/>
              <a:gd name="connsiteY229" fmla="*/ 445714 h 3664183"/>
              <a:gd name="connsiteX230" fmla="*/ 2328107 w 9043663"/>
              <a:gd name="connsiteY230" fmla="*/ 450897 h 3664183"/>
              <a:gd name="connsiteX231" fmla="*/ 2291078 w 9043663"/>
              <a:gd name="connsiteY231" fmla="*/ 471628 h 3664183"/>
              <a:gd name="connsiteX232" fmla="*/ 2367526 w 9043663"/>
              <a:gd name="connsiteY232" fmla="*/ 450897 h 3664183"/>
              <a:gd name="connsiteX233" fmla="*/ 2366332 w 9043663"/>
              <a:gd name="connsiteY233" fmla="*/ 445714 h 3664183"/>
              <a:gd name="connsiteX234" fmla="*/ 2390222 w 9043663"/>
              <a:gd name="connsiteY234" fmla="*/ 486139 h 3664183"/>
              <a:gd name="connsiteX235" fmla="*/ 2426058 w 9043663"/>
              <a:gd name="connsiteY235" fmla="*/ 458152 h 3664183"/>
              <a:gd name="connsiteX236" fmla="*/ 2398584 w 9043663"/>
              <a:gd name="connsiteY236" fmla="*/ 458152 h 3664183"/>
              <a:gd name="connsiteX237" fmla="*/ 2384250 w 9043663"/>
              <a:gd name="connsiteY237" fmla="*/ 475774 h 3664183"/>
              <a:gd name="connsiteX238" fmla="*/ 2390222 w 9043663"/>
              <a:gd name="connsiteY238" fmla="*/ 486139 h 3664183"/>
              <a:gd name="connsiteX239" fmla="*/ 2841748 w 9043663"/>
              <a:gd name="connsiteY239" fmla="*/ 806431 h 3664183"/>
              <a:gd name="connsiteX240" fmla="*/ 2846526 w 9043663"/>
              <a:gd name="connsiteY240" fmla="*/ 802285 h 3664183"/>
              <a:gd name="connsiteX241" fmla="*/ 2819053 w 9043663"/>
              <a:gd name="connsiteY241" fmla="*/ 810577 h 3664183"/>
              <a:gd name="connsiteX242" fmla="*/ 2817858 w 9043663"/>
              <a:gd name="connsiteY242" fmla="*/ 807468 h 3664183"/>
              <a:gd name="connsiteX243" fmla="*/ 2841748 w 9043663"/>
              <a:gd name="connsiteY243" fmla="*/ 793993 h 3664183"/>
              <a:gd name="connsiteX244" fmla="*/ 2834581 w 9043663"/>
              <a:gd name="connsiteY244" fmla="*/ 793993 h 3664183"/>
              <a:gd name="connsiteX245" fmla="*/ 2838165 w 9043663"/>
              <a:gd name="connsiteY245" fmla="*/ 790883 h 3664183"/>
              <a:gd name="connsiteX246" fmla="*/ 2786801 w 9043663"/>
              <a:gd name="connsiteY246" fmla="*/ 790883 h 3664183"/>
              <a:gd name="connsiteX247" fmla="*/ 2780828 w 9043663"/>
              <a:gd name="connsiteY247" fmla="*/ 781554 h 3664183"/>
              <a:gd name="connsiteX248" fmla="*/ 2802329 w 9043663"/>
              <a:gd name="connsiteY248" fmla="*/ 774298 h 3664183"/>
              <a:gd name="connsiteX249" fmla="*/ 2787995 w 9043663"/>
              <a:gd name="connsiteY249" fmla="*/ 772225 h 3664183"/>
              <a:gd name="connsiteX250" fmla="*/ 2777245 w 9043663"/>
              <a:gd name="connsiteY250" fmla="*/ 767043 h 3664183"/>
              <a:gd name="connsiteX251" fmla="*/ 2772467 w 9043663"/>
              <a:gd name="connsiteY251" fmla="*/ 769116 h 3664183"/>
              <a:gd name="connsiteX252" fmla="*/ 2819053 w 9043663"/>
              <a:gd name="connsiteY252" fmla="*/ 725581 h 3664183"/>
              <a:gd name="connsiteX253" fmla="*/ 2815469 w 9043663"/>
              <a:gd name="connsiteY253" fmla="*/ 726618 h 3664183"/>
              <a:gd name="connsiteX254" fmla="*/ 2816664 w 9043663"/>
              <a:gd name="connsiteY254" fmla="*/ 725581 h 3664183"/>
              <a:gd name="connsiteX255" fmla="*/ 2776050 w 9043663"/>
              <a:gd name="connsiteY255" fmla="*/ 735946 h 3664183"/>
              <a:gd name="connsiteX256" fmla="*/ 2688851 w 9043663"/>
              <a:gd name="connsiteY256" fmla="*/ 808504 h 3664183"/>
              <a:gd name="connsiteX257" fmla="*/ 2690045 w 9043663"/>
              <a:gd name="connsiteY257" fmla="*/ 809541 h 3664183"/>
              <a:gd name="connsiteX258" fmla="*/ 2687656 w 9043663"/>
              <a:gd name="connsiteY258" fmla="*/ 811614 h 3664183"/>
              <a:gd name="connsiteX259" fmla="*/ 2692434 w 9043663"/>
              <a:gd name="connsiteY259" fmla="*/ 814724 h 3664183"/>
              <a:gd name="connsiteX260" fmla="*/ 2669738 w 9043663"/>
              <a:gd name="connsiteY260" fmla="*/ 830272 h 3664183"/>
              <a:gd name="connsiteX261" fmla="*/ 2668544 w 9043663"/>
              <a:gd name="connsiteY261" fmla="*/ 831308 h 3664183"/>
              <a:gd name="connsiteX262" fmla="*/ 2668544 w 9043663"/>
              <a:gd name="connsiteY262" fmla="*/ 845820 h 3664183"/>
              <a:gd name="connsiteX263" fmla="*/ 2753354 w 9043663"/>
              <a:gd name="connsiteY263" fmla="*/ 845820 h 3664183"/>
              <a:gd name="connsiteX264" fmla="*/ 2740215 w 9043663"/>
              <a:gd name="connsiteY264" fmla="*/ 857222 h 3664183"/>
              <a:gd name="connsiteX265" fmla="*/ 2742604 w 9043663"/>
              <a:gd name="connsiteY265" fmla="*/ 858259 h 3664183"/>
              <a:gd name="connsiteX266" fmla="*/ 2740215 w 9043663"/>
              <a:gd name="connsiteY266" fmla="*/ 860332 h 3664183"/>
              <a:gd name="connsiteX267" fmla="*/ 2756938 w 9043663"/>
              <a:gd name="connsiteY267" fmla="*/ 864478 h 3664183"/>
              <a:gd name="connsiteX268" fmla="*/ 2758132 w 9043663"/>
              <a:gd name="connsiteY268" fmla="*/ 865514 h 3664183"/>
              <a:gd name="connsiteX269" fmla="*/ 2759327 w 9043663"/>
              <a:gd name="connsiteY269" fmla="*/ 864478 h 3664183"/>
              <a:gd name="connsiteX270" fmla="*/ 2779634 w 9043663"/>
              <a:gd name="connsiteY270" fmla="*/ 849966 h 3664183"/>
              <a:gd name="connsiteX271" fmla="*/ 2793968 w 9043663"/>
              <a:gd name="connsiteY271" fmla="*/ 849966 h 3664183"/>
              <a:gd name="connsiteX272" fmla="*/ 2778439 w 9043663"/>
              <a:gd name="connsiteY272" fmla="*/ 869660 h 3664183"/>
              <a:gd name="connsiteX273" fmla="*/ 2784412 w 9043663"/>
              <a:gd name="connsiteY273" fmla="*/ 866551 h 3664183"/>
              <a:gd name="connsiteX274" fmla="*/ 2784412 w 9043663"/>
              <a:gd name="connsiteY274" fmla="*/ 867587 h 3664183"/>
              <a:gd name="connsiteX275" fmla="*/ 2797551 w 9043663"/>
              <a:gd name="connsiteY275" fmla="*/ 863441 h 3664183"/>
              <a:gd name="connsiteX276" fmla="*/ 2797551 w 9043663"/>
              <a:gd name="connsiteY276" fmla="*/ 864478 h 3664183"/>
              <a:gd name="connsiteX277" fmla="*/ 2793968 w 9043663"/>
              <a:gd name="connsiteY277" fmla="*/ 868624 h 3664183"/>
              <a:gd name="connsiteX278" fmla="*/ 2819053 w 9043663"/>
              <a:gd name="connsiteY278" fmla="*/ 868624 h 3664183"/>
              <a:gd name="connsiteX279" fmla="*/ 2840554 w 9043663"/>
              <a:gd name="connsiteY279" fmla="*/ 833381 h 3664183"/>
              <a:gd name="connsiteX280" fmla="*/ 2827414 w 9043663"/>
              <a:gd name="connsiteY280" fmla="*/ 835455 h 3664183"/>
              <a:gd name="connsiteX281" fmla="*/ 2845332 w 9043663"/>
              <a:gd name="connsiteY281" fmla="*/ 815760 h 3664183"/>
              <a:gd name="connsiteX282" fmla="*/ 2835776 w 9043663"/>
              <a:gd name="connsiteY282" fmla="*/ 820943 h 3664183"/>
              <a:gd name="connsiteX283" fmla="*/ 2836970 w 9043663"/>
              <a:gd name="connsiteY283" fmla="*/ 818870 h 3664183"/>
              <a:gd name="connsiteX284" fmla="*/ 2820247 w 9043663"/>
              <a:gd name="connsiteY284" fmla="*/ 828199 h 3664183"/>
              <a:gd name="connsiteX285" fmla="*/ 2846526 w 9043663"/>
              <a:gd name="connsiteY285" fmla="*/ 807468 h 3664183"/>
              <a:gd name="connsiteX286" fmla="*/ 2841748 w 9043663"/>
              <a:gd name="connsiteY286" fmla="*/ 806431 h 3664183"/>
              <a:gd name="connsiteX287" fmla="*/ 2839359 w 9043663"/>
              <a:gd name="connsiteY287" fmla="*/ 314073 h 3664183"/>
              <a:gd name="connsiteX288" fmla="*/ 2805913 w 9043663"/>
              <a:gd name="connsiteY288" fmla="*/ 314073 h 3664183"/>
              <a:gd name="connsiteX289" fmla="*/ 2791579 w 9043663"/>
              <a:gd name="connsiteY289" fmla="*/ 307854 h 3664183"/>
              <a:gd name="connsiteX290" fmla="*/ 2799940 w 9043663"/>
              <a:gd name="connsiteY290" fmla="*/ 298525 h 3664183"/>
              <a:gd name="connsiteX291" fmla="*/ 2841748 w 9043663"/>
              <a:gd name="connsiteY291" fmla="*/ 292305 h 3664183"/>
              <a:gd name="connsiteX292" fmla="*/ 2816664 w 9043663"/>
              <a:gd name="connsiteY292" fmla="*/ 282977 h 3664183"/>
              <a:gd name="connsiteX293" fmla="*/ 2836970 w 9043663"/>
              <a:gd name="connsiteY293" fmla="*/ 272611 h 3664183"/>
              <a:gd name="connsiteX294" fmla="*/ 2779634 w 9043663"/>
              <a:gd name="connsiteY294" fmla="*/ 239442 h 3664183"/>
              <a:gd name="connsiteX295" fmla="*/ 2736631 w 9043663"/>
              <a:gd name="connsiteY295" fmla="*/ 234259 h 3664183"/>
              <a:gd name="connsiteX296" fmla="*/ 2742604 w 9043663"/>
              <a:gd name="connsiteY296" fmla="*/ 213528 h 3664183"/>
              <a:gd name="connsiteX297" fmla="*/ 2711546 w 9043663"/>
              <a:gd name="connsiteY297" fmla="*/ 211455 h 3664183"/>
              <a:gd name="connsiteX298" fmla="*/ 2719908 w 9043663"/>
              <a:gd name="connsiteY298" fmla="*/ 192797 h 3664183"/>
              <a:gd name="connsiteX299" fmla="*/ 2645848 w 9043663"/>
              <a:gd name="connsiteY299" fmla="*/ 189688 h 3664183"/>
              <a:gd name="connsiteX300" fmla="*/ 2624347 w 9043663"/>
              <a:gd name="connsiteY300" fmla="*/ 211455 h 3664183"/>
              <a:gd name="connsiteX301" fmla="*/ 2638681 w 9043663"/>
              <a:gd name="connsiteY301" fmla="*/ 214565 h 3664183"/>
              <a:gd name="connsiteX302" fmla="*/ 2602846 w 9043663"/>
              <a:gd name="connsiteY302" fmla="*/ 220784 h 3664183"/>
              <a:gd name="connsiteX303" fmla="*/ 2636292 w 9043663"/>
              <a:gd name="connsiteY303" fmla="*/ 189688 h 3664183"/>
              <a:gd name="connsiteX304" fmla="*/ 2596873 w 9043663"/>
              <a:gd name="connsiteY304" fmla="*/ 186578 h 3664183"/>
              <a:gd name="connsiteX305" fmla="*/ 2568205 w 9043663"/>
              <a:gd name="connsiteY305" fmla="*/ 192797 h 3664183"/>
              <a:gd name="connsiteX306" fmla="*/ 2596873 w 9043663"/>
              <a:gd name="connsiteY306" fmla="*/ 184505 h 3664183"/>
              <a:gd name="connsiteX307" fmla="*/ 2520424 w 9043663"/>
              <a:gd name="connsiteY307" fmla="*/ 184505 h 3664183"/>
              <a:gd name="connsiteX308" fmla="*/ 2459504 w 9043663"/>
              <a:gd name="connsiteY308" fmla="*/ 200053 h 3664183"/>
              <a:gd name="connsiteX309" fmla="*/ 2396195 w 9043663"/>
              <a:gd name="connsiteY309" fmla="*/ 235295 h 3664183"/>
              <a:gd name="connsiteX310" fmla="*/ 2418890 w 9043663"/>
              <a:gd name="connsiteY310" fmla="*/ 264319 h 3664183"/>
              <a:gd name="connsiteX311" fmla="*/ 2449948 w 9043663"/>
              <a:gd name="connsiteY311" fmla="*/ 272611 h 3664183"/>
              <a:gd name="connsiteX312" fmla="*/ 2539536 w 9043663"/>
              <a:gd name="connsiteY312" fmla="*/ 275721 h 3664183"/>
              <a:gd name="connsiteX313" fmla="*/ 2561038 w 9043663"/>
              <a:gd name="connsiteY313" fmla="*/ 286086 h 3664183"/>
              <a:gd name="connsiteX314" fmla="*/ 2612402 w 9043663"/>
              <a:gd name="connsiteY314" fmla="*/ 268465 h 3664183"/>
              <a:gd name="connsiteX315" fmla="*/ 2612402 w 9043663"/>
              <a:gd name="connsiteY315" fmla="*/ 279867 h 3664183"/>
              <a:gd name="connsiteX316" fmla="*/ 2639876 w 9043663"/>
              <a:gd name="connsiteY316" fmla="*/ 289196 h 3664183"/>
              <a:gd name="connsiteX317" fmla="*/ 2610013 w 9043663"/>
              <a:gd name="connsiteY317" fmla="*/ 312000 h 3664183"/>
              <a:gd name="connsiteX318" fmla="*/ 2604040 w 9043663"/>
              <a:gd name="connsiteY318" fmla="*/ 312000 h 3664183"/>
              <a:gd name="connsiteX319" fmla="*/ 2571788 w 9043663"/>
              <a:gd name="connsiteY319" fmla="*/ 325475 h 3664183"/>
              <a:gd name="connsiteX320" fmla="*/ 2568205 w 9043663"/>
              <a:gd name="connsiteY320" fmla="*/ 343096 h 3664183"/>
              <a:gd name="connsiteX321" fmla="*/ 2605235 w 9043663"/>
              <a:gd name="connsiteY321" fmla="*/ 343096 h 3664183"/>
              <a:gd name="connsiteX322" fmla="*/ 2637487 w 9043663"/>
              <a:gd name="connsiteY322" fmla="*/ 323402 h 3664183"/>
              <a:gd name="connsiteX323" fmla="*/ 2632708 w 9043663"/>
              <a:gd name="connsiteY323" fmla="*/ 312000 h 3664183"/>
              <a:gd name="connsiteX324" fmla="*/ 2614791 w 9043663"/>
              <a:gd name="connsiteY324" fmla="*/ 312000 h 3664183"/>
              <a:gd name="connsiteX325" fmla="*/ 2649432 w 9043663"/>
              <a:gd name="connsiteY325" fmla="*/ 299561 h 3664183"/>
              <a:gd name="connsiteX326" fmla="*/ 2654210 w 9043663"/>
              <a:gd name="connsiteY326" fmla="*/ 310963 h 3664183"/>
              <a:gd name="connsiteX327" fmla="*/ 2674516 w 9043663"/>
              <a:gd name="connsiteY327" fmla="*/ 318219 h 3664183"/>
              <a:gd name="connsiteX328" fmla="*/ 2669738 w 9043663"/>
              <a:gd name="connsiteY328" fmla="*/ 337913 h 3664183"/>
              <a:gd name="connsiteX329" fmla="*/ 2599262 w 9043663"/>
              <a:gd name="connsiteY329" fmla="*/ 364864 h 3664183"/>
              <a:gd name="connsiteX330" fmla="*/ 2607624 w 9043663"/>
              <a:gd name="connsiteY330" fmla="*/ 375229 h 3664183"/>
              <a:gd name="connsiteX331" fmla="*/ 2582539 w 9043663"/>
              <a:gd name="connsiteY331" fmla="*/ 381448 h 3664183"/>
              <a:gd name="connsiteX332" fmla="*/ 2525202 w 9043663"/>
              <a:gd name="connsiteY332" fmla="*/ 376266 h 3664183"/>
              <a:gd name="connsiteX333" fmla="*/ 2479811 w 9043663"/>
              <a:gd name="connsiteY333" fmla="*/ 395960 h 3664183"/>
              <a:gd name="connsiteX334" fmla="*/ 2488172 w 9043663"/>
              <a:gd name="connsiteY334" fmla="*/ 413581 h 3664183"/>
              <a:gd name="connsiteX335" fmla="*/ 2544314 w 9043663"/>
              <a:gd name="connsiteY335" fmla="*/ 405289 h 3664183"/>
              <a:gd name="connsiteX336" fmla="*/ 2600457 w 9043663"/>
              <a:gd name="connsiteY336" fmla="*/ 415654 h 3664183"/>
              <a:gd name="connsiteX337" fmla="*/ 2612402 w 9043663"/>
              <a:gd name="connsiteY337" fmla="*/ 421873 h 3664183"/>
              <a:gd name="connsiteX338" fmla="*/ 2602846 w 9043663"/>
              <a:gd name="connsiteY338" fmla="*/ 435349 h 3664183"/>
              <a:gd name="connsiteX339" fmla="*/ 2620763 w 9043663"/>
              <a:gd name="connsiteY339" fmla="*/ 441568 h 3664183"/>
              <a:gd name="connsiteX340" fmla="*/ 2672127 w 9043663"/>
              <a:gd name="connsiteY340" fmla="*/ 462299 h 3664183"/>
              <a:gd name="connsiteX341" fmla="*/ 2716324 w 9043663"/>
              <a:gd name="connsiteY341" fmla="*/ 470591 h 3664183"/>
              <a:gd name="connsiteX342" fmla="*/ 2719908 w 9043663"/>
              <a:gd name="connsiteY342" fmla="*/ 456079 h 3664183"/>
              <a:gd name="connsiteX343" fmla="*/ 2684073 w 9043663"/>
              <a:gd name="connsiteY343" fmla="*/ 430166 h 3664183"/>
              <a:gd name="connsiteX344" fmla="*/ 2684073 w 9043663"/>
              <a:gd name="connsiteY344" fmla="*/ 422910 h 3664183"/>
              <a:gd name="connsiteX345" fmla="*/ 2733048 w 9043663"/>
              <a:gd name="connsiteY345" fmla="*/ 444677 h 3664183"/>
              <a:gd name="connsiteX346" fmla="*/ 2768883 w 9043663"/>
              <a:gd name="connsiteY346" fmla="*/ 444677 h 3664183"/>
              <a:gd name="connsiteX347" fmla="*/ 2785606 w 9043663"/>
              <a:gd name="connsiteY347" fmla="*/ 423946 h 3664183"/>
              <a:gd name="connsiteX348" fmla="*/ 2776050 w 9043663"/>
              <a:gd name="connsiteY348" fmla="*/ 413581 h 3664183"/>
              <a:gd name="connsiteX349" fmla="*/ 2782023 w 9043663"/>
              <a:gd name="connsiteY349" fmla="*/ 403216 h 3664183"/>
              <a:gd name="connsiteX350" fmla="*/ 2755743 w 9043663"/>
              <a:gd name="connsiteY350" fmla="*/ 372119 h 3664183"/>
              <a:gd name="connsiteX351" fmla="*/ 2767688 w 9043663"/>
              <a:gd name="connsiteY351" fmla="*/ 357608 h 3664183"/>
              <a:gd name="connsiteX352" fmla="*/ 2790384 w 9043663"/>
              <a:gd name="connsiteY352" fmla="*/ 373156 h 3664183"/>
              <a:gd name="connsiteX353" fmla="*/ 2790384 w 9043663"/>
              <a:gd name="connsiteY353" fmla="*/ 386631 h 3664183"/>
              <a:gd name="connsiteX354" fmla="*/ 2817858 w 9043663"/>
              <a:gd name="connsiteY354" fmla="*/ 395960 h 3664183"/>
              <a:gd name="connsiteX355" fmla="*/ 2900279 w 9043663"/>
              <a:gd name="connsiteY355" fmla="*/ 351388 h 3664183"/>
              <a:gd name="connsiteX356" fmla="*/ 2839359 w 9043663"/>
              <a:gd name="connsiteY356" fmla="*/ 314073 h 3664183"/>
              <a:gd name="connsiteX357" fmla="*/ 2494145 w 9043663"/>
              <a:gd name="connsiteY357" fmla="*/ 232186 h 3664183"/>
              <a:gd name="connsiteX358" fmla="*/ 2486978 w 9043663"/>
              <a:gd name="connsiteY358" fmla="*/ 228040 h 3664183"/>
              <a:gd name="connsiteX359" fmla="*/ 2504895 w 9043663"/>
              <a:gd name="connsiteY359" fmla="*/ 212492 h 3664183"/>
              <a:gd name="connsiteX360" fmla="*/ 2516841 w 9043663"/>
              <a:gd name="connsiteY360" fmla="*/ 208345 h 3664183"/>
              <a:gd name="connsiteX361" fmla="*/ 2494145 w 9043663"/>
              <a:gd name="connsiteY361" fmla="*/ 232186 h 3664183"/>
              <a:gd name="connsiteX362" fmla="*/ 2347220 w 9043663"/>
              <a:gd name="connsiteY362" fmla="*/ 163774 h 3664183"/>
              <a:gd name="connsiteX363" fmla="*/ 2410529 w 9043663"/>
              <a:gd name="connsiteY363" fmla="*/ 174139 h 3664183"/>
              <a:gd name="connsiteX364" fmla="*/ 2424863 w 9043663"/>
              <a:gd name="connsiteY364" fmla="*/ 158591 h 3664183"/>
              <a:gd name="connsiteX365" fmla="*/ 2418890 w 9043663"/>
              <a:gd name="connsiteY365" fmla="*/ 153409 h 3664183"/>
              <a:gd name="connsiteX366" fmla="*/ 2396195 w 9043663"/>
              <a:gd name="connsiteY366" fmla="*/ 153409 h 3664183"/>
              <a:gd name="connsiteX367" fmla="*/ 2347220 w 9043663"/>
              <a:gd name="connsiteY367" fmla="*/ 163774 h 3664183"/>
              <a:gd name="connsiteX368" fmla="*/ 2477422 w 9043663"/>
              <a:gd name="connsiteY368" fmla="*/ 179322 h 3664183"/>
              <a:gd name="connsiteX369" fmla="*/ 2576566 w 9043663"/>
              <a:gd name="connsiteY369" fmla="*/ 179322 h 3664183"/>
              <a:gd name="connsiteX370" fmla="*/ 2608818 w 9043663"/>
              <a:gd name="connsiteY370" fmla="*/ 174139 h 3664183"/>
              <a:gd name="connsiteX371" fmla="*/ 2629125 w 9043663"/>
              <a:gd name="connsiteY371" fmla="*/ 179322 h 3664183"/>
              <a:gd name="connsiteX372" fmla="*/ 2668544 w 9043663"/>
              <a:gd name="connsiteY372" fmla="*/ 174139 h 3664183"/>
              <a:gd name="connsiteX373" fmla="*/ 2715130 w 9043663"/>
              <a:gd name="connsiteY373" fmla="*/ 151336 h 3664183"/>
              <a:gd name="connsiteX374" fmla="*/ 2534758 w 9043663"/>
              <a:gd name="connsiteY374" fmla="*/ 148226 h 3664183"/>
              <a:gd name="connsiteX375" fmla="*/ 2522813 w 9043663"/>
              <a:gd name="connsiteY375" fmla="*/ 145116 h 3664183"/>
              <a:gd name="connsiteX376" fmla="*/ 2534758 w 9043663"/>
              <a:gd name="connsiteY376" fmla="*/ 140970 h 3664183"/>
              <a:gd name="connsiteX377" fmla="*/ 2515646 w 9043663"/>
              <a:gd name="connsiteY377" fmla="*/ 127495 h 3664183"/>
              <a:gd name="connsiteX378" fmla="*/ 2433225 w 9043663"/>
              <a:gd name="connsiteY378" fmla="*/ 122312 h 3664183"/>
              <a:gd name="connsiteX379" fmla="*/ 2417696 w 9043663"/>
              <a:gd name="connsiteY379" fmla="*/ 128531 h 3664183"/>
              <a:gd name="connsiteX380" fmla="*/ 2426058 w 9043663"/>
              <a:gd name="connsiteY380" fmla="*/ 143043 h 3664183"/>
              <a:gd name="connsiteX381" fmla="*/ 2475033 w 9043663"/>
              <a:gd name="connsiteY381" fmla="*/ 145116 h 3664183"/>
              <a:gd name="connsiteX382" fmla="*/ 2440392 w 9043663"/>
              <a:gd name="connsiteY382" fmla="*/ 173103 h 3664183"/>
              <a:gd name="connsiteX383" fmla="*/ 2477422 w 9043663"/>
              <a:gd name="connsiteY383" fmla="*/ 179322 h 3664183"/>
              <a:gd name="connsiteX384" fmla="*/ 2540731 w 9043663"/>
              <a:gd name="connsiteY384" fmla="*/ 102618 h 3664183"/>
              <a:gd name="connsiteX385" fmla="*/ 2432030 w 9043663"/>
              <a:gd name="connsiteY385" fmla="*/ 105727 h 3664183"/>
              <a:gd name="connsiteX386" fmla="*/ 2432030 w 9043663"/>
              <a:gd name="connsiteY386" fmla="*/ 110910 h 3664183"/>
              <a:gd name="connsiteX387" fmla="*/ 2497728 w 9043663"/>
              <a:gd name="connsiteY387" fmla="*/ 112983 h 3664183"/>
              <a:gd name="connsiteX388" fmla="*/ 2497728 w 9043663"/>
              <a:gd name="connsiteY388" fmla="*/ 112983 h 3664183"/>
              <a:gd name="connsiteX389" fmla="*/ 2545509 w 9043663"/>
              <a:gd name="connsiteY389" fmla="*/ 102618 h 3664183"/>
              <a:gd name="connsiteX390" fmla="*/ 2599262 w 9043663"/>
              <a:gd name="connsiteY390" fmla="*/ 102618 h 3664183"/>
              <a:gd name="connsiteX391" fmla="*/ 2712741 w 9043663"/>
              <a:gd name="connsiteY391" fmla="*/ 69448 h 3664183"/>
              <a:gd name="connsiteX392" fmla="*/ 2715130 w 9043663"/>
              <a:gd name="connsiteY392" fmla="*/ 69448 h 3664183"/>
              <a:gd name="connsiteX393" fmla="*/ 2704379 w 9043663"/>
              <a:gd name="connsiteY393" fmla="*/ 79814 h 3664183"/>
              <a:gd name="connsiteX394" fmla="*/ 2613596 w 9043663"/>
              <a:gd name="connsiteY394" fmla="*/ 98472 h 3664183"/>
              <a:gd name="connsiteX395" fmla="*/ 2636292 w 9043663"/>
              <a:gd name="connsiteY395" fmla="*/ 100545 h 3664183"/>
              <a:gd name="connsiteX396" fmla="*/ 2615985 w 9043663"/>
              <a:gd name="connsiteY396" fmla="*/ 103654 h 3664183"/>
              <a:gd name="connsiteX397" fmla="*/ 2594484 w 9043663"/>
              <a:gd name="connsiteY397" fmla="*/ 110910 h 3664183"/>
              <a:gd name="connsiteX398" fmla="*/ 2607624 w 9043663"/>
              <a:gd name="connsiteY398" fmla="*/ 115056 h 3664183"/>
              <a:gd name="connsiteX399" fmla="*/ 2556260 w 9043663"/>
              <a:gd name="connsiteY399" fmla="*/ 124385 h 3664183"/>
              <a:gd name="connsiteX400" fmla="*/ 2526397 w 9043663"/>
              <a:gd name="connsiteY400" fmla="*/ 134751 h 3664183"/>
              <a:gd name="connsiteX401" fmla="*/ 2698407 w 9043663"/>
              <a:gd name="connsiteY401" fmla="*/ 131641 h 3664183"/>
              <a:gd name="connsiteX402" fmla="*/ 2698407 w 9043663"/>
              <a:gd name="connsiteY402" fmla="*/ 139933 h 3664183"/>
              <a:gd name="connsiteX403" fmla="*/ 2790384 w 9043663"/>
              <a:gd name="connsiteY403" fmla="*/ 128531 h 3664183"/>
              <a:gd name="connsiteX404" fmla="*/ 2771272 w 9043663"/>
              <a:gd name="connsiteY404" fmla="*/ 117130 h 3664183"/>
              <a:gd name="connsiteX405" fmla="*/ 2805913 w 9043663"/>
              <a:gd name="connsiteY405" fmla="*/ 107801 h 3664183"/>
              <a:gd name="connsiteX406" fmla="*/ 2805913 w 9043663"/>
              <a:gd name="connsiteY406" fmla="*/ 103654 h 3664183"/>
              <a:gd name="connsiteX407" fmla="*/ 2847721 w 9043663"/>
              <a:gd name="connsiteY407" fmla="*/ 103654 h 3664183"/>
              <a:gd name="connsiteX408" fmla="*/ 2922975 w 9043663"/>
              <a:gd name="connsiteY408" fmla="*/ 74631 h 3664183"/>
              <a:gd name="connsiteX409" fmla="*/ 3234743 w 9043663"/>
              <a:gd name="connsiteY409" fmla="*/ 16585 h 3664183"/>
              <a:gd name="connsiteX410" fmla="*/ 3083040 w 9043663"/>
              <a:gd name="connsiteY410" fmla="*/ 5183 h 3664183"/>
              <a:gd name="connsiteX411" fmla="*/ 2960005 w 9043663"/>
              <a:gd name="connsiteY411" fmla="*/ 5183 h 3664183"/>
              <a:gd name="connsiteX412" fmla="*/ 2682878 w 9043663"/>
              <a:gd name="connsiteY412" fmla="*/ 34206 h 3664183"/>
              <a:gd name="connsiteX413" fmla="*/ 2681684 w 9043663"/>
              <a:gd name="connsiteY413" fmla="*/ 34206 h 3664183"/>
              <a:gd name="connsiteX414" fmla="*/ 2673322 w 9043663"/>
              <a:gd name="connsiteY414" fmla="*/ 45608 h 3664183"/>
              <a:gd name="connsiteX415" fmla="*/ 2694823 w 9043663"/>
              <a:gd name="connsiteY415" fmla="*/ 54937 h 3664183"/>
              <a:gd name="connsiteX416" fmla="*/ 2723492 w 9043663"/>
              <a:gd name="connsiteY416" fmla="*/ 59083 h 3664183"/>
              <a:gd name="connsiteX417" fmla="*/ 2696018 w 9043663"/>
              <a:gd name="connsiteY417" fmla="*/ 67375 h 3664183"/>
              <a:gd name="connsiteX418" fmla="*/ 2688851 w 9043663"/>
              <a:gd name="connsiteY418" fmla="*/ 66339 h 3664183"/>
              <a:gd name="connsiteX419" fmla="*/ 2710352 w 9043663"/>
              <a:gd name="connsiteY419" fmla="*/ 59083 h 3664183"/>
              <a:gd name="connsiteX420" fmla="*/ 2653015 w 9043663"/>
              <a:gd name="connsiteY420" fmla="*/ 49754 h 3664183"/>
              <a:gd name="connsiteX421" fmla="*/ 2643459 w 9043663"/>
              <a:gd name="connsiteY421" fmla="*/ 36279 h 3664183"/>
              <a:gd name="connsiteX422" fmla="*/ 2618374 w 9043663"/>
              <a:gd name="connsiteY422" fmla="*/ 36279 h 3664183"/>
              <a:gd name="connsiteX423" fmla="*/ 2544314 w 9043663"/>
              <a:gd name="connsiteY423" fmla="*/ 61156 h 3664183"/>
              <a:gd name="connsiteX424" fmla="*/ 2556260 w 9043663"/>
              <a:gd name="connsiteY424" fmla="*/ 74631 h 3664183"/>
              <a:gd name="connsiteX425" fmla="*/ 2525202 w 9043663"/>
              <a:gd name="connsiteY425" fmla="*/ 93289 h 3664183"/>
              <a:gd name="connsiteX426" fmla="*/ 2540731 w 9043663"/>
              <a:gd name="connsiteY426" fmla="*/ 102618 h 3664183"/>
              <a:gd name="connsiteX427" fmla="*/ 2310190 w 9043663"/>
              <a:gd name="connsiteY427" fmla="*/ 93289 h 3664183"/>
              <a:gd name="connsiteX428" fmla="*/ 2326913 w 9043663"/>
              <a:gd name="connsiteY428" fmla="*/ 98472 h 3664183"/>
              <a:gd name="connsiteX429" fmla="*/ 2379472 w 9043663"/>
              <a:gd name="connsiteY429" fmla="*/ 103654 h 3664183"/>
              <a:gd name="connsiteX430" fmla="*/ 2385444 w 9043663"/>
              <a:gd name="connsiteY430" fmla="*/ 108837 h 3664183"/>
              <a:gd name="connsiteX431" fmla="*/ 2498923 w 9043663"/>
              <a:gd name="connsiteY431" fmla="*/ 97435 h 3664183"/>
              <a:gd name="connsiteX432" fmla="*/ 2458309 w 9043663"/>
              <a:gd name="connsiteY432" fmla="*/ 79814 h 3664183"/>
              <a:gd name="connsiteX433" fmla="*/ 2418890 w 9043663"/>
              <a:gd name="connsiteY433" fmla="*/ 98472 h 3664183"/>
              <a:gd name="connsiteX434" fmla="*/ 2408140 w 9043663"/>
              <a:gd name="connsiteY434" fmla="*/ 98472 h 3664183"/>
              <a:gd name="connsiteX435" fmla="*/ 2424863 w 9043663"/>
              <a:gd name="connsiteY435" fmla="*/ 81887 h 3664183"/>
              <a:gd name="connsiteX436" fmla="*/ 2409334 w 9043663"/>
              <a:gd name="connsiteY436" fmla="*/ 75668 h 3664183"/>
              <a:gd name="connsiteX437" fmla="*/ 2291078 w 9043663"/>
              <a:gd name="connsiteY437" fmla="*/ 75668 h 3664183"/>
              <a:gd name="connsiteX438" fmla="*/ 2335275 w 9043663"/>
              <a:gd name="connsiteY438" fmla="*/ 83960 h 3664183"/>
              <a:gd name="connsiteX439" fmla="*/ 2310190 w 9043663"/>
              <a:gd name="connsiteY439" fmla="*/ 93289 h 3664183"/>
              <a:gd name="connsiteX440" fmla="*/ 2300634 w 9043663"/>
              <a:gd name="connsiteY440" fmla="*/ 102618 h 3664183"/>
              <a:gd name="connsiteX441" fmla="*/ 2269576 w 9043663"/>
              <a:gd name="connsiteY441" fmla="*/ 105727 h 3664183"/>
              <a:gd name="connsiteX442" fmla="*/ 2255242 w 9043663"/>
              <a:gd name="connsiteY442" fmla="*/ 118166 h 3664183"/>
              <a:gd name="connsiteX443" fmla="*/ 2287494 w 9043663"/>
              <a:gd name="connsiteY443" fmla="*/ 121276 h 3664183"/>
              <a:gd name="connsiteX444" fmla="*/ 2300634 w 9043663"/>
              <a:gd name="connsiteY444" fmla="*/ 102618 h 3664183"/>
              <a:gd name="connsiteX445" fmla="*/ 2282716 w 9043663"/>
              <a:gd name="connsiteY445" fmla="*/ 165847 h 3664183"/>
              <a:gd name="connsiteX446" fmla="*/ 2334080 w 9043663"/>
              <a:gd name="connsiteY446" fmla="*/ 165847 h 3664183"/>
              <a:gd name="connsiteX447" fmla="*/ 2385444 w 9043663"/>
              <a:gd name="connsiteY447" fmla="*/ 130605 h 3664183"/>
              <a:gd name="connsiteX448" fmla="*/ 2326913 w 9043663"/>
              <a:gd name="connsiteY448" fmla="*/ 124385 h 3664183"/>
              <a:gd name="connsiteX449" fmla="*/ 2286299 w 9043663"/>
              <a:gd name="connsiteY449" fmla="*/ 139933 h 3664183"/>
              <a:gd name="connsiteX450" fmla="*/ 2271965 w 9043663"/>
              <a:gd name="connsiteY450" fmla="*/ 127495 h 3664183"/>
              <a:gd name="connsiteX451" fmla="*/ 2244491 w 9043663"/>
              <a:gd name="connsiteY451" fmla="*/ 130605 h 3664183"/>
              <a:gd name="connsiteX452" fmla="*/ 2244491 w 9043663"/>
              <a:gd name="connsiteY452" fmla="*/ 161701 h 3664183"/>
              <a:gd name="connsiteX453" fmla="*/ 2282716 w 9043663"/>
              <a:gd name="connsiteY453" fmla="*/ 156518 h 3664183"/>
              <a:gd name="connsiteX454" fmla="*/ 2282716 w 9043663"/>
              <a:gd name="connsiteY454" fmla="*/ 165847 h 3664183"/>
              <a:gd name="connsiteX455" fmla="*/ 2205073 w 9043663"/>
              <a:gd name="connsiteY455" fmla="*/ 155482 h 3664183"/>
              <a:gd name="connsiteX456" fmla="*/ 2205073 w 9043663"/>
              <a:gd name="connsiteY456" fmla="*/ 160664 h 3664183"/>
              <a:gd name="connsiteX457" fmla="*/ 2238519 w 9043663"/>
              <a:gd name="connsiteY457" fmla="*/ 160664 h 3664183"/>
              <a:gd name="connsiteX458" fmla="*/ 2220601 w 9043663"/>
              <a:gd name="connsiteY458" fmla="*/ 152372 h 3664183"/>
              <a:gd name="connsiteX459" fmla="*/ 2205073 w 9043663"/>
              <a:gd name="connsiteY459" fmla="*/ 155482 h 3664183"/>
              <a:gd name="connsiteX460" fmla="*/ 2314968 w 9043663"/>
              <a:gd name="connsiteY460" fmla="*/ 181395 h 3664183"/>
              <a:gd name="connsiteX461" fmla="*/ 2232546 w 9043663"/>
              <a:gd name="connsiteY461" fmla="*/ 186578 h 3664183"/>
              <a:gd name="connsiteX462" fmla="*/ 2213434 w 9043663"/>
              <a:gd name="connsiteY462" fmla="*/ 195907 h 3664183"/>
              <a:gd name="connsiteX463" fmla="*/ 2218212 w 9043663"/>
              <a:gd name="connsiteY463" fmla="*/ 205236 h 3664183"/>
              <a:gd name="connsiteX464" fmla="*/ 2172821 w 9043663"/>
              <a:gd name="connsiteY464" fmla="*/ 207309 h 3664183"/>
              <a:gd name="connsiteX465" fmla="*/ 2164459 w 9043663"/>
              <a:gd name="connsiteY465" fmla="*/ 228040 h 3664183"/>
              <a:gd name="connsiteX466" fmla="*/ 2190738 w 9043663"/>
              <a:gd name="connsiteY466" fmla="*/ 228040 h 3664183"/>
              <a:gd name="connsiteX467" fmla="*/ 2202683 w 9043663"/>
              <a:gd name="connsiteY467" fmla="*/ 248771 h 3664183"/>
              <a:gd name="connsiteX468" fmla="*/ 2271965 w 9043663"/>
              <a:gd name="connsiteY468" fmla="*/ 238405 h 3664183"/>
              <a:gd name="connsiteX469" fmla="*/ 2303023 w 9043663"/>
              <a:gd name="connsiteY469" fmla="*/ 205236 h 3664183"/>
              <a:gd name="connsiteX470" fmla="*/ 2287494 w 9043663"/>
              <a:gd name="connsiteY470" fmla="*/ 205236 h 3664183"/>
              <a:gd name="connsiteX471" fmla="*/ 2305412 w 9043663"/>
              <a:gd name="connsiteY471" fmla="*/ 196943 h 3664183"/>
              <a:gd name="connsiteX472" fmla="*/ 2314968 w 9043663"/>
              <a:gd name="connsiteY472" fmla="*/ 181395 h 3664183"/>
              <a:gd name="connsiteX473" fmla="*/ 2119067 w 9043663"/>
              <a:gd name="connsiteY473" fmla="*/ 107801 h 3664183"/>
              <a:gd name="connsiteX474" fmla="*/ 2111900 w 9043663"/>
              <a:gd name="connsiteY474" fmla="*/ 114020 h 3664183"/>
              <a:gd name="connsiteX475" fmla="*/ 2119067 w 9043663"/>
              <a:gd name="connsiteY475" fmla="*/ 114020 h 3664183"/>
              <a:gd name="connsiteX476" fmla="*/ 2142958 w 9043663"/>
              <a:gd name="connsiteY476" fmla="*/ 114020 h 3664183"/>
              <a:gd name="connsiteX477" fmla="*/ 2205073 w 9043663"/>
              <a:gd name="connsiteY477" fmla="*/ 105727 h 3664183"/>
              <a:gd name="connsiteX478" fmla="*/ 2205073 w 9043663"/>
              <a:gd name="connsiteY478" fmla="*/ 100545 h 3664183"/>
              <a:gd name="connsiteX479" fmla="*/ 2154903 w 9043663"/>
              <a:gd name="connsiteY479" fmla="*/ 102618 h 3664183"/>
              <a:gd name="connsiteX480" fmla="*/ 2238519 w 9043663"/>
              <a:gd name="connsiteY480" fmla="*/ 95362 h 3664183"/>
              <a:gd name="connsiteX481" fmla="*/ 2238519 w 9043663"/>
              <a:gd name="connsiteY481" fmla="*/ 90179 h 3664183"/>
              <a:gd name="connsiteX482" fmla="*/ 2142958 w 9043663"/>
              <a:gd name="connsiteY482" fmla="*/ 98472 h 3664183"/>
              <a:gd name="connsiteX483" fmla="*/ 2142958 w 9043663"/>
              <a:gd name="connsiteY483" fmla="*/ 102618 h 3664183"/>
              <a:gd name="connsiteX484" fmla="*/ 2126235 w 9043663"/>
              <a:gd name="connsiteY484" fmla="*/ 103654 h 3664183"/>
              <a:gd name="connsiteX485" fmla="*/ 2136985 w 9043663"/>
              <a:gd name="connsiteY485" fmla="*/ 97435 h 3664183"/>
              <a:gd name="connsiteX486" fmla="*/ 2076065 w 9043663"/>
              <a:gd name="connsiteY486" fmla="*/ 103654 h 3664183"/>
              <a:gd name="connsiteX487" fmla="*/ 2116678 w 9043663"/>
              <a:gd name="connsiteY487" fmla="*/ 109874 h 3664183"/>
              <a:gd name="connsiteX488" fmla="*/ 2119067 w 9043663"/>
              <a:gd name="connsiteY488" fmla="*/ 107801 h 3664183"/>
              <a:gd name="connsiteX489" fmla="*/ 1921973 w 9043663"/>
              <a:gd name="connsiteY489" fmla="*/ 148226 h 3664183"/>
              <a:gd name="connsiteX490" fmla="*/ 1921973 w 9043663"/>
              <a:gd name="connsiteY490" fmla="*/ 148226 h 3664183"/>
              <a:gd name="connsiteX491" fmla="*/ 1975726 w 9043663"/>
              <a:gd name="connsiteY491" fmla="*/ 135787 h 3664183"/>
              <a:gd name="connsiteX492" fmla="*/ 1987671 w 9043663"/>
              <a:gd name="connsiteY492" fmla="*/ 138897 h 3664183"/>
              <a:gd name="connsiteX493" fmla="*/ 1910027 w 9043663"/>
              <a:gd name="connsiteY493" fmla="*/ 158591 h 3664183"/>
              <a:gd name="connsiteX494" fmla="*/ 1942280 w 9043663"/>
              <a:gd name="connsiteY494" fmla="*/ 158591 h 3664183"/>
              <a:gd name="connsiteX495" fmla="*/ 1938696 w 9043663"/>
              <a:gd name="connsiteY495" fmla="*/ 159628 h 3664183"/>
              <a:gd name="connsiteX496" fmla="*/ 1992449 w 9043663"/>
              <a:gd name="connsiteY496" fmla="*/ 165847 h 3664183"/>
              <a:gd name="connsiteX497" fmla="*/ 2018728 w 9043663"/>
              <a:gd name="connsiteY497" fmla="*/ 160664 h 3664183"/>
              <a:gd name="connsiteX498" fmla="*/ 2021117 w 9043663"/>
              <a:gd name="connsiteY498" fmla="*/ 161701 h 3664183"/>
              <a:gd name="connsiteX499" fmla="*/ 1984087 w 9043663"/>
              <a:gd name="connsiteY499" fmla="*/ 171030 h 3664183"/>
              <a:gd name="connsiteX500" fmla="*/ 2019923 w 9043663"/>
              <a:gd name="connsiteY500" fmla="*/ 178286 h 3664183"/>
              <a:gd name="connsiteX501" fmla="*/ 2169237 w 9043663"/>
              <a:gd name="connsiteY501" fmla="*/ 164810 h 3664183"/>
              <a:gd name="connsiteX502" fmla="*/ 2215823 w 9043663"/>
              <a:gd name="connsiteY502" fmla="*/ 143043 h 3664183"/>
              <a:gd name="connsiteX503" fmla="*/ 2169237 w 9043663"/>
              <a:gd name="connsiteY503" fmla="*/ 134751 h 3664183"/>
              <a:gd name="connsiteX504" fmla="*/ 2172821 w 9043663"/>
              <a:gd name="connsiteY504" fmla="*/ 122312 h 3664183"/>
              <a:gd name="connsiteX505" fmla="*/ 2111900 w 9043663"/>
              <a:gd name="connsiteY505" fmla="*/ 136824 h 3664183"/>
              <a:gd name="connsiteX506" fmla="*/ 2126235 w 9043663"/>
              <a:gd name="connsiteY506" fmla="*/ 139933 h 3664183"/>
              <a:gd name="connsiteX507" fmla="*/ 2117873 w 9043663"/>
              <a:gd name="connsiteY507" fmla="*/ 143043 h 3664183"/>
              <a:gd name="connsiteX508" fmla="*/ 2117873 w 9043663"/>
              <a:gd name="connsiteY508" fmla="*/ 147189 h 3664183"/>
              <a:gd name="connsiteX509" fmla="*/ 2084427 w 9043663"/>
              <a:gd name="connsiteY509" fmla="*/ 147189 h 3664183"/>
              <a:gd name="connsiteX510" fmla="*/ 2084427 w 9043663"/>
              <a:gd name="connsiteY510" fmla="*/ 134751 h 3664183"/>
              <a:gd name="connsiteX511" fmla="*/ 2033062 w 9043663"/>
              <a:gd name="connsiteY511" fmla="*/ 129568 h 3664183"/>
              <a:gd name="connsiteX512" fmla="*/ 1982893 w 9043663"/>
              <a:gd name="connsiteY512" fmla="*/ 145116 h 3664183"/>
              <a:gd name="connsiteX513" fmla="*/ 1990060 w 9043663"/>
              <a:gd name="connsiteY513" fmla="*/ 142007 h 3664183"/>
              <a:gd name="connsiteX514" fmla="*/ 1988865 w 9043663"/>
              <a:gd name="connsiteY514" fmla="*/ 137860 h 3664183"/>
              <a:gd name="connsiteX515" fmla="*/ 1994838 w 9043663"/>
              <a:gd name="connsiteY515" fmla="*/ 139933 h 3664183"/>
              <a:gd name="connsiteX516" fmla="*/ 2076065 w 9043663"/>
              <a:gd name="connsiteY516" fmla="*/ 114020 h 3664183"/>
              <a:gd name="connsiteX517" fmla="*/ 2093983 w 9043663"/>
              <a:gd name="connsiteY517" fmla="*/ 108837 h 3664183"/>
              <a:gd name="connsiteX518" fmla="*/ 2092788 w 9043663"/>
              <a:gd name="connsiteY518" fmla="*/ 108837 h 3664183"/>
              <a:gd name="connsiteX519" fmla="*/ 2092788 w 9043663"/>
              <a:gd name="connsiteY519" fmla="*/ 108837 h 3664183"/>
              <a:gd name="connsiteX520" fmla="*/ 2000811 w 9043663"/>
              <a:gd name="connsiteY520" fmla="*/ 108837 h 3664183"/>
              <a:gd name="connsiteX521" fmla="*/ 1858664 w 9043663"/>
              <a:gd name="connsiteY521" fmla="*/ 135787 h 3664183"/>
              <a:gd name="connsiteX522" fmla="*/ 1868220 w 9043663"/>
              <a:gd name="connsiteY522" fmla="*/ 148226 h 3664183"/>
              <a:gd name="connsiteX523" fmla="*/ 1921973 w 9043663"/>
              <a:gd name="connsiteY523" fmla="*/ 148226 h 3664183"/>
              <a:gd name="connsiteX524" fmla="*/ 1690237 w 9043663"/>
              <a:gd name="connsiteY524" fmla="*/ 251880 h 3664183"/>
              <a:gd name="connsiteX525" fmla="*/ 1758324 w 9043663"/>
              <a:gd name="connsiteY525" fmla="*/ 240478 h 3664183"/>
              <a:gd name="connsiteX526" fmla="*/ 1829995 w 9043663"/>
              <a:gd name="connsiteY526" fmla="*/ 217674 h 3664183"/>
              <a:gd name="connsiteX527" fmla="*/ 1847913 w 9043663"/>
              <a:gd name="connsiteY527" fmla="*/ 214565 h 3664183"/>
              <a:gd name="connsiteX528" fmla="*/ 1791771 w 9043663"/>
              <a:gd name="connsiteY528" fmla="*/ 236332 h 3664183"/>
              <a:gd name="connsiteX529" fmla="*/ 1809688 w 9043663"/>
              <a:gd name="connsiteY529" fmla="*/ 241515 h 3664183"/>
              <a:gd name="connsiteX530" fmla="*/ 1794160 w 9043663"/>
              <a:gd name="connsiteY530" fmla="*/ 248771 h 3664183"/>
              <a:gd name="connsiteX531" fmla="*/ 1807299 w 9043663"/>
              <a:gd name="connsiteY531" fmla="*/ 256026 h 3664183"/>
              <a:gd name="connsiteX532" fmla="*/ 1864636 w 9043663"/>
              <a:gd name="connsiteY532" fmla="*/ 261209 h 3664183"/>
              <a:gd name="connsiteX533" fmla="*/ 1792965 w 9043663"/>
              <a:gd name="connsiteY533" fmla="*/ 266392 h 3664183"/>
              <a:gd name="connsiteX534" fmla="*/ 1781020 w 9043663"/>
              <a:gd name="connsiteY534" fmla="*/ 284013 h 3664183"/>
              <a:gd name="connsiteX535" fmla="*/ 1834773 w 9043663"/>
              <a:gd name="connsiteY535" fmla="*/ 289196 h 3664183"/>
              <a:gd name="connsiteX536" fmla="*/ 1821634 w 9043663"/>
              <a:gd name="connsiteY536" fmla="*/ 308890 h 3664183"/>
              <a:gd name="connsiteX537" fmla="*/ 2009172 w 9043663"/>
              <a:gd name="connsiteY537" fmla="*/ 285050 h 3664183"/>
              <a:gd name="connsiteX538" fmla="*/ 2035451 w 9043663"/>
              <a:gd name="connsiteY538" fmla="*/ 300598 h 3664183"/>
              <a:gd name="connsiteX539" fmla="*/ 2066509 w 9043663"/>
              <a:gd name="connsiteY539" fmla="*/ 297488 h 3664183"/>
              <a:gd name="connsiteX540" fmla="*/ 2154903 w 9043663"/>
              <a:gd name="connsiteY540" fmla="*/ 262246 h 3664183"/>
              <a:gd name="connsiteX541" fmla="*/ 2091594 w 9043663"/>
              <a:gd name="connsiteY541" fmla="*/ 256026 h 3664183"/>
              <a:gd name="connsiteX542" fmla="*/ 2085621 w 9043663"/>
              <a:gd name="connsiteY542" fmla="*/ 248771 h 3664183"/>
              <a:gd name="connsiteX543" fmla="*/ 2101150 w 9043663"/>
              <a:gd name="connsiteY543" fmla="*/ 237369 h 3664183"/>
              <a:gd name="connsiteX544" fmla="*/ 2116678 w 9043663"/>
              <a:gd name="connsiteY544" fmla="*/ 216638 h 3664183"/>
              <a:gd name="connsiteX545" fmla="*/ 2176404 w 9043663"/>
              <a:gd name="connsiteY545" fmla="*/ 194870 h 3664183"/>
              <a:gd name="connsiteX546" fmla="*/ 2126235 w 9043663"/>
              <a:gd name="connsiteY546" fmla="*/ 188651 h 3664183"/>
              <a:gd name="connsiteX547" fmla="*/ 2066509 w 9043663"/>
              <a:gd name="connsiteY547" fmla="*/ 209382 h 3664183"/>
              <a:gd name="connsiteX548" fmla="*/ 1998422 w 9043663"/>
              <a:gd name="connsiteY548" fmla="*/ 204199 h 3664183"/>
              <a:gd name="connsiteX549" fmla="*/ 1963781 w 9043663"/>
              <a:gd name="connsiteY549" fmla="*/ 208345 h 3664183"/>
              <a:gd name="connsiteX550" fmla="*/ 1974531 w 9043663"/>
              <a:gd name="connsiteY550" fmla="*/ 195907 h 3664183"/>
              <a:gd name="connsiteX551" fmla="*/ 1947057 w 9043663"/>
              <a:gd name="connsiteY551" fmla="*/ 195907 h 3664183"/>
              <a:gd name="connsiteX552" fmla="*/ 1953030 w 9043663"/>
              <a:gd name="connsiteY552" fmla="*/ 194870 h 3664183"/>
              <a:gd name="connsiteX553" fmla="*/ 1924362 w 9043663"/>
              <a:gd name="connsiteY553" fmla="*/ 173103 h 3664183"/>
              <a:gd name="connsiteX554" fmla="*/ 1859858 w 9043663"/>
              <a:gd name="connsiteY554" fmla="*/ 169993 h 3664183"/>
              <a:gd name="connsiteX555" fmla="*/ 1777437 w 9043663"/>
              <a:gd name="connsiteY555" fmla="*/ 178286 h 3664183"/>
              <a:gd name="connsiteX556" fmla="*/ 1767880 w 9043663"/>
              <a:gd name="connsiteY556" fmla="*/ 191761 h 3664183"/>
              <a:gd name="connsiteX557" fmla="*/ 1683070 w 9043663"/>
              <a:gd name="connsiteY557" fmla="*/ 223894 h 3664183"/>
              <a:gd name="connsiteX558" fmla="*/ 1697404 w 9043663"/>
              <a:gd name="connsiteY558" fmla="*/ 233222 h 3664183"/>
              <a:gd name="connsiteX559" fmla="*/ 1690237 w 9043663"/>
              <a:gd name="connsiteY559" fmla="*/ 251880 h 3664183"/>
              <a:gd name="connsiteX560" fmla="*/ 612786 w 9043663"/>
              <a:gd name="connsiteY560" fmla="*/ 559734 h 3664183"/>
              <a:gd name="connsiteX561" fmla="*/ 610397 w 9043663"/>
              <a:gd name="connsiteY561" fmla="*/ 551441 h 3664183"/>
              <a:gd name="connsiteX562" fmla="*/ 606813 w 9043663"/>
              <a:gd name="connsiteY562" fmla="*/ 552478 h 3664183"/>
              <a:gd name="connsiteX563" fmla="*/ 606813 w 9043663"/>
              <a:gd name="connsiteY563" fmla="*/ 551441 h 3664183"/>
              <a:gd name="connsiteX564" fmla="*/ 508863 w 9043663"/>
              <a:gd name="connsiteY564" fmla="*/ 583574 h 3664183"/>
              <a:gd name="connsiteX565" fmla="*/ 506474 w 9043663"/>
              <a:gd name="connsiteY565" fmla="*/ 584611 h 3664183"/>
              <a:gd name="connsiteX566" fmla="*/ 506474 w 9043663"/>
              <a:gd name="connsiteY566" fmla="*/ 600159 h 3664183"/>
              <a:gd name="connsiteX567" fmla="*/ 510057 w 9043663"/>
              <a:gd name="connsiteY567" fmla="*/ 599123 h 3664183"/>
              <a:gd name="connsiteX568" fmla="*/ 581728 w 9043663"/>
              <a:gd name="connsiteY568" fmla="*/ 580465 h 3664183"/>
              <a:gd name="connsiteX569" fmla="*/ 591284 w 9043663"/>
              <a:gd name="connsiteY569" fmla="*/ 573209 h 3664183"/>
              <a:gd name="connsiteX570" fmla="*/ 615175 w 9043663"/>
              <a:gd name="connsiteY570" fmla="*/ 566990 h 3664183"/>
              <a:gd name="connsiteX571" fmla="*/ 613980 w 9043663"/>
              <a:gd name="connsiteY571" fmla="*/ 564917 h 3664183"/>
              <a:gd name="connsiteX572" fmla="*/ 616369 w 9043663"/>
              <a:gd name="connsiteY572" fmla="*/ 564917 h 3664183"/>
              <a:gd name="connsiteX573" fmla="*/ 612786 w 9043663"/>
              <a:gd name="connsiteY573" fmla="*/ 559734 h 3664183"/>
              <a:gd name="connsiteX574" fmla="*/ 977112 w 9043663"/>
              <a:gd name="connsiteY574" fmla="*/ 663388 h 3664183"/>
              <a:gd name="connsiteX575" fmla="*/ 935304 w 9043663"/>
              <a:gd name="connsiteY575" fmla="*/ 663388 h 3664183"/>
              <a:gd name="connsiteX576" fmla="*/ 918581 w 9043663"/>
              <a:gd name="connsiteY576" fmla="*/ 679973 h 3664183"/>
              <a:gd name="connsiteX577" fmla="*/ 912609 w 9043663"/>
              <a:gd name="connsiteY577" fmla="*/ 710033 h 3664183"/>
              <a:gd name="connsiteX578" fmla="*/ 930526 w 9043663"/>
              <a:gd name="connsiteY578" fmla="*/ 725581 h 3664183"/>
              <a:gd name="connsiteX579" fmla="*/ 930526 w 9043663"/>
              <a:gd name="connsiteY579" fmla="*/ 699667 h 3664183"/>
              <a:gd name="connsiteX580" fmla="*/ 977112 w 9043663"/>
              <a:gd name="connsiteY580" fmla="*/ 663388 h 3664183"/>
              <a:gd name="connsiteX581" fmla="*/ 2279132 w 9043663"/>
              <a:gd name="connsiteY581" fmla="*/ 609488 h 3664183"/>
              <a:gd name="connsiteX582" fmla="*/ 2280327 w 9043663"/>
              <a:gd name="connsiteY582" fmla="*/ 613634 h 3664183"/>
              <a:gd name="connsiteX583" fmla="*/ 2250464 w 9043663"/>
              <a:gd name="connsiteY583" fmla="*/ 630219 h 3664183"/>
              <a:gd name="connsiteX584" fmla="*/ 2250464 w 9043663"/>
              <a:gd name="connsiteY584" fmla="*/ 630219 h 3664183"/>
              <a:gd name="connsiteX585" fmla="*/ 2248075 w 9043663"/>
              <a:gd name="connsiteY585" fmla="*/ 631255 h 3664183"/>
              <a:gd name="connsiteX586" fmla="*/ 2271965 w 9043663"/>
              <a:gd name="connsiteY586" fmla="*/ 624000 h 3664183"/>
              <a:gd name="connsiteX587" fmla="*/ 2289883 w 9043663"/>
              <a:gd name="connsiteY587" fmla="*/ 618817 h 3664183"/>
              <a:gd name="connsiteX588" fmla="*/ 2289883 w 9043663"/>
              <a:gd name="connsiteY588" fmla="*/ 619853 h 3664183"/>
              <a:gd name="connsiteX589" fmla="*/ 2289883 w 9043663"/>
              <a:gd name="connsiteY589" fmla="*/ 619853 h 3664183"/>
              <a:gd name="connsiteX590" fmla="*/ 2289883 w 9043663"/>
              <a:gd name="connsiteY590" fmla="*/ 619853 h 3664183"/>
              <a:gd name="connsiteX591" fmla="*/ 2289883 w 9043663"/>
              <a:gd name="connsiteY591" fmla="*/ 619853 h 3664183"/>
              <a:gd name="connsiteX592" fmla="*/ 2291078 w 9043663"/>
              <a:gd name="connsiteY592" fmla="*/ 619853 h 3664183"/>
              <a:gd name="connsiteX593" fmla="*/ 2294661 w 9043663"/>
              <a:gd name="connsiteY593" fmla="*/ 622963 h 3664183"/>
              <a:gd name="connsiteX594" fmla="*/ 2312579 w 9043663"/>
              <a:gd name="connsiteY594" fmla="*/ 607415 h 3664183"/>
              <a:gd name="connsiteX595" fmla="*/ 2306606 w 9043663"/>
              <a:gd name="connsiteY595" fmla="*/ 609488 h 3664183"/>
              <a:gd name="connsiteX596" fmla="*/ 2316162 w 9043663"/>
              <a:gd name="connsiteY596" fmla="*/ 598086 h 3664183"/>
              <a:gd name="connsiteX597" fmla="*/ 2279132 w 9043663"/>
              <a:gd name="connsiteY597" fmla="*/ 609488 h 3664183"/>
              <a:gd name="connsiteX598" fmla="*/ 8283953 w 9043663"/>
              <a:gd name="connsiteY598" fmla="*/ 655096 h 3664183"/>
              <a:gd name="connsiteX599" fmla="*/ 8286342 w 9043663"/>
              <a:gd name="connsiteY599" fmla="*/ 656132 h 3664183"/>
              <a:gd name="connsiteX600" fmla="*/ 8288732 w 9043663"/>
              <a:gd name="connsiteY600" fmla="*/ 650950 h 3664183"/>
              <a:gd name="connsiteX601" fmla="*/ 8274397 w 9043663"/>
              <a:gd name="connsiteY601" fmla="*/ 644730 h 3664183"/>
              <a:gd name="connsiteX602" fmla="*/ 8248118 w 9043663"/>
              <a:gd name="connsiteY602" fmla="*/ 634365 h 3664183"/>
              <a:gd name="connsiteX603" fmla="*/ 8248118 w 9043663"/>
              <a:gd name="connsiteY603" fmla="*/ 634365 h 3664183"/>
              <a:gd name="connsiteX604" fmla="*/ 8245729 w 9043663"/>
              <a:gd name="connsiteY604" fmla="*/ 633329 h 3664183"/>
              <a:gd name="connsiteX605" fmla="*/ 8243339 w 9043663"/>
              <a:gd name="connsiteY605" fmla="*/ 638511 h 3664183"/>
              <a:gd name="connsiteX606" fmla="*/ 8257674 w 9043663"/>
              <a:gd name="connsiteY606" fmla="*/ 644730 h 3664183"/>
              <a:gd name="connsiteX607" fmla="*/ 8283953 w 9043663"/>
              <a:gd name="connsiteY607" fmla="*/ 655096 h 3664183"/>
              <a:gd name="connsiteX608" fmla="*/ 8283953 w 9043663"/>
              <a:gd name="connsiteY608" fmla="*/ 655096 h 3664183"/>
              <a:gd name="connsiteX609" fmla="*/ 8479853 w 9043663"/>
              <a:gd name="connsiteY609" fmla="*/ 697594 h 3664183"/>
              <a:gd name="connsiteX610" fmla="*/ 8479853 w 9043663"/>
              <a:gd name="connsiteY610" fmla="*/ 702777 h 3664183"/>
              <a:gd name="connsiteX611" fmla="*/ 8509716 w 9043663"/>
              <a:gd name="connsiteY611" fmla="*/ 702777 h 3664183"/>
              <a:gd name="connsiteX612" fmla="*/ 8509716 w 9043663"/>
              <a:gd name="connsiteY612" fmla="*/ 697594 h 3664183"/>
              <a:gd name="connsiteX613" fmla="*/ 8479853 w 9043663"/>
              <a:gd name="connsiteY613" fmla="*/ 697594 h 3664183"/>
              <a:gd name="connsiteX614" fmla="*/ 8766537 w 9043663"/>
              <a:gd name="connsiteY614" fmla="*/ 728691 h 3664183"/>
              <a:gd name="connsiteX615" fmla="*/ 8742647 w 9043663"/>
              <a:gd name="connsiteY615" fmla="*/ 725581 h 3664183"/>
              <a:gd name="connsiteX616" fmla="*/ 8741452 w 9043663"/>
              <a:gd name="connsiteY616" fmla="*/ 730764 h 3664183"/>
              <a:gd name="connsiteX617" fmla="*/ 8765342 w 9043663"/>
              <a:gd name="connsiteY617" fmla="*/ 733873 h 3664183"/>
              <a:gd name="connsiteX618" fmla="*/ 8766537 w 9043663"/>
              <a:gd name="connsiteY618" fmla="*/ 728691 h 3664183"/>
              <a:gd name="connsiteX619" fmla="*/ 8786843 w 9043663"/>
              <a:gd name="connsiteY619" fmla="*/ 733873 h 3664183"/>
              <a:gd name="connsiteX620" fmla="*/ 8789232 w 9043663"/>
              <a:gd name="connsiteY620" fmla="*/ 733873 h 3664183"/>
              <a:gd name="connsiteX621" fmla="*/ 8790427 w 9043663"/>
              <a:gd name="connsiteY621" fmla="*/ 733873 h 3664183"/>
              <a:gd name="connsiteX622" fmla="*/ 8799983 w 9043663"/>
              <a:gd name="connsiteY622" fmla="*/ 730764 h 3664183"/>
              <a:gd name="connsiteX623" fmla="*/ 8823873 w 9043663"/>
              <a:gd name="connsiteY623" fmla="*/ 725581 h 3664183"/>
              <a:gd name="connsiteX624" fmla="*/ 8762953 w 9043663"/>
              <a:gd name="connsiteY624" fmla="*/ 725581 h 3664183"/>
              <a:gd name="connsiteX625" fmla="*/ 8779676 w 9043663"/>
              <a:gd name="connsiteY625" fmla="*/ 730764 h 3664183"/>
              <a:gd name="connsiteX626" fmla="*/ 8786843 w 9043663"/>
              <a:gd name="connsiteY626" fmla="*/ 733873 h 3664183"/>
              <a:gd name="connsiteX627" fmla="*/ 8831040 w 9043663"/>
              <a:gd name="connsiteY627" fmla="*/ 722471 h 3664183"/>
              <a:gd name="connsiteX628" fmla="*/ 8838208 w 9043663"/>
              <a:gd name="connsiteY628" fmla="*/ 718325 h 3664183"/>
              <a:gd name="connsiteX629" fmla="*/ 8839402 w 9043663"/>
              <a:gd name="connsiteY629" fmla="*/ 718325 h 3664183"/>
              <a:gd name="connsiteX630" fmla="*/ 8840596 w 9043663"/>
              <a:gd name="connsiteY630" fmla="*/ 716252 h 3664183"/>
              <a:gd name="connsiteX631" fmla="*/ 8842985 w 9043663"/>
              <a:gd name="connsiteY631" fmla="*/ 715215 h 3664183"/>
              <a:gd name="connsiteX632" fmla="*/ 8841791 w 9043663"/>
              <a:gd name="connsiteY632" fmla="*/ 714179 h 3664183"/>
              <a:gd name="connsiteX633" fmla="*/ 8841791 w 9043663"/>
              <a:gd name="connsiteY633" fmla="*/ 713142 h 3664183"/>
              <a:gd name="connsiteX634" fmla="*/ 8839402 w 9043663"/>
              <a:gd name="connsiteY634" fmla="*/ 712106 h 3664183"/>
              <a:gd name="connsiteX635" fmla="*/ 8838208 w 9043663"/>
              <a:gd name="connsiteY635" fmla="*/ 710033 h 3664183"/>
              <a:gd name="connsiteX636" fmla="*/ 8837013 w 9043663"/>
              <a:gd name="connsiteY636" fmla="*/ 711069 h 3664183"/>
              <a:gd name="connsiteX637" fmla="*/ 8829846 w 9043663"/>
              <a:gd name="connsiteY637" fmla="*/ 707960 h 3664183"/>
              <a:gd name="connsiteX638" fmla="*/ 8827457 w 9043663"/>
              <a:gd name="connsiteY638" fmla="*/ 712106 h 3664183"/>
              <a:gd name="connsiteX639" fmla="*/ 8831040 w 9043663"/>
              <a:gd name="connsiteY639" fmla="*/ 714179 h 3664183"/>
              <a:gd name="connsiteX640" fmla="*/ 8826262 w 9043663"/>
              <a:gd name="connsiteY640" fmla="*/ 717289 h 3664183"/>
              <a:gd name="connsiteX641" fmla="*/ 8823873 w 9043663"/>
              <a:gd name="connsiteY641" fmla="*/ 718325 h 3664183"/>
              <a:gd name="connsiteX642" fmla="*/ 8827457 w 9043663"/>
              <a:gd name="connsiteY642" fmla="*/ 722471 h 3664183"/>
              <a:gd name="connsiteX643" fmla="*/ 8831040 w 9043663"/>
              <a:gd name="connsiteY643" fmla="*/ 722471 h 3664183"/>
              <a:gd name="connsiteX644" fmla="*/ 8533607 w 9043663"/>
              <a:gd name="connsiteY644" fmla="*/ 440531 h 3664183"/>
              <a:gd name="connsiteX645" fmla="*/ 8555108 w 9043663"/>
              <a:gd name="connsiteY645" fmla="*/ 431202 h 3664183"/>
              <a:gd name="connsiteX646" fmla="*/ 8455963 w 9043663"/>
              <a:gd name="connsiteY646" fmla="*/ 420837 h 3664183"/>
              <a:gd name="connsiteX647" fmla="*/ 8477464 w 9043663"/>
              <a:gd name="connsiteY647" fmla="*/ 434312 h 3664183"/>
              <a:gd name="connsiteX648" fmla="*/ 8533607 w 9043663"/>
              <a:gd name="connsiteY648" fmla="*/ 440531 h 3664183"/>
              <a:gd name="connsiteX649" fmla="*/ 8139417 w 9043663"/>
              <a:gd name="connsiteY649" fmla="*/ 749421 h 3664183"/>
              <a:gd name="connsiteX650" fmla="*/ 8126277 w 9043663"/>
              <a:gd name="connsiteY650" fmla="*/ 772225 h 3664183"/>
              <a:gd name="connsiteX651" fmla="*/ 8131056 w 9043663"/>
              <a:gd name="connsiteY651" fmla="*/ 780518 h 3664183"/>
              <a:gd name="connsiteX652" fmla="*/ 8147778 w 9043663"/>
              <a:gd name="connsiteY652" fmla="*/ 773262 h 3664183"/>
              <a:gd name="connsiteX653" fmla="*/ 8139417 w 9043663"/>
              <a:gd name="connsiteY653" fmla="*/ 749421 h 3664183"/>
              <a:gd name="connsiteX654" fmla="*/ 8070135 w 9043663"/>
              <a:gd name="connsiteY654" fmla="*/ 541076 h 3664183"/>
              <a:gd name="connsiteX655" fmla="*/ 8083275 w 9043663"/>
              <a:gd name="connsiteY655" fmla="*/ 559734 h 3664183"/>
              <a:gd name="connsiteX656" fmla="*/ 8092831 w 9043663"/>
              <a:gd name="connsiteY656" fmla="*/ 543149 h 3664183"/>
              <a:gd name="connsiteX657" fmla="*/ 8079692 w 9043663"/>
              <a:gd name="connsiteY657" fmla="*/ 531747 h 3664183"/>
              <a:gd name="connsiteX658" fmla="*/ 8070135 w 9043663"/>
              <a:gd name="connsiteY658" fmla="*/ 541076 h 3664183"/>
              <a:gd name="connsiteX659" fmla="*/ 8031911 w 9043663"/>
              <a:gd name="connsiteY659" fmla="*/ 248771 h 3664183"/>
              <a:gd name="connsiteX660" fmla="*/ 8031911 w 9043663"/>
              <a:gd name="connsiteY660" fmla="*/ 243588 h 3664183"/>
              <a:gd name="connsiteX661" fmla="*/ 7957851 w 9043663"/>
              <a:gd name="connsiteY661" fmla="*/ 241515 h 3664183"/>
              <a:gd name="connsiteX662" fmla="*/ 7956656 w 9043663"/>
              <a:gd name="connsiteY662" fmla="*/ 246698 h 3664183"/>
              <a:gd name="connsiteX663" fmla="*/ 7986519 w 9043663"/>
              <a:gd name="connsiteY663" fmla="*/ 251880 h 3664183"/>
              <a:gd name="connsiteX664" fmla="*/ 8031911 w 9043663"/>
              <a:gd name="connsiteY664" fmla="*/ 248771 h 3664183"/>
              <a:gd name="connsiteX665" fmla="*/ 7072716 w 9043663"/>
              <a:gd name="connsiteY665" fmla="*/ 186578 h 3664183"/>
              <a:gd name="connsiteX666" fmla="*/ 7072716 w 9043663"/>
              <a:gd name="connsiteY666" fmla="*/ 195907 h 3664183"/>
              <a:gd name="connsiteX667" fmla="*/ 7174250 w 9043663"/>
              <a:gd name="connsiteY667" fmla="*/ 207309 h 3664183"/>
              <a:gd name="connsiteX668" fmla="*/ 7096606 w 9043663"/>
              <a:gd name="connsiteY668" fmla="*/ 183468 h 3664183"/>
              <a:gd name="connsiteX669" fmla="*/ 7072716 w 9043663"/>
              <a:gd name="connsiteY669" fmla="*/ 186578 h 3664183"/>
              <a:gd name="connsiteX670" fmla="*/ 7065549 w 9043663"/>
              <a:gd name="connsiteY670" fmla="*/ 186578 h 3664183"/>
              <a:gd name="connsiteX671" fmla="*/ 7067938 w 9043663"/>
              <a:gd name="connsiteY671" fmla="*/ 181395 h 3664183"/>
              <a:gd name="connsiteX672" fmla="*/ 7044048 w 9043663"/>
              <a:gd name="connsiteY672" fmla="*/ 173103 h 3664183"/>
              <a:gd name="connsiteX673" fmla="*/ 7041659 w 9043663"/>
              <a:gd name="connsiteY673" fmla="*/ 178286 h 3664183"/>
              <a:gd name="connsiteX674" fmla="*/ 7065549 w 9043663"/>
              <a:gd name="connsiteY674" fmla="*/ 186578 h 3664183"/>
              <a:gd name="connsiteX675" fmla="*/ 7224419 w 9043663"/>
              <a:gd name="connsiteY675" fmla="*/ 158591 h 3664183"/>
              <a:gd name="connsiteX676" fmla="*/ 7118108 w 9043663"/>
              <a:gd name="connsiteY676" fmla="*/ 153409 h 3664183"/>
              <a:gd name="connsiteX677" fmla="*/ 7116913 w 9043663"/>
              <a:gd name="connsiteY677" fmla="*/ 158591 h 3664183"/>
              <a:gd name="connsiteX678" fmla="*/ 7232781 w 9043663"/>
              <a:gd name="connsiteY678" fmla="*/ 175176 h 3664183"/>
              <a:gd name="connsiteX679" fmla="*/ 7224419 w 9043663"/>
              <a:gd name="connsiteY679" fmla="*/ 158591 h 3664183"/>
              <a:gd name="connsiteX680" fmla="*/ 7010602 w 9043663"/>
              <a:gd name="connsiteY680" fmla="*/ 174139 h 3664183"/>
              <a:gd name="connsiteX681" fmla="*/ 7076300 w 9043663"/>
              <a:gd name="connsiteY681" fmla="*/ 168957 h 3664183"/>
              <a:gd name="connsiteX682" fmla="*/ 7104968 w 9043663"/>
              <a:gd name="connsiteY682" fmla="*/ 155482 h 3664183"/>
              <a:gd name="connsiteX683" fmla="*/ 7008213 w 9043663"/>
              <a:gd name="connsiteY683" fmla="*/ 135787 h 3664183"/>
              <a:gd name="connsiteX684" fmla="*/ 7002240 w 9043663"/>
              <a:gd name="connsiteY684" fmla="*/ 146153 h 3664183"/>
              <a:gd name="connsiteX685" fmla="*/ 6953265 w 9043663"/>
              <a:gd name="connsiteY685" fmla="*/ 135787 h 3664183"/>
              <a:gd name="connsiteX686" fmla="*/ 6926986 w 9043663"/>
              <a:gd name="connsiteY686" fmla="*/ 145116 h 3664183"/>
              <a:gd name="connsiteX687" fmla="*/ 6948487 w 9043663"/>
              <a:gd name="connsiteY687" fmla="*/ 160664 h 3664183"/>
              <a:gd name="connsiteX688" fmla="*/ 7010602 w 9043663"/>
              <a:gd name="connsiteY688" fmla="*/ 174139 h 3664183"/>
              <a:gd name="connsiteX689" fmla="*/ 7560078 w 9043663"/>
              <a:gd name="connsiteY689" fmla="*/ 653023 h 3664183"/>
              <a:gd name="connsiteX690" fmla="*/ 7581579 w 9043663"/>
              <a:gd name="connsiteY690" fmla="*/ 657169 h 3664183"/>
              <a:gd name="connsiteX691" fmla="*/ 7581579 w 9043663"/>
              <a:gd name="connsiteY691" fmla="*/ 644730 h 3664183"/>
              <a:gd name="connsiteX692" fmla="*/ 7560078 w 9043663"/>
              <a:gd name="connsiteY692" fmla="*/ 637475 h 3664183"/>
              <a:gd name="connsiteX693" fmla="*/ 7560078 w 9043663"/>
              <a:gd name="connsiteY693" fmla="*/ 653023 h 3664183"/>
              <a:gd name="connsiteX694" fmla="*/ 7758367 w 9043663"/>
              <a:gd name="connsiteY694" fmla="*/ 1230378 h 3664183"/>
              <a:gd name="connsiteX695" fmla="*/ 7776285 w 9043663"/>
              <a:gd name="connsiteY695" fmla="*/ 1249036 h 3664183"/>
              <a:gd name="connsiteX696" fmla="*/ 7789424 w 9043663"/>
              <a:gd name="connsiteY696" fmla="*/ 1249036 h 3664183"/>
              <a:gd name="connsiteX697" fmla="*/ 7789424 w 9043663"/>
              <a:gd name="connsiteY697" fmla="*/ 1242816 h 3664183"/>
              <a:gd name="connsiteX698" fmla="*/ 7795397 w 9043663"/>
              <a:gd name="connsiteY698" fmla="*/ 1247999 h 3664183"/>
              <a:gd name="connsiteX699" fmla="*/ 7801369 w 9043663"/>
              <a:gd name="connsiteY699" fmla="*/ 1287388 h 3664183"/>
              <a:gd name="connsiteX700" fmla="*/ 7822871 w 9043663"/>
              <a:gd name="connsiteY700" fmla="*/ 1293607 h 3664183"/>
              <a:gd name="connsiteX701" fmla="*/ 7837205 w 9043663"/>
              <a:gd name="connsiteY701" fmla="*/ 1281169 h 3664183"/>
              <a:gd name="connsiteX702" fmla="*/ 7837205 w 9043663"/>
              <a:gd name="connsiteY702" fmla="*/ 1240743 h 3664183"/>
              <a:gd name="connsiteX703" fmla="*/ 7818093 w 9043663"/>
              <a:gd name="connsiteY703" fmla="*/ 1218976 h 3664183"/>
              <a:gd name="connsiteX704" fmla="*/ 7798981 w 9043663"/>
              <a:gd name="connsiteY704" fmla="*/ 1215866 h 3664183"/>
              <a:gd name="connsiteX705" fmla="*/ 7827649 w 9043663"/>
              <a:gd name="connsiteY705" fmla="*/ 1215866 h 3664183"/>
              <a:gd name="connsiteX706" fmla="*/ 7827649 w 9043663"/>
              <a:gd name="connsiteY706" fmla="*/ 1213793 h 3664183"/>
              <a:gd name="connsiteX707" fmla="*/ 7830038 w 9043663"/>
              <a:gd name="connsiteY707" fmla="*/ 1207574 h 3664183"/>
              <a:gd name="connsiteX708" fmla="*/ 7879013 w 9043663"/>
              <a:gd name="connsiteY708" fmla="*/ 1189953 h 3664183"/>
              <a:gd name="connsiteX709" fmla="*/ 7905292 w 9043663"/>
              <a:gd name="connsiteY709" fmla="*/ 1192026 h 3664183"/>
              <a:gd name="connsiteX710" fmla="*/ 7907681 w 9043663"/>
              <a:gd name="connsiteY710" fmla="*/ 1213793 h 3664183"/>
              <a:gd name="connsiteX711" fmla="*/ 7932766 w 9043663"/>
              <a:gd name="connsiteY711" fmla="*/ 1232451 h 3664183"/>
              <a:gd name="connsiteX712" fmla="*/ 7932766 w 9043663"/>
              <a:gd name="connsiteY712" fmla="*/ 1232451 h 3664183"/>
              <a:gd name="connsiteX713" fmla="*/ 7932766 w 9043663"/>
              <a:gd name="connsiteY713" fmla="*/ 1232451 h 3664183"/>
              <a:gd name="connsiteX714" fmla="*/ 7933961 w 9043663"/>
              <a:gd name="connsiteY714" fmla="*/ 1229341 h 3664183"/>
              <a:gd name="connsiteX715" fmla="*/ 7949489 w 9043663"/>
              <a:gd name="connsiteY715" fmla="*/ 1202391 h 3664183"/>
              <a:gd name="connsiteX716" fmla="*/ 7939933 w 9043663"/>
              <a:gd name="connsiteY716" fmla="*/ 1190989 h 3664183"/>
              <a:gd name="connsiteX717" fmla="*/ 7939933 w 9043663"/>
              <a:gd name="connsiteY717" fmla="*/ 1189953 h 3664183"/>
              <a:gd name="connsiteX718" fmla="*/ 7954268 w 9043663"/>
              <a:gd name="connsiteY718" fmla="*/ 1200318 h 3664183"/>
              <a:gd name="connsiteX719" fmla="*/ 7984131 w 9043663"/>
              <a:gd name="connsiteY719" fmla="*/ 1200318 h 3664183"/>
              <a:gd name="connsiteX720" fmla="*/ 7988908 w 9043663"/>
              <a:gd name="connsiteY720" fmla="*/ 1188916 h 3664183"/>
              <a:gd name="connsiteX721" fmla="*/ 8000853 w 9043663"/>
              <a:gd name="connsiteY721" fmla="*/ 1208611 h 3664183"/>
              <a:gd name="connsiteX722" fmla="*/ 8000853 w 9043663"/>
              <a:gd name="connsiteY722" fmla="*/ 1178551 h 3664183"/>
              <a:gd name="connsiteX723" fmla="*/ 8011604 w 9043663"/>
              <a:gd name="connsiteY723" fmla="*/ 1173368 h 3664183"/>
              <a:gd name="connsiteX724" fmla="*/ 8021160 w 9043663"/>
              <a:gd name="connsiteY724" fmla="*/ 1192026 h 3664183"/>
              <a:gd name="connsiteX725" fmla="*/ 8033105 w 9043663"/>
              <a:gd name="connsiteY725" fmla="*/ 1181660 h 3664183"/>
              <a:gd name="connsiteX726" fmla="*/ 8040272 w 9043663"/>
              <a:gd name="connsiteY726" fmla="*/ 1164039 h 3664183"/>
              <a:gd name="connsiteX727" fmla="*/ 8040272 w 9043663"/>
              <a:gd name="connsiteY727" fmla="*/ 1163003 h 3664183"/>
              <a:gd name="connsiteX728" fmla="*/ 8040272 w 9043663"/>
              <a:gd name="connsiteY728" fmla="*/ 1160929 h 3664183"/>
              <a:gd name="connsiteX729" fmla="*/ 8028327 w 9043663"/>
              <a:gd name="connsiteY729" fmla="*/ 1141235 h 3664183"/>
              <a:gd name="connsiteX730" fmla="*/ 8006826 w 9043663"/>
              <a:gd name="connsiteY730" fmla="*/ 1098737 h 3664183"/>
              <a:gd name="connsiteX731" fmla="*/ 8009215 w 9043663"/>
              <a:gd name="connsiteY731" fmla="*/ 1093554 h 3664183"/>
              <a:gd name="connsiteX732" fmla="*/ 8019966 w 9043663"/>
              <a:gd name="connsiteY732" fmla="*/ 1093554 h 3664183"/>
              <a:gd name="connsiteX733" fmla="*/ 8018771 w 9043663"/>
              <a:gd name="connsiteY733" fmla="*/ 1090444 h 3664183"/>
              <a:gd name="connsiteX734" fmla="*/ 8012798 w 9043663"/>
              <a:gd name="connsiteY734" fmla="*/ 1069714 h 3664183"/>
              <a:gd name="connsiteX735" fmla="*/ 7965018 w 9043663"/>
              <a:gd name="connsiteY735" fmla="*/ 1006484 h 3664183"/>
              <a:gd name="connsiteX736" fmla="*/ 7965018 w 9043663"/>
              <a:gd name="connsiteY736" fmla="*/ 1006484 h 3664183"/>
              <a:gd name="connsiteX737" fmla="*/ 7963824 w 9043663"/>
              <a:gd name="connsiteY737" fmla="*/ 1005448 h 3664183"/>
              <a:gd name="connsiteX738" fmla="*/ 7963824 w 9043663"/>
              <a:gd name="connsiteY738" fmla="*/ 1005448 h 3664183"/>
              <a:gd name="connsiteX739" fmla="*/ 7963824 w 9043663"/>
              <a:gd name="connsiteY739" fmla="*/ 1005448 h 3664183"/>
              <a:gd name="connsiteX740" fmla="*/ 7962629 w 9043663"/>
              <a:gd name="connsiteY740" fmla="*/ 1005448 h 3664183"/>
              <a:gd name="connsiteX741" fmla="*/ 7942323 w 9043663"/>
              <a:gd name="connsiteY741" fmla="*/ 1000265 h 3664183"/>
              <a:gd name="connsiteX742" fmla="*/ 7945906 w 9043663"/>
              <a:gd name="connsiteY742" fmla="*/ 997155 h 3664183"/>
              <a:gd name="connsiteX743" fmla="*/ 7943517 w 9043663"/>
              <a:gd name="connsiteY743" fmla="*/ 996119 h 3664183"/>
              <a:gd name="connsiteX744" fmla="*/ 7945906 w 9043663"/>
              <a:gd name="connsiteY744" fmla="*/ 994046 h 3664183"/>
              <a:gd name="connsiteX745" fmla="*/ 7927988 w 9043663"/>
              <a:gd name="connsiteY745" fmla="*/ 982644 h 3664183"/>
              <a:gd name="connsiteX746" fmla="*/ 7932766 w 9043663"/>
              <a:gd name="connsiteY746" fmla="*/ 983680 h 3664183"/>
              <a:gd name="connsiteX747" fmla="*/ 7933961 w 9043663"/>
              <a:gd name="connsiteY747" fmla="*/ 983680 h 3664183"/>
              <a:gd name="connsiteX748" fmla="*/ 7936350 w 9043663"/>
              <a:gd name="connsiteY748" fmla="*/ 983680 h 3664183"/>
              <a:gd name="connsiteX749" fmla="*/ 7954268 w 9043663"/>
              <a:gd name="connsiteY749" fmla="*/ 976425 h 3664183"/>
              <a:gd name="connsiteX750" fmla="*/ 8004437 w 9043663"/>
              <a:gd name="connsiteY750" fmla="*/ 995082 h 3664183"/>
              <a:gd name="connsiteX751" fmla="*/ 8004437 w 9043663"/>
              <a:gd name="connsiteY751" fmla="*/ 991973 h 3664183"/>
              <a:gd name="connsiteX752" fmla="*/ 8010409 w 9043663"/>
              <a:gd name="connsiteY752" fmla="*/ 966059 h 3664183"/>
              <a:gd name="connsiteX753" fmla="*/ 8022354 w 9043663"/>
              <a:gd name="connsiteY753" fmla="*/ 968132 h 3664183"/>
              <a:gd name="connsiteX754" fmla="*/ 8023549 w 9043663"/>
              <a:gd name="connsiteY754" fmla="*/ 968132 h 3664183"/>
              <a:gd name="connsiteX755" fmla="*/ 8054606 w 9043663"/>
              <a:gd name="connsiteY755" fmla="*/ 945328 h 3664183"/>
              <a:gd name="connsiteX756" fmla="*/ 8029522 w 9043663"/>
              <a:gd name="connsiteY756" fmla="*/ 949475 h 3664183"/>
              <a:gd name="connsiteX757" fmla="*/ 8016382 w 9043663"/>
              <a:gd name="connsiteY757" fmla="*/ 938072 h 3664183"/>
              <a:gd name="connsiteX758" fmla="*/ 8013993 w 9043663"/>
              <a:gd name="connsiteY758" fmla="*/ 925634 h 3664183"/>
              <a:gd name="connsiteX759" fmla="*/ 8012798 w 9043663"/>
              <a:gd name="connsiteY759" fmla="*/ 918378 h 3664183"/>
              <a:gd name="connsiteX760" fmla="*/ 8009215 w 9043663"/>
              <a:gd name="connsiteY760" fmla="*/ 924597 h 3664183"/>
              <a:gd name="connsiteX761" fmla="*/ 8002048 w 9043663"/>
              <a:gd name="connsiteY761" fmla="*/ 933926 h 3664183"/>
              <a:gd name="connsiteX762" fmla="*/ 7968601 w 9043663"/>
              <a:gd name="connsiteY762" fmla="*/ 926670 h 3664183"/>
              <a:gd name="connsiteX763" fmla="*/ 7942323 w 9043663"/>
              <a:gd name="connsiteY763" fmla="*/ 913195 h 3664183"/>
              <a:gd name="connsiteX764" fmla="*/ 7898125 w 9043663"/>
              <a:gd name="connsiteY764" fmla="*/ 889355 h 3664183"/>
              <a:gd name="connsiteX765" fmla="*/ 7895736 w 9043663"/>
              <a:gd name="connsiteY765" fmla="*/ 891428 h 3664183"/>
              <a:gd name="connsiteX766" fmla="*/ 7894542 w 9043663"/>
              <a:gd name="connsiteY766" fmla="*/ 890391 h 3664183"/>
              <a:gd name="connsiteX767" fmla="*/ 7894542 w 9043663"/>
              <a:gd name="connsiteY767" fmla="*/ 868624 h 3664183"/>
              <a:gd name="connsiteX768" fmla="*/ 7935155 w 9043663"/>
              <a:gd name="connsiteY768" fmla="*/ 882099 h 3664183"/>
              <a:gd name="connsiteX769" fmla="*/ 7858707 w 9043663"/>
              <a:gd name="connsiteY769" fmla="*/ 818870 h 3664183"/>
              <a:gd name="connsiteX770" fmla="*/ 7851539 w 9043663"/>
              <a:gd name="connsiteY770" fmla="*/ 795029 h 3664183"/>
              <a:gd name="connsiteX771" fmla="*/ 7893347 w 9043663"/>
              <a:gd name="connsiteY771" fmla="*/ 804358 h 3664183"/>
              <a:gd name="connsiteX772" fmla="*/ 7729699 w 9043663"/>
              <a:gd name="connsiteY772" fmla="*/ 665461 h 3664183"/>
              <a:gd name="connsiteX773" fmla="*/ 7693863 w 9043663"/>
              <a:gd name="connsiteY773" fmla="*/ 654059 h 3664183"/>
              <a:gd name="connsiteX774" fmla="*/ 7715365 w 9043663"/>
              <a:gd name="connsiteY774" fmla="*/ 675827 h 3664183"/>
              <a:gd name="connsiteX775" fmla="*/ 7712976 w 9043663"/>
              <a:gd name="connsiteY775" fmla="*/ 686192 h 3664183"/>
              <a:gd name="connsiteX776" fmla="*/ 7853928 w 9043663"/>
              <a:gd name="connsiteY776" fmla="*/ 832345 h 3664183"/>
              <a:gd name="connsiteX777" fmla="*/ 7865873 w 9043663"/>
              <a:gd name="connsiteY777" fmla="*/ 868624 h 3664183"/>
              <a:gd name="connsiteX778" fmla="*/ 7894542 w 9043663"/>
              <a:gd name="connsiteY778" fmla="*/ 890391 h 3664183"/>
              <a:gd name="connsiteX779" fmla="*/ 7887374 w 9043663"/>
              <a:gd name="connsiteY779" fmla="*/ 899720 h 3664183"/>
              <a:gd name="connsiteX780" fmla="*/ 7883791 w 9043663"/>
              <a:gd name="connsiteY780" fmla="*/ 901793 h 3664183"/>
              <a:gd name="connsiteX781" fmla="*/ 7883791 w 9043663"/>
              <a:gd name="connsiteY781" fmla="*/ 901793 h 3664183"/>
              <a:gd name="connsiteX782" fmla="*/ 7883791 w 9043663"/>
              <a:gd name="connsiteY782" fmla="*/ 901793 h 3664183"/>
              <a:gd name="connsiteX783" fmla="*/ 7886180 w 9043663"/>
              <a:gd name="connsiteY783" fmla="*/ 902830 h 3664183"/>
              <a:gd name="connsiteX784" fmla="*/ 7902903 w 9043663"/>
              <a:gd name="connsiteY784" fmla="*/ 915269 h 3664183"/>
              <a:gd name="connsiteX785" fmla="*/ 7922016 w 9043663"/>
              <a:gd name="connsiteY785" fmla="*/ 954657 h 3664183"/>
              <a:gd name="connsiteX786" fmla="*/ 7893347 w 9043663"/>
              <a:gd name="connsiteY786" fmla="*/ 951548 h 3664183"/>
              <a:gd name="connsiteX787" fmla="*/ 7905292 w 9043663"/>
              <a:gd name="connsiteY787" fmla="*/ 965023 h 3664183"/>
              <a:gd name="connsiteX788" fmla="*/ 7899320 w 9043663"/>
              <a:gd name="connsiteY788" fmla="*/ 970205 h 3664183"/>
              <a:gd name="connsiteX789" fmla="*/ 7895736 w 9043663"/>
              <a:gd name="connsiteY789" fmla="*/ 969169 h 3664183"/>
              <a:gd name="connsiteX790" fmla="*/ 7898125 w 9043663"/>
              <a:gd name="connsiteY790" fmla="*/ 971242 h 3664183"/>
              <a:gd name="connsiteX791" fmla="*/ 7895736 w 9043663"/>
              <a:gd name="connsiteY791" fmla="*/ 973315 h 3664183"/>
              <a:gd name="connsiteX792" fmla="*/ 7925599 w 9043663"/>
              <a:gd name="connsiteY792" fmla="*/ 1011667 h 3664183"/>
              <a:gd name="connsiteX793" fmla="*/ 7927988 w 9043663"/>
              <a:gd name="connsiteY793" fmla="*/ 1009594 h 3664183"/>
              <a:gd name="connsiteX794" fmla="*/ 7933961 w 9043663"/>
              <a:gd name="connsiteY794" fmla="*/ 1005448 h 3664183"/>
              <a:gd name="connsiteX795" fmla="*/ 7956656 w 9043663"/>
              <a:gd name="connsiteY795" fmla="*/ 1071787 h 3664183"/>
              <a:gd name="connsiteX796" fmla="*/ 7948295 w 9043663"/>
              <a:gd name="connsiteY796" fmla="*/ 1114285 h 3664183"/>
              <a:gd name="connsiteX797" fmla="*/ 7922016 w 9043663"/>
              <a:gd name="connsiteY797" fmla="*/ 1128797 h 3664183"/>
              <a:gd name="connsiteX798" fmla="*/ 7914848 w 9043663"/>
              <a:gd name="connsiteY798" fmla="*/ 1112212 h 3664183"/>
              <a:gd name="connsiteX799" fmla="*/ 7913654 w 9043663"/>
              <a:gd name="connsiteY799" fmla="*/ 1107029 h 3664183"/>
              <a:gd name="connsiteX800" fmla="*/ 7913654 w 9043663"/>
              <a:gd name="connsiteY800" fmla="*/ 1108066 h 3664183"/>
              <a:gd name="connsiteX801" fmla="*/ 7913654 w 9043663"/>
              <a:gd name="connsiteY801" fmla="*/ 1108066 h 3664183"/>
              <a:gd name="connsiteX802" fmla="*/ 7904098 w 9043663"/>
              <a:gd name="connsiteY802" fmla="*/ 1120504 h 3664183"/>
              <a:gd name="connsiteX803" fmla="*/ 7906487 w 9043663"/>
              <a:gd name="connsiteY803" fmla="*/ 1164039 h 3664183"/>
              <a:gd name="connsiteX804" fmla="*/ 7904098 w 9043663"/>
              <a:gd name="connsiteY804" fmla="*/ 1165076 h 3664183"/>
              <a:gd name="connsiteX805" fmla="*/ 7900515 w 9043663"/>
              <a:gd name="connsiteY805" fmla="*/ 1164039 h 3664183"/>
              <a:gd name="connsiteX806" fmla="*/ 7888569 w 9043663"/>
              <a:gd name="connsiteY806" fmla="*/ 1157820 h 3664183"/>
              <a:gd name="connsiteX807" fmla="*/ 7820482 w 9043663"/>
              <a:gd name="connsiteY807" fmla="*/ 1166112 h 3664183"/>
              <a:gd name="connsiteX808" fmla="*/ 7783452 w 9043663"/>
              <a:gd name="connsiteY808" fmla="*/ 1200318 h 3664183"/>
              <a:gd name="connsiteX809" fmla="*/ 7781063 w 9043663"/>
              <a:gd name="connsiteY809" fmla="*/ 1202391 h 3664183"/>
              <a:gd name="connsiteX810" fmla="*/ 7782257 w 9043663"/>
              <a:gd name="connsiteY810" fmla="*/ 1204464 h 3664183"/>
              <a:gd name="connsiteX811" fmla="*/ 7788230 w 9043663"/>
              <a:gd name="connsiteY811" fmla="*/ 1214830 h 3664183"/>
              <a:gd name="connsiteX812" fmla="*/ 7777479 w 9043663"/>
              <a:gd name="connsiteY812" fmla="*/ 1213793 h 3664183"/>
              <a:gd name="connsiteX813" fmla="*/ 7758367 w 9043663"/>
              <a:gd name="connsiteY813" fmla="*/ 1230378 h 3664183"/>
              <a:gd name="connsiteX814" fmla="*/ 7935155 w 9043663"/>
              <a:gd name="connsiteY814" fmla="*/ 1005448 h 3664183"/>
              <a:gd name="connsiteX815" fmla="*/ 7936350 w 9043663"/>
              <a:gd name="connsiteY815" fmla="*/ 1004411 h 3664183"/>
              <a:gd name="connsiteX816" fmla="*/ 7941128 w 9043663"/>
              <a:gd name="connsiteY816" fmla="*/ 1008557 h 3664183"/>
              <a:gd name="connsiteX817" fmla="*/ 7935155 w 9043663"/>
              <a:gd name="connsiteY817" fmla="*/ 1005448 h 3664183"/>
              <a:gd name="connsiteX818" fmla="*/ 7859901 w 9043663"/>
              <a:gd name="connsiteY818" fmla="*/ 1245926 h 3664183"/>
              <a:gd name="connsiteX819" fmla="*/ 7863484 w 9043663"/>
              <a:gd name="connsiteY819" fmla="*/ 1249036 h 3664183"/>
              <a:gd name="connsiteX820" fmla="*/ 7864679 w 9043663"/>
              <a:gd name="connsiteY820" fmla="*/ 1244890 h 3664183"/>
              <a:gd name="connsiteX821" fmla="*/ 7869457 w 9043663"/>
              <a:gd name="connsiteY821" fmla="*/ 1231415 h 3664183"/>
              <a:gd name="connsiteX822" fmla="*/ 7879013 w 9043663"/>
              <a:gd name="connsiteY822" fmla="*/ 1229341 h 3664183"/>
              <a:gd name="connsiteX823" fmla="*/ 7887374 w 9043663"/>
              <a:gd name="connsiteY823" fmla="*/ 1233488 h 3664183"/>
              <a:gd name="connsiteX824" fmla="*/ 7889764 w 9043663"/>
              <a:gd name="connsiteY824" fmla="*/ 1235561 h 3664183"/>
              <a:gd name="connsiteX825" fmla="*/ 7889764 w 9043663"/>
              <a:gd name="connsiteY825" fmla="*/ 1235561 h 3664183"/>
              <a:gd name="connsiteX826" fmla="*/ 7904098 w 9043663"/>
              <a:gd name="connsiteY826" fmla="*/ 1215866 h 3664183"/>
              <a:gd name="connsiteX827" fmla="*/ 7893347 w 9043663"/>
              <a:gd name="connsiteY827" fmla="*/ 1203428 h 3664183"/>
              <a:gd name="connsiteX828" fmla="*/ 7859901 w 9043663"/>
              <a:gd name="connsiteY828" fmla="*/ 1200318 h 3664183"/>
              <a:gd name="connsiteX829" fmla="*/ 7856317 w 9043663"/>
              <a:gd name="connsiteY829" fmla="*/ 1208611 h 3664183"/>
              <a:gd name="connsiteX830" fmla="*/ 7838400 w 9043663"/>
              <a:gd name="connsiteY830" fmla="*/ 1208611 h 3664183"/>
              <a:gd name="connsiteX831" fmla="*/ 7831232 w 9043663"/>
              <a:gd name="connsiteY831" fmla="*/ 1227268 h 3664183"/>
              <a:gd name="connsiteX832" fmla="*/ 7832427 w 9043663"/>
              <a:gd name="connsiteY832" fmla="*/ 1228305 h 3664183"/>
              <a:gd name="connsiteX833" fmla="*/ 7831232 w 9043663"/>
              <a:gd name="connsiteY833" fmla="*/ 1230378 h 3664183"/>
              <a:gd name="connsiteX834" fmla="*/ 7859901 w 9043663"/>
              <a:gd name="connsiteY834" fmla="*/ 1245926 h 3664183"/>
              <a:gd name="connsiteX835" fmla="*/ 7796592 w 9043663"/>
              <a:gd name="connsiteY835" fmla="*/ 1405554 h 3664183"/>
              <a:gd name="connsiteX836" fmla="*/ 7784647 w 9043663"/>
              <a:gd name="connsiteY836" fmla="*/ 1424212 h 3664183"/>
              <a:gd name="connsiteX837" fmla="*/ 7789424 w 9043663"/>
              <a:gd name="connsiteY837" fmla="*/ 1426285 h 3664183"/>
              <a:gd name="connsiteX838" fmla="*/ 7801369 w 9043663"/>
              <a:gd name="connsiteY838" fmla="*/ 1407627 h 3664183"/>
              <a:gd name="connsiteX839" fmla="*/ 7796592 w 9043663"/>
              <a:gd name="connsiteY839" fmla="*/ 1405554 h 3664183"/>
              <a:gd name="connsiteX840" fmla="*/ 7824065 w 9043663"/>
              <a:gd name="connsiteY840" fmla="*/ 1360982 h 3664183"/>
              <a:gd name="connsiteX841" fmla="*/ 7809731 w 9043663"/>
              <a:gd name="connsiteY841" fmla="*/ 1369275 h 3664183"/>
              <a:gd name="connsiteX842" fmla="*/ 7813314 w 9043663"/>
              <a:gd name="connsiteY842" fmla="*/ 1373421 h 3664183"/>
              <a:gd name="connsiteX843" fmla="*/ 7827649 w 9043663"/>
              <a:gd name="connsiteY843" fmla="*/ 1365129 h 3664183"/>
              <a:gd name="connsiteX844" fmla="*/ 7824065 w 9043663"/>
              <a:gd name="connsiteY844" fmla="*/ 1360982 h 3664183"/>
              <a:gd name="connsiteX845" fmla="*/ 8034300 w 9043663"/>
              <a:gd name="connsiteY845" fmla="*/ 925634 h 3664183"/>
              <a:gd name="connsiteX846" fmla="*/ 8028327 w 9043663"/>
              <a:gd name="connsiteY846" fmla="*/ 925634 h 3664183"/>
              <a:gd name="connsiteX847" fmla="*/ 8028327 w 9043663"/>
              <a:gd name="connsiteY847" fmla="*/ 941182 h 3664183"/>
              <a:gd name="connsiteX848" fmla="*/ 8034300 w 9043663"/>
              <a:gd name="connsiteY848" fmla="*/ 941182 h 3664183"/>
              <a:gd name="connsiteX849" fmla="*/ 8034300 w 9043663"/>
              <a:gd name="connsiteY849" fmla="*/ 925634 h 3664183"/>
              <a:gd name="connsiteX850" fmla="*/ 8058190 w 9043663"/>
              <a:gd name="connsiteY850" fmla="*/ 914232 h 3664183"/>
              <a:gd name="connsiteX851" fmla="*/ 8080886 w 9043663"/>
              <a:gd name="connsiteY851" fmla="*/ 890391 h 3664183"/>
              <a:gd name="connsiteX852" fmla="*/ 8073719 w 9043663"/>
              <a:gd name="connsiteY852" fmla="*/ 891428 h 3664183"/>
              <a:gd name="connsiteX853" fmla="*/ 8051023 w 9043663"/>
              <a:gd name="connsiteY853" fmla="*/ 894538 h 3664183"/>
              <a:gd name="connsiteX854" fmla="*/ 8045050 w 9043663"/>
              <a:gd name="connsiteY854" fmla="*/ 922524 h 3664183"/>
              <a:gd name="connsiteX855" fmla="*/ 8040272 w 9043663"/>
              <a:gd name="connsiteY855" fmla="*/ 934963 h 3664183"/>
              <a:gd name="connsiteX856" fmla="*/ 8042661 w 9043663"/>
              <a:gd name="connsiteY856" fmla="*/ 932890 h 3664183"/>
              <a:gd name="connsiteX857" fmla="*/ 8042661 w 9043663"/>
              <a:gd name="connsiteY857" fmla="*/ 932890 h 3664183"/>
              <a:gd name="connsiteX858" fmla="*/ 8058190 w 9043663"/>
              <a:gd name="connsiteY858" fmla="*/ 914232 h 3664183"/>
              <a:gd name="connsiteX859" fmla="*/ 8097609 w 9043663"/>
              <a:gd name="connsiteY859" fmla="*/ 873807 h 3664183"/>
              <a:gd name="connsiteX860" fmla="*/ 8085664 w 9043663"/>
              <a:gd name="connsiteY860" fmla="*/ 886245 h 3664183"/>
              <a:gd name="connsiteX861" fmla="*/ 8090442 w 9043663"/>
              <a:gd name="connsiteY861" fmla="*/ 889355 h 3664183"/>
              <a:gd name="connsiteX862" fmla="*/ 8102387 w 9043663"/>
              <a:gd name="connsiteY862" fmla="*/ 876916 h 3664183"/>
              <a:gd name="connsiteX863" fmla="*/ 8097609 w 9043663"/>
              <a:gd name="connsiteY863" fmla="*/ 873807 h 3664183"/>
              <a:gd name="connsiteX864" fmla="*/ 8119110 w 9043663"/>
              <a:gd name="connsiteY864" fmla="*/ 854112 h 3664183"/>
              <a:gd name="connsiteX865" fmla="*/ 8116721 w 9043663"/>
              <a:gd name="connsiteY865" fmla="*/ 859295 h 3664183"/>
              <a:gd name="connsiteX866" fmla="*/ 8121500 w 9043663"/>
              <a:gd name="connsiteY866" fmla="*/ 861368 h 3664183"/>
              <a:gd name="connsiteX867" fmla="*/ 8123888 w 9043663"/>
              <a:gd name="connsiteY867" fmla="*/ 856186 h 3664183"/>
              <a:gd name="connsiteX868" fmla="*/ 8119110 w 9043663"/>
              <a:gd name="connsiteY868" fmla="*/ 854112 h 3664183"/>
              <a:gd name="connsiteX869" fmla="*/ 7601886 w 9043663"/>
              <a:gd name="connsiteY869" fmla="*/ 1454271 h 3664183"/>
              <a:gd name="connsiteX870" fmla="*/ 7582773 w 9043663"/>
              <a:gd name="connsiteY870" fmla="*/ 1494697 h 3664183"/>
              <a:gd name="connsiteX871" fmla="*/ 7592329 w 9043663"/>
              <a:gd name="connsiteY871" fmla="*/ 1523720 h 3664183"/>
              <a:gd name="connsiteX872" fmla="*/ 7615025 w 9043663"/>
              <a:gd name="connsiteY872" fmla="*/ 1550670 h 3664183"/>
              <a:gd name="connsiteX873" fmla="*/ 7628165 w 9043663"/>
              <a:gd name="connsiteY873" fmla="*/ 1452198 h 3664183"/>
              <a:gd name="connsiteX874" fmla="*/ 7619804 w 9043663"/>
              <a:gd name="connsiteY874" fmla="*/ 1444942 h 3664183"/>
              <a:gd name="connsiteX875" fmla="*/ 7601886 w 9043663"/>
              <a:gd name="connsiteY875" fmla="*/ 1454271 h 3664183"/>
              <a:gd name="connsiteX876" fmla="*/ 8512105 w 9043663"/>
              <a:gd name="connsiteY876" fmla="*/ 2860862 h 3664183"/>
              <a:gd name="connsiteX877" fmla="*/ 8512105 w 9043663"/>
              <a:gd name="connsiteY877" fmla="*/ 2860862 h 3664183"/>
              <a:gd name="connsiteX878" fmla="*/ 8490604 w 9043663"/>
              <a:gd name="connsiteY878" fmla="*/ 2804889 h 3664183"/>
              <a:gd name="connsiteX879" fmla="*/ 8472686 w 9043663"/>
              <a:gd name="connsiteY879" fmla="*/ 2789340 h 3664183"/>
              <a:gd name="connsiteX880" fmla="*/ 8472686 w 9043663"/>
              <a:gd name="connsiteY880" fmla="*/ 2763427 h 3664183"/>
              <a:gd name="connsiteX881" fmla="*/ 8447601 w 9043663"/>
              <a:gd name="connsiteY881" fmla="*/ 2744769 h 3664183"/>
              <a:gd name="connsiteX882" fmla="*/ 8444018 w 9043663"/>
              <a:gd name="connsiteY882" fmla="*/ 2752025 h 3664183"/>
              <a:gd name="connsiteX883" fmla="*/ 8430878 w 9043663"/>
              <a:gd name="connsiteY883" fmla="*/ 2703307 h 3664183"/>
              <a:gd name="connsiteX884" fmla="*/ 8401015 w 9043663"/>
              <a:gd name="connsiteY884" fmla="*/ 2677393 h 3664183"/>
              <a:gd name="connsiteX885" fmla="*/ 8374736 w 9043663"/>
              <a:gd name="connsiteY885" fmla="*/ 2664955 h 3664183"/>
              <a:gd name="connsiteX886" fmla="*/ 8374736 w 9043663"/>
              <a:gd name="connsiteY886" fmla="*/ 2619347 h 3664183"/>
              <a:gd name="connsiteX887" fmla="*/ 8360402 w 9043663"/>
              <a:gd name="connsiteY887" fmla="*/ 2601726 h 3664183"/>
              <a:gd name="connsiteX888" fmla="*/ 8366375 w 9043663"/>
              <a:gd name="connsiteY888" fmla="*/ 2557155 h 3664183"/>
              <a:gd name="connsiteX889" fmla="*/ 8347262 w 9043663"/>
              <a:gd name="connsiteY889" fmla="*/ 2537460 h 3664183"/>
              <a:gd name="connsiteX890" fmla="*/ 8324567 w 9043663"/>
              <a:gd name="connsiteY890" fmla="*/ 2537460 h 3664183"/>
              <a:gd name="connsiteX891" fmla="*/ 8310233 w 9043663"/>
              <a:gd name="connsiteY891" fmla="*/ 2445208 h 3664183"/>
              <a:gd name="connsiteX892" fmla="*/ 8298288 w 9043663"/>
              <a:gd name="connsiteY892" fmla="*/ 2434842 h 3664183"/>
              <a:gd name="connsiteX893" fmla="*/ 8283953 w 9043663"/>
              <a:gd name="connsiteY893" fmla="*/ 2450390 h 3664183"/>
              <a:gd name="connsiteX894" fmla="*/ 8244534 w 9043663"/>
              <a:gd name="connsiteY894" fmla="*/ 2585141 h 3664183"/>
              <a:gd name="connsiteX895" fmla="*/ 8220644 w 9043663"/>
              <a:gd name="connsiteY895" fmla="*/ 2623493 h 3664183"/>
              <a:gd name="connsiteX896" fmla="*/ 8209893 w 9043663"/>
              <a:gd name="connsiteY896" fmla="*/ 2628676 h 3664183"/>
              <a:gd name="connsiteX897" fmla="*/ 8191975 w 9043663"/>
              <a:gd name="connsiteY897" fmla="*/ 2635932 h 3664183"/>
              <a:gd name="connsiteX898" fmla="*/ 8175253 w 9043663"/>
              <a:gd name="connsiteY898" fmla="*/ 2612091 h 3664183"/>
              <a:gd name="connsiteX899" fmla="*/ 8129861 w 9043663"/>
              <a:gd name="connsiteY899" fmla="*/ 2583068 h 3664183"/>
              <a:gd name="connsiteX900" fmla="*/ 8128666 w 9043663"/>
              <a:gd name="connsiteY900" fmla="*/ 2583068 h 3664183"/>
              <a:gd name="connsiteX901" fmla="*/ 8105970 w 9043663"/>
              <a:gd name="connsiteY901" fmla="*/ 2583068 h 3664183"/>
              <a:gd name="connsiteX902" fmla="*/ 8103582 w 9043663"/>
              <a:gd name="connsiteY902" fmla="*/ 2571666 h 3664183"/>
              <a:gd name="connsiteX903" fmla="*/ 8084469 w 9043663"/>
              <a:gd name="connsiteY903" fmla="*/ 2559227 h 3664183"/>
              <a:gd name="connsiteX904" fmla="*/ 8097609 w 9043663"/>
              <a:gd name="connsiteY904" fmla="*/ 2540570 h 3664183"/>
              <a:gd name="connsiteX905" fmla="*/ 8103582 w 9043663"/>
              <a:gd name="connsiteY905" fmla="*/ 2515693 h 3664183"/>
              <a:gd name="connsiteX906" fmla="*/ 8121500 w 9043663"/>
              <a:gd name="connsiteY906" fmla="*/ 2515693 h 3664183"/>
              <a:gd name="connsiteX907" fmla="*/ 8134639 w 9043663"/>
              <a:gd name="connsiteY907" fmla="*/ 2488743 h 3664183"/>
              <a:gd name="connsiteX908" fmla="*/ 8119110 w 9043663"/>
              <a:gd name="connsiteY908" fmla="*/ 2475267 h 3664183"/>
              <a:gd name="connsiteX909" fmla="*/ 8105970 w 9043663"/>
              <a:gd name="connsiteY909" fmla="*/ 2486669 h 3664183"/>
              <a:gd name="connsiteX910" fmla="*/ 8103582 w 9043663"/>
              <a:gd name="connsiteY910" fmla="*/ 2475267 h 3664183"/>
              <a:gd name="connsiteX911" fmla="*/ 8083275 w 9043663"/>
              <a:gd name="connsiteY911" fmla="*/ 2481487 h 3664183"/>
              <a:gd name="connsiteX912" fmla="*/ 7991297 w 9043663"/>
              <a:gd name="connsiteY912" fmla="*/ 2455573 h 3664183"/>
              <a:gd name="connsiteX913" fmla="*/ 8004437 w 9043663"/>
              <a:gd name="connsiteY913" fmla="*/ 2471121 h 3664183"/>
              <a:gd name="connsiteX914" fmla="*/ 7997270 w 9043663"/>
              <a:gd name="connsiteY914" fmla="*/ 2481487 h 3664183"/>
              <a:gd name="connsiteX915" fmla="*/ 7959045 w 9043663"/>
              <a:gd name="connsiteY915" fmla="*/ 2481487 h 3664183"/>
              <a:gd name="connsiteX916" fmla="*/ 7939933 w 9043663"/>
              <a:gd name="connsiteY916" fmla="*/ 2495998 h 3664183"/>
              <a:gd name="connsiteX917" fmla="*/ 7937544 w 9043663"/>
              <a:gd name="connsiteY917" fmla="*/ 2515693 h 3664183"/>
              <a:gd name="connsiteX918" fmla="*/ 7920821 w 9043663"/>
              <a:gd name="connsiteY918" fmla="*/ 2517766 h 3664183"/>
              <a:gd name="connsiteX919" fmla="*/ 7898125 w 9043663"/>
              <a:gd name="connsiteY919" fmla="*/ 2543679 h 3664183"/>
              <a:gd name="connsiteX920" fmla="*/ 7911265 w 9043663"/>
              <a:gd name="connsiteY920" fmla="*/ 2555081 h 3664183"/>
              <a:gd name="connsiteX921" fmla="*/ 7910071 w 9043663"/>
              <a:gd name="connsiteY921" fmla="*/ 2561301 h 3664183"/>
              <a:gd name="connsiteX922" fmla="*/ 7881402 w 9043663"/>
              <a:gd name="connsiteY922" fmla="*/ 2551972 h 3664183"/>
              <a:gd name="connsiteX923" fmla="*/ 7868263 w 9043663"/>
              <a:gd name="connsiteY923" fmla="*/ 2560264 h 3664183"/>
              <a:gd name="connsiteX924" fmla="*/ 7863484 w 9043663"/>
              <a:gd name="connsiteY924" fmla="*/ 2543679 h 3664183"/>
              <a:gd name="connsiteX925" fmla="*/ 7853928 w 9043663"/>
              <a:gd name="connsiteY925" fmla="*/ 2529168 h 3664183"/>
              <a:gd name="connsiteX926" fmla="*/ 7830038 w 9043663"/>
              <a:gd name="connsiteY926" fmla="*/ 2526058 h 3664183"/>
              <a:gd name="connsiteX927" fmla="*/ 7806148 w 9043663"/>
              <a:gd name="connsiteY927" fmla="*/ 2549899 h 3664183"/>
              <a:gd name="connsiteX928" fmla="*/ 7782257 w 9043663"/>
              <a:gd name="connsiteY928" fmla="*/ 2549899 h 3664183"/>
              <a:gd name="connsiteX929" fmla="*/ 7750005 w 9043663"/>
              <a:gd name="connsiteY929" fmla="*/ 2595507 h 3664183"/>
              <a:gd name="connsiteX930" fmla="*/ 7732088 w 9043663"/>
              <a:gd name="connsiteY930" fmla="*/ 2587214 h 3664183"/>
              <a:gd name="connsiteX931" fmla="*/ 7724921 w 9043663"/>
              <a:gd name="connsiteY931" fmla="*/ 2603799 h 3664183"/>
              <a:gd name="connsiteX932" fmla="*/ 7730893 w 9043663"/>
              <a:gd name="connsiteY932" fmla="*/ 2613128 h 3664183"/>
              <a:gd name="connsiteX933" fmla="*/ 7721338 w 9043663"/>
              <a:gd name="connsiteY933" fmla="*/ 2621420 h 3664183"/>
              <a:gd name="connsiteX934" fmla="*/ 7715365 w 9043663"/>
              <a:gd name="connsiteY934" fmla="*/ 2592397 h 3664183"/>
              <a:gd name="connsiteX935" fmla="*/ 7680724 w 9043663"/>
              <a:gd name="connsiteY935" fmla="*/ 2625566 h 3664183"/>
              <a:gd name="connsiteX936" fmla="*/ 7680724 w 9043663"/>
              <a:gd name="connsiteY936" fmla="*/ 2643188 h 3664183"/>
              <a:gd name="connsiteX937" fmla="*/ 7634137 w 9043663"/>
              <a:gd name="connsiteY937" fmla="*/ 2683613 h 3664183"/>
              <a:gd name="connsiteX938" fmla="*/ 7494380 w 9043663"/>
              <a:gd name="connsiteY938" fmla="*/ 2714709 h 3664183"/>
              <a:gd name="connsiteX939" fmla="*/ 7431070 w 9043663"/>
              <a:gd name="connsiteY939" fmla="*/ 2754098 h 3664183"/>
              <a:gd name="connsiteX940" fmla="*/ 7427487 w 9043663"/>
              <a:gd name="connsiteY940" fmla="*/ 2739586 h 3664183"/>
              <a:gd name="connsiteX941" fmla="*/ 7404791 w 9043663"/>
              <a:gd name="connsiteY941" fmla="*/ 2765500 h 3664183"/>
              <a:gd name="connsiteX942" fmla="*/ 7404791 w 9043663"/>
              <a:gd name="connsiteY942" fmla="*/ 2791413 h 3664183"/>
              <a:gd name="connsiteX943" fmla="*/ 7392846 w 9043663"/>
              <a:gd name="connsiteY943" fmla="*/ 2801779 h 3664183"/>
              <a:gd name="connsiteX944" fmla="*/ 7395235 w 9043663"/>
              <a:gd name="connsiteY944" fmla="*/ 2861898 h 3664183"/>
              <a:gd name="connsiteX945" fmla="*/ 7379706 w 9043663"/>
              <a:gd name="connsiteY945" fmla="*/ 2842204 h 3664183"/>
              <a:gd name="connsiteX946" fmla="*/ 7382095 w 9043663"/>
              <a:gd name="connsiteY946" fmla="*/ 2863971 h 3664183"/>
              <a:gd name="connsiteX947" fmla="*/ 7371344 w 9043663"/>
              <a:gd name="connsiteY947" fmla="*/ 2848423 h 3664183"/>
              <a:gd name="connsiteX948" fmla="*/ 7396430 w 9043663"/>
              <a:gd name="connsiteY948" fmla="*/ 2948968 h 3664183"/>
              <a:gd name="connsiteX949" fmla="*/ 7396430 w 9043663"/>
              <a:gd name="connsiteY949" fmla="*/ 3018417 h 3664183"/>
              <a:gd name="connsiteX950" fmla="*/ 7382095 w 9043663"/>
              <a:gd name="connsiteY950" fmla="*/ 3058842 h 3664183"/>
              <a:gd name="connsiteX951" fmla="*/ 7361788 w 9043663"/>
              <a:gd name="connsiteY951" fmla="*/ 3069207 h 3664183"/>
              <a:gd name="connsiteX952" fmla="*/ 7351038 w 9043663"/>
              <a:gd name="connsiteY952" fmla="*/ 3087865 h 3664183"/>
              <a:gd name="connsiteX953" fmla="*/ 7386874 w 9043663"/>
              <a:gd name="connsiteY953" fmla="*/ 3110669 h 3664183"/>
              <a:gd name="connsiteX954" fmla="*/ 7435848 w 9043663"/>
              <a:gd name="connsiteY954" fmla="*/ 3110669 h 3664183"/>
              <a:gd name="connsiteX955" fmla="*/ 7496768 w 9043663"/>
              <a:gd name="connsiteY955" fmla="*/ 3081646 h 3664183"/>
              <a:gd name="connsiteX956" fmla="*/ 7598302 w 9043663"/>
              <a:gd name="connsiteY956" fmla="*/ 3078536 h 3664183"/>
              <a:gd name="connsiteX957" fmla="*/ 7619804 w 9043663"/>
              <a:gd name="connsiteY957" fmla="*/ 3057805 h 3664183"/>
              <a:gd name="connsiteX958" fmla="*/ 7687891 w 9043663"/>
              <a:gd name="connsiteY958" fmla="*/ 3031892 h 3664183"/>
              <a:gd name="connsiteX959" fmla="*/ 7836011 w 9043663"/>
              <a:gd name="connsiteY959" fmla="*/ 3019453 h 3664183"/>
              <a:gd name="connsiteX960" fmla="*/ 7906487 w 9043663"/>
              <a:gd name="connsiteY960" fmla="*/ 3041221 h 3664183"/>
              <a:gd name="connsiteX961" fmla="*/ 7898125 w 9043663"/>
              <a:gd name="connsiteY961" fmla="*/ 3056769 h 3664183"/>
              <a:gd name="connsiteX962" fmla="*/ 7911265 w 9043663"/>
              <a:gd name="connsiteY962" fmla="*/ 3061951 h 3664183"/>
              <a:gd name="connsiteX963" fmla="*/ 7911265 w 9043663"/>
              <a:gd name="connsiteY963" fmla="*/ 3112742 h 3664183"/>
              <a:gd name="connsiteX964" fmla="*/ 7999659 w 9043663"/>
              <a:gd name="connsiteY964" fmla="*/ 3054696 h 3664183"/>
              <a:gd name="connsiteX965" fmla="*/ 7996076 w 9043663"/>
              <a:gd name="connsiteY965" fmla="*/ 3070244 h 3664183"/>
              <a:gd name="connsiteX966" fmla="*/ 7941128 w 9043663"/>
              <a:gd name="connsiteY966" fmla="*/ 3117925 h 3664183"/>
              <a:gd name="connsiteX967" fmla="*/ 7970990 w 9043663"/>
              <a:gd name="connsiteY967" fmla="*/ 3117925 h 3664183"/>
              <a:gd name="connsiteX968" fmla="*/ 7992492 w 9043663"/>
              <a:gd name="connsiteY968" fmla="*/ 3093048 h 3664183"/>
              <a:gd name="connsiteX969" fmla="*/ 7996076 w 9043663"/>
              <a:gd name="connsiteY969" fmla="*/ 3106523 h 3664183"/>
              <a:gd name="connsiteX970" fmla="*/ 7967407 w 9043663"/>
              <a:gd name="connsiteY970" fmla="*/ 3131400 h 3664183"/>
              <a:gd name="connsiteX971" fmla="*/ 7954268 w 9043663"/>
              <a:gd name="connsiteY971" fmla="*/ 3123107 h 3664183"/>
              <a:gd name="connsiteX972" fmla="*/ 7922016 w 9043663"/>
              <a:gd name="connsiteY972" fmla="*/ 3132437 h 3664183"/>
              <a:gd name="connsiteX973" fmla="*/ 7931572 w 9043663"/>
              <a:gd name="connsiteY973" fmla="*/ 3143838 h 3664183"/>
              <a:gd name="connsiteX974" fmla="*/ 7948295 w 9043663"/>
              <a:gd name="connsiteY974" fmla="*/ 3143838 h 3664183"/>
              <a:gd name="connsiteX975" fmla="*/ 7970990 w 9043663"/>
              <a:gd name="connsiteY975" fmla="*/ 3133473 h 3664183"/>
              <a:gd name="connsiteX976" fmla="*/ 7967407 w 9043663"/>
              <a:gd name="connsiteY976" fmla="*/ 3131400 h 3664183"/>
              <a:gd name="connsiteX977" fmla="*/ 7993686 w 9043663"/>
              <a:gd name="connsiteY977" fmla="*/ 3128290 h 3664183"/>
              <a:gd name="connsiteX978" fmla="*/ 8000853 w 9043663"/>
              <a:gd name="connsiteY978" fmla="*/ 3136583 h 3664183"/>
              <a:gd name="connsiteX979" fmla="*/ 8000853 w 9043663"/>
              <a:gd name="connsiteY979" fmla="*/ 3158350 h 3664183"/>
              <a:gd name="connsiteX980" fmla="*/ 7994881 w 9043663"/>
              <a:gd name="connsiteY980" fmla="*/ 3171825 h 3664183"/>
              <a:gd name="connsiteX981" fmla="*/ 8017577 w 9043663"/>
              <a:gd name="connsiteY981" fmla="*/ 3204995 h 3664183"/>
              <a:gd name="connsiteX982" fmla="*/ 8051023 w 9043663"/>
              <a:gd name="connsiteY982" fmla="*/ 3204995 h 3664183"/>
              <a:gd name="connsiteX983" fmla="*/ 8072524 w 9043663"/>
              <a:gd name="connsiteY983" fmla="*/ 3215360 h 3664183"/>
              <a:gd name="connsiteX984" fmla="*/ 8117915 w 9043663"/>
              <a:gd name="connsiteY984" fmla="*/ 3192556 h 3664183"/>
              <a:gd name="connsiteX985" fmla="*/ 8113138 w 9043663"/>
              <a:gd name="connsiteY985" fmla="*/ 3206031 h 3664183"/>
              <a:gd name="connsiteX986" fmla="*/ 8129861 w 9043663"/>
              <a:gd name="connsiteY986" fmla="*/ 3200848 h 3664183"/>
              <a:gd name="connsiteX987" fmla="*/ 8126277 w 9043663"/>
              <a:gd name="connsiteY987" fmla="*/ 3207068 h 3664183"/>
              <a:gd name="connsiteX988" fmla="*/ 8144195 w 9043663"/>
              <a:gd name="connsiteY988" fmla="*/ 3225726 h 3664183"/>
              <a:gd name="connsiteX989" fmla="*/ 8217061 w 9043663"/>
              <a:gd name="connsiteY989" fmla="*/ 3191519 h 3664183"/>
              <a:gd name="connsiteX990" fmla="*/ 8268425 w 9043663"/>
              <a:gd name="connsiteY990" fmla="*/ 3178044 h 3664183"/>
              <a:gd name="connsiteX991" fmla="*/ 8307843 w 9043663"/>
              <a:gd name="connsiteY991" fmla="*/ 3131400 h 3664183"/>
              <a:gd name="connsiteX992" fmla="*/ 8457157 w 9043663"/>
              <a:gd name="connsiteY992" fmla="*/ 3001832 h 3664183"/>
              <a:gd name="connsiteX993" fmla="*/ 8502549 w 9043663"/>
              <a:gd name="connsiteY993" fmla="*/ 2937566 h 3664183"/>
              <a:gd name="connsiteX994" fmla="*/ 8512105 w 9043663"/>
              <a:gd name="connsiteY994" fmla="*/ 2860862 h 3664183"/>
              <a:gd name="connsiteX995" fmla="*/ 8068941 w 9043663"/>
              <a:gd name="connsiteY995" fmla="*/ 3252675 h 3664183"/>
              <a:gd name="connsiteX996" fmla="*/ 8067746 w 9043663"/>
              <a:gd name="connsiteY996" fmla="*/ 3255785 h 3664183"/>
              <a:gd name="connsiteX997" fmla="*/ 8040272 w 9043663"/>
              <a:gd name="connsiteY997" fmla="*/ 3319015 h 3664183"/>
              <a:gd name="connsiteX998" fmla="*/ 8040272 w 9043663"/>
              <a:gd name="connsiteY998" fmla="*/ 3320051 h 3664183"/>
              <a:gd name="connsiteX999" fmla="*/ 8039078 w 9043663"/>
              <a:gd name="connsiteY999" fmla="*/ 3321087 h 3664183"/>
              <a:gd name="connsiteX1000" fmla="*/ 8041467 w 9043663"/>
              <a:gd name="connsiteY1000" fmla="*/ 3325234 h 3664183"/>
              <a:gd name="connsiteX1001" fmla="*/ 8046245 w 9043663"/>
              <a:gd name="connsiteY1001" fmla="*/ 3336636 h 3664183"/>
              <a:gd name="connsiteX1002" fmla="*/ 8066552 w 9043663"/>
              <a:gd name="connsiteY1002" fmla="*/ 3339745 h 3664183"/>
              <a:gd name="connsiteX1003" fmla="*/ 8067746 w 9043663"/>
              <a:gd name="connsiteY1003" fmla="*/ 3339745 h 3664183"/>
              <a:gd name="connsiteX1004" fmla="*/ 8067746 w 9043663"/>
              <a:gd name="connsiteY1004" fmla="*/ 3339745 h 3664183"/>
              <a:gd name="connsiteX1005" fmla="*/ 8067746 w 9043663"/>
              <a:gd name="connsiteY1005" fmla="*/ 3339745 h 3664183"/>
              <a:gd name="connsiteX1006" fmla="*/ 8068941 w 9043663"/>
              <a:gd name="connsiteY1006" fmla="*/ 3338709 h 3664183"/>
              <a:gd name="connsiteX1007" fmla="*/ 8092831 w 9043663"/>
              <a:gd name="connsiteY1007" fmla="*/ 3322124 h 3664183"/>
              <a:gd name="connsiteX1008" fmla="*/ 8098804 w 9043663"/>
              <a:gd name="connsiteY1008" fmla="*/ 3330416 h 3664183"/>
              <a:gd name="connsiteX1009" fmla="*/ 8154946 w 9043663"/>
              <a:gd name="connsiteY1009" fmla="*/ 3268224 h 3664183"/>
              <a:gd name="connsiteX1010" fmla="*/ 8159723 w 9043663"/>
              <a:gd name="connsiteY1010" fmla="*/ 3263041 h 3664183"/>
              <a:gd name="connsiteX1011" fmla="*/ 8094025 w 9043663"/>
              <a:gd name="connsiteY1011" fmla="*/ 3268224 h 3664183"/>
              <a:gd name="connsiteX1012" fmla="*/ 8068941 w 9043663"/>
              <a:gd name="connsiteY1012" fmla="*/ 3252675 h 3664183"/>
              <a:gd name="connsiteX1013" fmla="*/ 9040080 w 9043663"/>
              <a:gd name="connsiteY1013" fmla="*/ 3181154 h 3664183"/>
              <a:gd name="connsiteX1014" fmla="*/ 9042469 w 9043663"/>
              <a:gd name="connsiteY1014" fmla="*/ 3179081 h 3664183"/>
              <a:gd name="connsiteX1015" fmla="*/ 9040080 w 9043663"/>
              <a:gd name="connsiteY1015" fmla="*/ 3177008 h 3664183"/>
              <a:gd name="connsiteX1016" fmla="*/ 9032913 w 9043663"/>
              <a:gd name="connsiteY1016" fmla="*/ 3170789 h 3664183"/>
              <a:gd name="connsiteX1017" fmla="*/ 9030524 w 9043663"/>
              <a:gd name="connsiteY1017" fmla="*/ 3171825 h 3664183"/>
              <a:gd name="connsiteX1018" fmla="*/ 9029330 w 9043663"/>
              <a:gd name="connsiteY1018" fmla="*/ 3170789 h 3664183"/>
              <a:gd name="connsiteX1019" fmla="*/ 8995883 w 9043663"/>
              <a:gd name="connsiteY1019" fmla="*/ 3184264 h 3664183"/>
              <a:gd name="connsiteX1020" fmla="*/ 8973188 w 9043663"/>
              <a:gd name="connsiteY1020" fmla="*/ 3178044 h 3664183"/>
              <a:gd name="connsiteX1021" fmla="*/ 8987522 w 9043663"/>
              <a:gd name="connsiteY1021" fmla="*/ 3155240 h 3664183"/>
              <a:gd name="connsiteX1022" fmla="*/ 8973188 w 9043663"/>
              <a:gd name="connsiteY1022" fmla="*/ 3142802 h 3664183"/>
              <a:gd name="connsiteX1023" fmla="*/ 8971993 w 9043663"/>
              <a:gd name="connsiteY1023" fmla="*/ 3145912 h 3664183"/>
              <a:gd name="connsiteX1024" fmla="*/ 8962437 w 9043663"/>
              <a:gd name="connsiteY1024" fmla="*/ 3160423 h 3664183"/>
              <a:gd name="connsiteX1025" fmla="*/ 8957659 w 9043663"/>
              <a:gd name="connsiteY1025" fmla="*/ 3156277 h 3664183"/>
              <a:gd name="connsiteX1026" fmla="*/ 8960047 w 9043663"/>
              <a:gd name="connsiteY1026" fmla="*/ 3154204 h 3664183"/>
              <a:gd name="connsiteX1027" fmla="*/ 8958853 w 9043663"/>
              <a:gd name="connsiteY1027" fmla="*/ 3154204 h 3664183"/>
              <a:gd name="connsiteX1028" fmla="*/ 8969604 w 9043663"/>
              <a:gd name="connsiteY1028" fmla="*/ 3114815 h 3664183"/>
              <a:gd name="connsiteX1029" fmla="*/ 8969604 w 9043663"/>
              <a:gd name="connsiteY1029" fmla="*/ 3112742 h 3664183"/>
              <a:gd name="connsiteX1030" fmla="*/ 8969604 w 9043663"/>
              <a:gd name="connsiteY1030" fmla="*/ 3112742 h 3664183"/>
              <a:gd name="connsiteX1031" fmla="*/ 8969604 w 9043663"/>
              <a:gd name="connsiteY1031" fmla="*/ 3112742 h 3664183"/>
              <a:gd name="connsiteX1032" fmla="*/ 8969604 w 9043663"/>
              <a:gd name="connsiteY1032" fmla="*/ 3106523 h 3664183"/>
              <a:gd name="connsiteX1033" fmla="*/ 8967215 w 9043663"/>
              <a:gd name="connsiteY1033" fmla="*/ 3105486 h 3664183"/>
              <a:gd name="connsiteX1034" fmla="*/ 8966020 w 9043663"/>
              <a:gd name="connsiteY1034" fmla="*/ 3103413 h 3664183"/>
              <a:gd name="connsiteX1035" fmla="*/ 8952881 w 9043663"/>
              <a:gd name="connsiteY1035" fmla="*/ 3101340 h 3664183"/>
              <a:gd name="connsiteX1036" fmla="*/ 8951686 w 9043663"/>
              <a:gd name="connsiteY1036" fmla="*/ 3101340 h 3664183"/>
              <a:gd name="connsiteX1037" fmla="*/ 8945714 w 9043663"/>
              <a:gd name="connsiteY1037" fmla="*/ 3086828 h 3664183"/>
              <a:gd name="connsiteX1038" fmla="*/ 8940936 w 9043663"/>
              <a:gd name="connsiteY1038" fmla="*/ 3061951 h 3664183"/>
              <a:gd name="connsiteX1039" fmla="*/ 8940936 w 9043663"/>
              <a:gd name="connsiteY1039" fmla="*/ 3073353 h 3664183"/>
              <a:gd name="connsiteX1040" fmla="*/ 8940936 w 9043663"/>
              <a:gd name="connsiteY1040" fmla="*/ 3073353 h 3664183"/>
              <a:gd name="connsiteX1041" fmla="*/ 8937352 w 9043663"/>
              <a:gd name="connsiteY1041" fmla="*/ 3160423 h 3664183"/>
              <a:gd name="connsiteX1042" fmla="*/ 8949297 w 9043663"/>
              <a:gd name="connsiteY1042" fmla="*/ 3160423 h 3664183"/>
              <a:gd name="connsiteX1043" fmla="*/ 8902711 w 9043663"/>
              <a:gd name="connsiteY1043" fmla="*/ 3210177 h 3664183"/>
              <a:gd name="connsiteX1044" fmla="*/ 8869265 w 9043663"/>
              <a:gd name="connsiteY1044" fmla="*/ 3221579 h 3664183"/>
              <a:gd name="connsiteX1045" fmla="*/ 8871654 w 9043663"/>
              <a:gd name="connsiteY1045" fmla="*/ 3223652 h 3664183"/>
              <a:gd name="connsiteX1046" fmla="*/ 8869265 w 9043663"/>
              <a:gd name="connsiteY1046" fmla="*/ 3224689 h 3664183"/>
              <a:gd name="connsiteX1047" fmla="*/ 8890766 w 9043663"/>
              <a:gd name="connsiteY1047" fmla="*/ 3243347 h 3664183"/>
              <a:gd name="connsiteX1048" fmla="*/ 8868070 w 9043663"/>
              <a:gd name="connsiteY1048" fmla="*/ 3265114 h 3664183"/>
              <a:gd name="connsiteX1049" fmla="*/ 8851347 w 9043663"/>
              <a:gd name="connsiteY1049" fmla="*/ 3280662 h 3664183"/>
              <a:gd name="connsiteX1050" fmla="*/ 8853736 w 9043663"/>
              <a:gd name="connsiteY1050" fmla="*/ 3281699 h 3664183"/>
              <a:gd name="connsiteX1051" fmla="*/ 8860903 w 9043663"/>
              <a:gd name="connsiteY1051" fmla="*/ 3287918 h 3664183"/>
              <a:gd name="connsiteX1052" fmla="*/ 8863292 w 9043663"/>
              <a:gd name="connsiteY1052" fmla="*/ 3286882 h 3664183"/>
              <a:gd name="connsiteX1053" fmla="*/ 8864486 w 9043663"/>
              <a:gd name="connsiteY1053" fmla="*/ 3287918 h 3664183"/>
              <a:gd name="connsiteX1054" fmla="*/ 8883599 w 9043663"/>
              <a:gd name="connsiteY1054" fmla="*/ 3282735 h 3664183"/>
              <a:gd name="connsiteX1055" fmla="*/ 8968409 w 9043663"/>
              <a:gd name="connsiteY1055" fmla="*/ 3222616 h 3664183"/>
              <a:gd name="connsiteX1056" fmla="*/ 9016190 w 9043663"/>
              <a:gd name="connsiteY1056" fmla="*/ 3204995 h 3664183"/>
              <a:gd name="connsiteX1057" fmla="*/ 9040080 w 9043663"/>
              <a:gd name="connsiteY1057" fmla="*/ 3181154 h 3664183"/>
              <a:gd name="connsiteX1058" fmla="*/ 8844180 w 9043663"/>
              <a:gd name="connsiteY1058" fmla="*/ 3266151 h 3664183"/>
              <a:gd name="connsiteX1059" fmla="*/ 8847764 w 9043663"/>
              <a:gd name="connsiteY1059" fmla="*/ 3259931 h 3664183"/>
              <a:gd name="connsiteX1060" fmla="*/ 8821484 w 9043663"/>
              <a:gd name="connsiteY1060" fmla="*/ 3270297 h 3664183"/>
              <a:gd name="connsiteX1061" fmla="*/ 8825068 w 9043663"/>
              <a:gd name="connsiteY1061" fmla="*/ 3265114 h 3664183"/>
              <a:gd name="connsiteX1062" fmla="*/ 8813122 w 9043663"/>
              <a:gd name="connsiteY1062" fmla="*/ 3254749 h 3664183"/>
              <a:gd name="connsiteX1063" fmla="*/ 8798788 w 9043663"/>
              <a:gd name="connsiteY1063" fmla="*/ 3264077 h 3664183"/>
              <a:gd name="connsiteX1064" fmla="*/ 8798788 w 9043663"/>
              <a:gd name="connsiteY1064" fmla="*/ 3264077 h 3664183"/>
              <a:gd name="connsiteX1065" fmla="*/ 8728312 w 9043663"/>
              <a:gd name="connsiteY1065" fmla="*/ 3309685 h 3664183"/>
              <a:gd name="connsiteX1066" fmla="*/ 8620806 w 9043663"/>
              <a:gd name="connsiteY1066" fmla="*/ 3349074 h 3664183"/>
              <a:gd name="connsiteX1067" fmla="*/ 8526439 w 9043663"/>
              <a:gd name="connsiteY1067" fmla="*/ 3401938 h 3664183"/>
              <a:gd name="connsiteX1068" fmla="*/ 8526439 w 9043663"/>
              <a:gd name="connsiteY1068" fmla="*/ 3411267 h 3664183"/>
              <a:gd name="connsiteX1069" fmla="*/ 8547940 w 9043663"/>
              <a:gd name="connsiteY1069" fmla="*/ 3411267 h 3664183"/>
              <a:gd name="connsiteX1070" fmla="*/ 8547940 w 9043663"/>
              <a:gd name="connsiteY1070" fmla="*/ 3418522 h 3664183"/>
              <a:gd name="connsiteX1071" fmla="*/ 8550329 w 9043663"/>
              <a:gd name="connsiteY1071" fmla="*/ 3418522 h 3664183"/>
              <a:gd name="connsiteX1072" fmla="*/ 8501355 w 9043663"/>
              <a:gd name="connsiteY1072" fmla="*/ 3452729 h 3664183"/>
              <a:gd name="connsiteX1073" fmla="*/ 8501355 w 9043663"/>
              <a:gd name="connsiteY1073" fmla="*/ 3452729 h 3664183"/>
              <a:gd name="connsiteX1074" fmla="*/ 8497771 w 9043663"/>
              <a:gd name="connsiteY1074" fmla="*/ 3455838 h 3664183"/>
              <a:gd name="connsiteX1075" fmla="*/ 8522856 w 9043663"/>
              <a:gd name="connsiteY1075" fmla="*/ 3444436 h 3664183"/>
              <a:gd name="connsiteX1076" fmla="*/ 8550329 w 9043663"/>
              <a:gd name="connsiteY1076" fmla="*/ 3434071 h 3664183"/>
              <a:gd name="connsiteX1077" fmla="*/ 8553913 w 9043663"/>
              <a:gd name="connsiteY1077" fmla="*/ 3422669 h 3664183"/>
              <a:gd name="connsiteX1078" fmla="*/ 8555108 w 9043663"/>
              <a:gd name="connsiteY1078" fmla="*/ 3420596 h 3664183"/>
              <a:gd name="connsiteX1079" fmla="*/ 8575415 w 9043663"/>
              <a:gd name="connsiteY1079" fmla="*/ 3424742 h 3664183"/>
              <a:gd name="connsiteX1080" fmla="*/ 8618417 w 9043663"/>
              <a:gd name="connsiteY1080" fmla="*/ 3411267 h 3664183"/>
              <a:gd name="connsiteX1081" fmla="*/ 8696060 w 9043663"/>
              <a:gd name="connsiteY1081" fmla="*/ 3361513 h 3664183"/>
              <a:gd name="connsiteX1082" fmla="*/ 8759369 w 9043663"/>
              <a:gd name="connsiteY1082" fmla="*/ 3345964 h 3664183"/>
              <a:gd name="connsiteX1083" fmla="*/ 8765342 w 9043663"/>
              <a:gd name="connsiteY1083" fmla="*/ 3330416 h 3664183"/>
              <a:gd name="connsiteX1084" fmla="*/ 8839402 w 9043663"/>
              <a:gd name="connsiteY1084" fmla="*/ 3294137 h 3664183"/>
              <a:gd name="connsiteX1085" fmla="*/ 8840596 w 9043663"/>
              <a:gd name="connsiteY1085" fmla="*/ 3294137 h 3664183"/>
              <a:gd name="connsiteX1086" fmla="*/ 8850153 w 9043663"/>
              <a:gd name="connsiteY1086" fmla="*/ 3277553 h 3664183"/>
              <a:gd name="connsiteX1087" fmla="*/ 8852541 w 9043663"/>
              <a:gd name="connsiteY1087" fmla="*/ 3274443 h 3664183"/>
              <a:gd name="connsiteX1088" fmla="*/ 8845374 w 9043663"/>
              <a:gd name="connsiteY1088" fmla="*/ 3274443 h 3664183"/>
              <a:gd name="connsiteX1089" fmla="*/ 8844180 w 9043663"/>
              <a:gd name="connsiteY1089" fmla="*/ 3266151 h 3664183"/>
              <a:gd name="connsiteX1090" fmla="*/ 8999467 w 9043663"/>
              <a:gd name="connsiteY1090" fmla="*/ 2570630 h 3664183"/>
              <a:gd name="connsiteX1091" fmla="*/ 8999467 w 9043663"/>
              <a:gd name="connsiteY1091" fmla="*/ 2550935 h 3664183"/>
              <a:gd name="connsiteX1092" fmla="*/ 8981549 w 9043663"/>
              <a:gd name="connsiteY1092" fmla="*/ 2558191 h 3664183"/>
              <a:gd name="connsiteX1093" fmla="*/ 8976771 w 9043663"/>
              <a:gd name="connsiteY1093" fmla="*/ 2574776 h 3664183"/>
              <a:gd name="connsiteX1094" fmla="*/ 8981549 w 9043663"/>
              <a:gd name="connsiteY1094" fmla="*/ 2572703 h 3664183"/>
              <a:gd name="connsiteX1095" fmla="*/ 8999467 w 9043663"/>
              <a:gd name="connsiteY1095" fmla="*/ 2570630 h 3664183"/>
              <a:gd name="connsiteX1096" fmla="*/ 8993494 w 9043663"/>
              <a:gd name="connsiteY1096" fmla="*/ 2596543 h 3664183"/>
              <a:gd name="connsiteX1097" fmla="*/ 9011412 w 9043663"/>
              <a:gd name="connsiteY1097" fmla="*/ 2596543 h 3664183"/>
              <a:gd name="connsiteX1098" fmla="*/ 8993494 w 9043663"/>
              <a:gd name="connsiteY1098" fmla="*/ 2575812 h 3664183"/>
              <a:gd name="connsiteX1099" fmla="*/ 8993494 w 9043663"/>
              <a:gd name="connsiteY1099" fmla="*/ 2596543 h 3664183"/>
              <a:gd name="connsiteX1100" fmla="*/ 8870459 w 9043663"/>
              <a:gd name="connsiteY1100" fmla="*/ 2698124 h 3664183"/>
              <a:gd name="connsiteX1101" fmla="*/ 8882404 w 9043663"/>
              <a:gd name="connsiteY1101" fmla="*/ 2730257 h 3664183"/>
              <a:gd name="connsiteX1102" fmla="*/ 8906294 w 9043663"/>
              <a:gd name="connsiteY1102" fmla="*/ 2744769 h 3664183"/>
              <a:gd name="connsiteX1103" fmla="*/ 8921824 w 9043663"/>
              <a:gd name="connsiteY1103" fmla="*/ 2756171 h 3664183"/>
              <a:gd name="connsiteX1104" fmla="*/ 8923018 w 9043663"/>
              <a:gd name="connsiteY1104" fmla="*/ 2757207 h 3664183"/>
              <a:gd name="connsiteX1105" fmla="*/ 8944519 w 9043663"/>
              <a:gd name="connsiteY1105" fmla="*/ 2757207 h 3664183"/>
              <a:gd name="connsiteX1106" fmla="*/ 8901517 w 9043663"/>
              <a:gd name="connsiteY1106" fmla="*/ 2708490 h 3664183"/>
              <a:gd name="connsiteX1107" fmla="*/ 8866876 w 9043663"/>
              <a:gd name="connsiteY1107" fmla="*/ 2691905 h 3664183"/>
              <a:gd name="connsiteX1108" fmla="*/ 8870459 w 9043663"/>
              <a:gd name="connsiteY1108" fmla="*/ 2698124 h 3664183"/>
              <a:gd name="connsiteX1109" fmla="*/ 8995883 w 9043663"/>
              <a:gd name="connsiteY1109" fmla="*/ 3370842 h 3664183"/>
              <a:gd name="connsiteX1110" fmla="*/ 9043663 w 9043663"/>
              <a:gd name="connsiteY1110" fmla="*/ 3339745 h 3664183"/>
              <a:gd name="connsiteX1111" fmla="*/ 9000661 w 9043663"/>
              <a:gd name="connsiteY1111" fmla="*/ 3339745 h 3664183"/>
              <a:gd name="connsiteX1112" fmla="*/ 9011412 w 9043663"/>
              <a:gd name="connsiteY1112" fmla="*/ 3344928 h 3664183"/>
              <a:gd name="connsiteX1113" fmla="*/ 9013801 w 9043663"/>
              <a:gd name="connsiteY1113" fmla="*/ 3347001 h 3664183"/>
              <a:gd name="connsiteX1114" fmla="*/ 9006634 w 9043663"/>
              <a:gd name="connsiteY1114" fmla="*/ 3356330 h 3664183"/>
              <a:gd name="connsiteX1115" fmla="*/ 8995883 w 9043663"/>
              <a:gd name="connsiteY1115" fmla="*/ 3370842 h 3664183"/>
              <a:gd name="connsiteX1116" fmla="*/ 8401015 w 9043663"/>
              <a:gd name="connsiteY1116" fmla="*/ 2262776 h 3664183"/>
              <a:gd name="connsiteX1117" fmla="*/ 8346068 w 9043663"/>
              <a:gd name="connsiteY1117" fmla="*/ 2233753 h 3664183"/>
              <a:gd name="connsiteX1118" fmla="*/ 8274397 w 9043663"/>
              <a:gd name="connsiteY1118" fmla="*/ 2213022 h 3664183"/>
              <a:gd name="connsiteX1119" fmla="*/ 8180030 w 9043663"/>
              <a:gd name="connsiteY1119" fmla="*/ 2178816 h 3664183"/>
              <a:gd name="connsiteX1120" fmla="*/ 8139417 w 9043663"/>
              <a:gd name="connsiteY1120" fmla="*/ 2203693 h 3664183"/>
              <a:gd name="connsiteX1121" fmla="*/ 8110749 w 9043663"/>
              <a:gd name="connsiteY1121" fmla="*/ 2231679 h 3664183"/>
              <a:gd name="connsiteX1122" fmla="*/ 8101193 w 9043663"/>
              <a:gd name="connsiteY1122" fmla="*/ 2231679 h 3664183"/>
              <a:gd name="connsiteX1123" fmla="*/ 8076108 w 9043663"/>
              <a:gd name="connsiteY1123" fmla="*/ 2206802 h 3664183"/>
              <a:gd name="connsiteX1124" fmla="*/ 8070135 w 9043663"/>
              <a:gd name="connsiteY1124" fmla="*/ 2159121 h 3664183"/>
              <a:gd name="connsiteX1125" fmla="*/ 8047440 w 9043663"/>
              <a:gd name="connsiteY1125" fmla="*/ 2159121 h 3664183"/>
              <a:gd name="connsiteX1126" fmla="*/ 8035494 w 9043663"/>
              <a:gd name="connsiteY1126" fmla="*/ 2150829 h 3664183"/>
              <a:gd name="connsiteX1127" fmla="*/ 8012798 w 9043663"/>
              <a:gd name="connsiteY1127" fmla="*/ 2150829 h 3664183"/>
              <a:gd name="connsiteX1128" fmla="*/ 7968601 w 9043663"/>
              <a:gd name="connsiteY1128" fmla="*/ 2180889 h 3664183"/>
              <a:gd name="connsiteX1129" fmla="*/ 8005632 w 9043663"/>
              <a:gd name="connsiteY1129" fmla="*/ 2189181 h 3664183"/>
              <a:gd name="connsiteX1130" fmla="*/ 8005632 w 9043663"/>
              <a:gd name="connsiteY1130" fmla="*/ 2201620 h 3664183"/>
              <a:gd name="connsiteX1131" fmla="*/ 8013993 w 9043663"/>
              <a:gd name="connsiteY1131" fmla="*/ 2208876 h 3664183"/>
              <a:gd name="connsiteX1132" fmla="*/ 8061774 w 9043663"/>
              <a:gd name="connsiteY1132" fmla="*/ 2203693 h 3664183"/>
              <a:gd name="connsiteX1133" fmla="*/ 8060579 w 9043663"/>
              <a:gd name="connsiteY1133" fmla="*/ 2208876 h 3664183"/>
              <a:gd name="connsiteX1134" fmla="*/ 8002048 w 9043663"/>
              <a:gd name="connsiteY1134" fmla="*/ 2220278 h 3664183"/>
              <a:gd name="connsiteX1135" fmla="*/ 8027133 w 9043663"/>
              <a:gd name="connsiteY1135" fmla="*/ 2235826 h 3664183"/>
              <a:gd name="connsiteX1136" fmla="*/ 8030716 w 9043663"/>
              <a:gd name="connsiteY1136" fmla="*/ 2257593 h 3664183"/>
              <a:gd name="connsiteX1137" fmla="*/ 8047440 w 9043663"/>
              <a:gd name="connsiteY1137" fmla="*/ 2257593 h 3664183"/>
              <a:gd name="connsiteX1138" fmla="*/ 8055801 w 9043663"/>
              <a:gd name="connsiteY1138" fmla="*/ 2245155 h 3664183"/>
              <a:gd name="connsiteX1139" fmla="*/ 8095220 w 9043663"/>
              <a:gd name="connsiteY1139" fmla="*/ 2264849 h 3664183"/>
              <a:gd name="connsiteX1140" fmla="*/ 8160918 w 9043663"/>
              <a:gd name="connsiteY1140" fmla="*/ 2282470 h 3664183"/>
              <a:gd name="connsiteX1141" fmla="*/ 8186003 w 9043663"/>
              <a:gd name="connsiteY1141" fmla="*/ 2296982 h 3664183"/>
              <a:gd name="connsiteX1142" fmla="*/ 8200337 w 9043663"/>
              <a:gd name="connsiteY1142" fmla="*/ 2340517 h 3664183"/>
              <a:gd name="connsiteX1143" fmla="*/ 8187198 w 9043663"/>
              <a:gd name="connsiteY1143" fmla="*/ 2344663 h 3664183"/>
              <a:gd name="connsiteX1144" fmla="*/ 8157335 w 9043663"/>
              <a:gd name="connsiteY1144" fmla="*/ 2376796 h 3664183"/>
              <a:gd name="connsiteX1145" fmla="*/ 8232589 w 9043663"/>
              <a:gd name="connsiteY1145" fmla="*/ 2365394 h 3664183"/>
              <a:gd name="connsiteX1146" fmla="*/ 8275591 w 9043663"/>
              <a:gd name="connsiteY1146" fmla="*/ 2405819 h 3664183"/>
              <a:gd name="connsiteX1147" fmla="*/ 8275591 w 9043663"/>
              <a:gd name="connsiteY1147" fmla="*/ 2401673 h 3664183"/>
              <a:gd name="connsiteX1148" fmla="*/ 8309038 w 9043663"/>
              <a:gd name="connsiteY1148" fmla="*/ 2401673 h 3664183"/>
              <a:gd name="connsiteX1149" fmla="*/ 8335317 w 9043663"/>
              <a:gd name="connsiteY1149" fmla="*/ 2384052 h 3664183"/>
              <a:gd name="connsiteX1150" fmla="*/ 8329345 w 9043663"/>
              <a:gd name="connsiteY1150" fmla="*/ 2373686 h 3664183"/>
              <a:gd name="connsiteX1151" fmla="*/ 8359207 w 9043663"/>
              <a:gd name="connsiteY1151" fmla="*/ 2351919 h 3664183"/>
              <a:gd name="connsiteX1152" fmla="*/ 8375931 w 9043663"/>
              <a:gd name="connsiteY1152" fmla="*/ 2351919 h 3664183"/>
              <a:gd name="connsiteX1153" fmla="*/ 8406988 w 9043663"/>
              <a:gd name="connsiteY1153" fmla="*/ 2364357 h 3664183"/>
              <a:gd name="connsiteX1154" fmla="*/ 8446407 w 9043663"/>
              <a:gd name="connsiteY1154" fmla="*/ 2421367 h 3664183"/>
              <a:gd name="connsiteX1155" fmla="*/ 8509716 w 9043663"/>
              <a:gd name="connsiteY1155" fmla="*/ 2429659 h 3664183"/>
              <a:gd name="connsiteX1156" fmla="*/ 8519272 w 9043663"/>
              <a:gd name="connsiteY1156" fmla="*/ 2440025 h 3664183"/>
              <a:gd name="connsiteX1157" fmla="*/ 8540773 w 9043663"/>
              <a:gd name="connsiteY1157" fmla="*/ 2436915 h 3664183"/>
              <a:gd name="connsiteX1158" fmla="*/ 8552719 w 9043663"/>
              <a:gd name="connsiteY1158" fmla="*/ 2419294 h 3664183"/>
              <a:gd name="connsiteX1159" fmla="*/ 8518077 w 9043663"/>
              <a:gd name="connsiteY1159" fmla="*/ 2414111 h 3664183"/>
              <a:gd name="connsiteX1160" fmla="*/ 8530022 w 9043663"/>
              <a:gd name="connsiteY1160" fmla="*/ 2403746 h 3664183"/>
              <a:gd name="connsiteX1161" fmla="*/ 8501355 w 9043663"/>
              <a:gd name="connsiteY1161" fmla="*/ 2398563 h 3664183"/>
              <a:gd name="connsiteX1162" fmla="*/ 8508521 w 9043663"/>
              <a:gd name="connsiteY1162" fmla="*/ 2383015 h 3664183"/>
              <a:gd name="connsiteX1163" fmla="*/ 8484631 w 9043663"/>
              <a:gd name="connsiteY1163" fmla="*/ 2389234 h 3664183"/>
              <a:gd name="connsiteX1164" fmla="*/ 8478659 w 9043663"/>
              <a:gd name="connsiteY1164" fmla="*/ 2360211 h 3664183"/>
              <a:gd name="connsiteX1165" fmla="*/ 8451185 w 9043663"/>
              <a:gd name="connsiteY1165" fmla="*/ 2339480 h 3664183"/>
              <a:gd name="connsiteX1166" fmla="*/ 8448796 w 9043663"/>
              <a:gd name="connsiteY1166" fmla="*/ 2330151 h 3664183"/>
              <a:gd name="connsiteX1167" fmla="*/ 8472686 w 9043663"/>
              <a:gd name="connsiteY1167" fmla="*/ 2324968 h 3664183"/>
              <a:gd name="connsiteX1168" fmla="*/ 8472686 w 9043663"/>
              <a:gd name="connsiteY1168" fmla="*/ 2311494 h 3664183"/>
              <a:gd name="connsiteX1169" fmla="*/ 8457157 w 9043663"/>
              <a:gd name="connsiteY1169" fmla="*/ 2301128 h 3664183"/>
              <a:gd name="connsiteX1170" fmla="*/ 8441629 w 9043663"/>
              <a:gd name="connsiteY1170" fmla="*/ 2301128 h 3664183"/>
              <a:gd name="connsiteX1171" fmla="*/ 8410571 w 9043663"/>
              <a:gd name="connsiteY1171" fmla="*/ 2291799 h 3664183"/>
              <a:gd name="connsiteX1172" fmla="*/ 8401015 w 9043663"/>
              <a:gd name="connsiteY1172" fmla="*/ 2262776 h 3664183"/>
              <a:gd name="connsiteX1173" fmla="*/ 7460933 w 9043663"/>
              <a:gd name="connsiteY1173" fmla="*/ 2231679 h 3664183"/>
              <a:gd name="connsiteX1174" fmla="*/ 7482435 w 9043663"/>
              <a:gd name="connsiteY1174" fmla="*/ 2242045 h 3664183"/>
              <a:gd name="connsiteX1175" fmla="*/ 7493185 w 9043663"/>
              <a:gd name="connsiteY1175" fmla="*/ 2237899 h 3664183"/>
              <a:gd name="connsiteX1176" fmla="*/ 7505130 w 9043663"/>
              <a:gd name="connsiteY1176" fmla="*/ 2258630 h 3664183"/>
              <a:gd name="connsiteX1177" fmla="*/ 7519464 w 9043663"/>
              <a:gd name="connsiteY1177" fmla="*/ 2255520 h 3664183"/>
              <a:gd name="connsiteX1178" fmla="*/ 7550521 w 9043663"/>
              <a:gd name="connsiteY1178" fmla="*/ 2242045 h 3664183"/>
              <a:gd name="connsiteX1179" fmla="*/ 7566051 w 9043663"/>
              <a:gd name="connsiteY1179" fmla="*/ 2206802 h 3664183"/>
              <a:gd name="connsiteX1180" fmla="*/ 7560078 w 9043663"/>
              <a:gd name="connsiteY1180" fmla="*/ 2192291 h 3664183"/>
              <a:gd name="connsiteX1181" fmla="*/ 7582773 w 9043663"/>
              <a:gd name="connsiteY1181" fmla="*/ 2174670 h 3664183"/>
              <a:gd name="connsiteX1182" fmla="*/ 7600691 w 9043663"/>
              <a:gd name="connsiteY1182" fmla="*/ 2123879 h 3664183"/>
              <a:gd name="connsiteX1183" fmla="*/ 7644888 w 9043663"/>
              <a:gd name="connsiteY1183" fmla="*/ 2123879 h 3664183"/>
              <a:gd name="connsiteX1184" fmla="*/ 7601886 w 9043663"/>
              <a:gd name="connsiteY1184" fmla="*/ 2089673 h 3664183"/>
              <a:gd name="connsiteX1185" fmla="*/ 7610247 w 9043663"/>
              <a:gd name="connsiteY1185" fmla="*/ 2079308 h 3664183"/>
              <a:gd name="connsiteX1186" fmla="*/ 7588746 w 9043663"/>
              <a:gd name="connsiteY1186" fmla="*/ 2055467 h 3664183"/>
              <a:gd name="connsiteX1187" fmla="*/ 7593524 w 9043663"/>
              <a:gd name="connsiteY1187" fmla="*/ 2034736 h 3664183"/>
              <a:gd name="connsiteX1188" fmla="*/ 7619804 w 9043663"/>
              <a:gd name="connsiteY1188" fmla="*/ 2026444 h 3664183"/>
              <a:gd name="connsiteX1189" fmla="*/ 7611442 w 9043663"/>
              <a:gd name="connsiteY1189" fmla="*/ 2014005 h 3664183"/>
              <a:gd name="connsiteX1190" fmla="*/ 7644888 w 9043663"/>
              <a:gd name="connsiteY1190" fmla="*/ 2005713 h 3664183"/>
              <a:gd name="connsiteX1191" fmla="*/ 7594719 w 9043663"/>
              <a:gd name="connsiteY1191" fmla="*/ 1982909 h 3664183"/>
              <a:gd name="connsiteX1192" fmla="*/ 7594719 w 9043663"/>
              <a:gd name="connsiteY1192" fmla="*/ 1970470 h 3664183"/>
              <a:gd name="connsiteX1193" fmla="*/ 7564856 w 9043663"/>
              <a:gd name="connsiteY1193" fmla="*/ 1952849 h 3664183"/>
              <a:gd name="connsiteX1194" fmla="*/ 7518270 w 9043663"/>
              <a:gd name="connsiteY1194" fmla="*/ 1998457 h 3664183"/>
              <a:gd name="connsiteX1195" fmla="*/ 7514686 w 9043663"/>
              <a:gd name="connsiteY1195" fmla="*/ 2005713 h 3664183"/>
              <a:gd name="connsiteX1196" fmla="*/ 7476462 w 9043663"/>
              <a:gd name="connsiteY1196" fmla="*/ 2018152 h 3664183"/>
              <a:gd name="connsiteX1197" fmla="*/ 7477656 w 9043663"/>
              <a:gd name="connsiteY1197" fmla="*/ 2019188 h 3664183"/>
              <a:gd name="connsiteX1198" fmla="*/ 7438238 w 9043663"/>
              <a:gd name="connsiteY1198" fmla="*/ 2060650 h 3664183"/>
              <a:gd name="connsiteX1199" fmla="*/ 7401207 w 9043663"/>
              <a:gd name="connsiteY1199" fmla="*/ 2065832 h 3664183"/>
              <a:gd name="connsiteX1200" fmla="*/ 7392846 w 9043663"/>
              <a:gd name="connsiteY1200" fmla="*/ 2101075 h 3664183"/>
              <a:gd name="connsiteX1201" fmla="*/ 7358205 w 9043663"/>
              <a:gd name="connsiteY1201" fmla="*/ 2092783 h 3664183"/>
              <a:gd name="connsiteX1202" fmla="*/ 7352232 w 9043663"/>
              <a:gd name="connsiteY1202" fmla="*/ 2085527 h 3664183"/>
              <a:gd name="connsiteX1203" fmla="*/ 7349843 w 9043663"/>
              <a:gd name="connsiteY1203" fmla="*/ 2090710 h 3664183"/>
              <a:gd name="connsiteX1204" fmla="*/ 7342676 w 9043663"/>
              <a:gd name="connsiteY1204" fmla="*/ 2088636 h 3664183"/>
              <a:gd name="connsiteX1205" fmla="*/ 7347454 w 9043663"/>
              <a:gd name="connsiteY1205" fmla="*/ 2094856 h 3664183"/>
              <a:gd name="connsiteX1206" fmla="*/ 7334315 w 9043663"/>
              <a:gd name="connsiteY1206" fmla="*/ 2118696 h 3664183"/>
              <a:gd name="connsiteX1207" fmla="*/ 7343871 w 9043663"/>
              <a:gd name="connsiteY1207" fmla="*/ 2159121 h 3664183"/>
              <a:gd name="connsiteX1208" fmla="*/ 7367761 w 9043663"/>
              <a:gd name="connsiteY1208" fmla="*/ 2181925 h 3664183"/>
              <a:gd name="connsiteX1209" fmla="*/ 7373734 w 9043663"/>
              <a:gd name="connsiteY1209" fmla="*/ 2227533 h 3664183"/>
              <a:gd name="connsiteX1210" fmla="*/ 7417931 w 9043663"/>
              <a:gd name="connsiteY1210" fmla="*/ 2222351 h 3664183"/>
              <a:gd name="connsiteX1211" fmla="*/ 7417931 w 9043663"/>
              <a:gd name="connsiteY1211" fmla="*/ 2244118 h 3664183"/>
              <a:gd name="connsiteX1212" fmla="*/ 7460933 w 9043663"/>
              <a:gd name="connsiteY1212" fmla="*/ 2231679 h 3664183"/>
              <a:gd name="connsiteX1213" fmla="*/ 6972377 w 9043663"/>
              <a:gd name="connsiteY1213" fmla="*/ 1696823 h 3664183"/>
              <a:gd name="connsiteX1214" fmla="*/ 7018963 w 9043663"/>
              <a:gd name="connsiteY1214" fmla="*/ 1799441 h 3664183"/>
              <a:gd name="connsiteX1215" fmla="*/ 7012990 w 9043663"/>
              <a:gd name="connsiteY1215" fmla="*/ 1814989 h 3664183"/>
              <a:gd name="connsiteX1216" fmla="*/ 7022547 w 9043663"/>
              <a:gd name="connsiteY1216" fmla="*/ 1844012 h 3664183"/>
              <a:gd name="connsiteX1217" fmla="*/ 7014185 w 9043663"/>
              <a:gd name="connsiteY1217" fmla="*/ 1877182 h 3664183"/>
              <a:gd name="connsiteX1218" fmla="*/ 7014185 w 9043663"/>
              <a:gd name="connsiteY1218" fmla="*/ 1877182 h 3664183"/>
              <a:gd name="connsiteX1219" fmla="*/ 7014185 w 9043663"/>
              <a:gd name="connsiteY1219" fmla="*/ 1877182 h 3664183"/>
              <a:gd name="connsiteX1220" fmla="*/ 7008213 w 9043663"/>
              <a:gd name="connsiteY1220" fmla="*/ 1897912 h 3664183"/>
              <a:gd name="connsiteX1221" fmla="*/ 7014185 w 9043663"/>
              <a:gd name="connsiteY1221" fmla="*/ 1888584 h 3664183"/>
              <a:gd name="connsiteX1222" fmla="*/ 7014185 w 9043663"/>
              <a:gd name="connsiteY1222" fmla="*/ 1898949 h 3664183"/>
              <a:gd name="connsiteX1223" fmla="*/ 7017769 w 9043663"/>
              <a:gd name="connsiteY1223" fmla="*/ 1925899 h 3664183"/>
              <a:gd name="connsiteX1224" fmla="*/ 7028520 w 9043663"/>
              <a:gd name="connsiteY1224" fmla="*/ 1922789 h 3664183"/>
              <a:gd name="connsiteX1225" fmla="*/ 7081078 w 9043663"/>
              <a:gd name="connsiteY1225" fmla="*/ 1976690 h 3664183"/>
              <a:gd name="connsiteX1226" fmla="*/ 7088245 w 9043663"/>
              <a:gd name="connsiteY1226" fmla="*/ 2026444 h 3664183"/>
              <a:gd name="connsiteX1227" fmla="*/ 7112135 w 9043663"/>
              <a:gd name="connsiteY1227" fmla="*/ 2068942 h 3664183"/>
              <a:gd name="connsiteX1228" fmla="*/ 7175445 w 9043663"/>
              <a:gd name="connsiteY1228" fmla="*/ 2109367 h 3664183"/>
              <a:gd name="connsiteX1229" fmla="*/ 7175445 w 9043663"/>
              <a:gd name="connsiteY1229" fmla="*/ 2109367 h 3664183"/>
              <a:gd name="connsiteX1230" fmla="*/ 7180222 w 9043663"/>
              <a:gd name="connsiteY1230" fmla="*/ 2113514 h 3664183"/>
              <a:gd name="connsiteX1231" fmla="*/ 7182611 w 9043663"/>
              <a:gd name="connsiteY1231" fmla="*/ 2111441 h 3664183"/>
              <a:gd name="connsiteX1232" fmla="*/ 7183806 w 9043663"/>
              <a:gd name="connsiteY1232" fmla="*/ 2111441 h 3664183"/>
              <a:gd name="connsiteX1233" fmla="*/ 7188584 w 9043663"/>
              <a:gd name="connsiteY1233" fmla="*/ 2113514 h 3664183"/>
              <a:gd name="connsiteX1234" fmla="*/ 7198140 w 9043663"/>
              <a:gd name="connsiteY1234" fmla="*/ 2109367 h 3664183"/>
              <a:gd name="connsiteX1235" fmla="*/ 7202918 w 9043663"/>
              <a:gd name="connsiteY1235" fmla="*/ 2108331 h 3664183"/>
              <a:gd name="connsiteX1236" fmla="*/ 7201724 w 9043663"/>
              <a:gd name="connsiteY1236" fmla="*/ 2107294 h 3664183"/>
              <a:gd name="connsiteX1237" fmla="*/ 7201724 w 9043663"/>
              <a:gd name="connsiteY1237" fmla="*/ 2107294 h 3664183"/>
              <a:gd name="connsiteX1238" fmla="*/ 7201724 w 9043663"/>
              <a:gd name="connsiteY1238" fmla="*/ 2103148 h 3664183"/>
              <a:gd name="connsiteX1239" fmla="*/ 7196946 w 9043663"/>
              <a:gd name="connsiteY1239" fmla="*/ 2101075 h 3664183"/>
              <a:gd name="connsiteX1240" fmla="*/ 7173055 w 9043663"/>
              <a:gd name="connsiteY1240" fmla="*/ 2064796 h 3664183"/>
              <a:gd name="connsiteX1241" fmla="*/ 7173055 w 9043663"/>
              <a:gd name="connsiteY1241" fmla="*/ 2007786 h 3664183"/>
              <a:gd name="connsiteX1242" fmla="*/ 7136026 w 9043663"/>
              <a:gd name="connsiteY1242" fmla="*/ 1978763 h 3664183"/>
              <a:gd name="connsiteX1243" fmla="*/ 7114524 w 9043663"/>
              <a:gd name="connsiteY1243" fmla="*/ 1954922 h 3664183"/>
              <a:gd name="connsiteX1244" fmla="*/ 7084661 w 9043663"/>
              <a:gd name="connsiteY1244" fmla="*/ 1947666 h 3664183"/>
              <a:gd name="connsiteX1245" fmla="*/ 7059577 w 9043663"/>
              <a:gd name="connsiteY1245" fmla="*/ 1886510 h 3664183"/>
              <a:gd name="connsiteX1246" fmla="*/ 7047631 w 9043663"/>
              <a:gd name="connsiteY1246" fmla="*/ 1888584 h 3664183"/>
              <a:gd name="connsiteX1247" fmla="*/ 7039270 w 9043663"/>
              <a:gd name="connsiteY1247" fmla="*/ 1863706 h 3664183"/>
              <a:gd name="connsiteX1248" fmla="*/ 7057187 w 9043663"/>
              <a:gd name="connsiteY1248" fmla="*/ 1812916 h 3664183"/>
              <a:gd name="connsiteX1249" fmla="*/ 7057187 w 9043663"/>
              <a:gd name="connsiteY1249" fmla="*/ 1780783 h 3664183"/>
              <a:gd name="connsiteX1250" fmla="*/ 7078689 w 9043663"/>
              <a:gd name="connsiteY1250" fmla="*/ 1780783 h 3664183"/>
              <a:gd name="connsiteX1251" fmla="*/ 7078689 w 9043663"/>
              <a:gd name="connsiteY1251" fmla="*/ 1799441 h 3664183"/>
              <a:gd name="connsiteX1252" fmla="*/ 7113330 w 9043663"/>
              <a:gd name="connsiteY1252" fmla="*/ 1799441 h 3664183"/>
              <a:gd name="connsiteX1253" fmla="*/ 7132442 w 9043663"/>
              <a:gd name="connsiteY1253" fmla="*/ 1813952 h 3664183"/>
              <a:gd name="connsiteX1254" fmla="*/ 7153943 w 9043663"/>
              <a:gd name="connsiteY1254" fmla="*/ 1848158 h 3664183"/>
              <a:gd name="connsiteX1255" fmla="*/ 7193362 w 9043663"/>
              <a:gd name="connsiteY1255" fmla="*/ 1861633 h 3664183"/>
              <a:gd name="connsiteX1256" fmla="*/ 7204112 w 9043663"/>
              <a:gd name="connsiteY1256" fmla="*/ 1870962 h 3664183"/>
              <a:gd name="connsiteX1257" fmla="*/ 7207697 w 9043663"/>
              <a:gd name="connsiteY1257" fmla="*/ 1913461 h 3664183"/>
              <a:gd name="connsiteX1258" fmla="*/ 7251893 w 9043663"/>
              <a:gd name="connsiteY1258" fmla="*/ 1886510 h 3664183"/>
              <a:gd name="connsiteX1259" fmla="*/ 7257866 w 9043663"/>
              <a:gd name="connsiteY1259" fmla="*/ 1861633 h 3664183"/>
              <a:gd name="connsiteX1260" fmla="*/ 7271006 w 9043663"/>
              <a:gd name="connsiteY1260" fmla="*/ 1861633 h 3664183"/>
              <a:gd name="connsiteX1261" fmla="*/ 7323564 w 9043663"/>
              <a:gd name="connsiteY1261" fmla="*/ 1831574 h 3664183"/>
              <a:gd name="connsiteX1262" fmla="*/ 7323564 w 9043663"/>
              <a:gd name="connsiteY1262" fmla="*/ 1768344 h 3664183"/>
              <a:gd name="connsiteX1263" fmla="*/ 7305646 w 9043663"/>
              <a:gd name="connsiteY1263" fmla="*/ 1723773 h 3664183"/>
              <a:gd name="connsiteX1264" fmla="*/ 7210085 w 9043663"/>
              <a:gd name="connsiteY1264" fmla="*/ 1634630 h 3664183"/>
              <a:gd name="connsiteX1265" fmla="*/ 7199335 w 9043663"/>
              <a:gd name="connsiteY1265" fmla="*/ 1620118 h 3664183"/>
              <a:gd name="connsiteX1266" fmla="*/ 7201724 w 9043663"/>
              <a:gd name="connsiteY1266" fmla="*/ 1598351 h 3664183"/>
              <a:gd name="connsiteX1267" fmla="*/ 7230392 w 9043663"/>
              <a:gd name="connsiteY1267" fmla="*/ 1568291 h 3664183"/>
              <a:gd name="connsiteX1268" fmla="*/ 7248310 w 9043663"/>
              <a:gd name="connsiteY1268" fmla="*/ 1559999 h 3664183"/>
              <a:gd name="connsiteX1269" fmla="*/ 7253088 w 9043663"/>
              <a:gd name="connsiteY1269" fmla="*/ 1562072 h 3664183"/>
              <a:gd name="connsiteX1270" fmla="*/ 7268616 w 9043663"/>
              <a:gd name="connsiteY1270" fmla="*/ 1553780 h 3664183"/>
              <a:gd name="connsiteX1271" fmla="*/ 7302063 w 9043663"/>
              <a:gd name="connsiteY1271" fmla="*/ 1561036 h 3664183"/>
              <a:gd name="connsiteX1272" fmla="*/ 7314008 w 9043663"/>
              <a:gd name="connsiteY1272" fmla="*/ 1590059 h 3664183"/>
              <a:gd name="connsiteX1273" fmla="*/ 7325953 w 9043663"/>
              <a:gd name="connsiteY1273" fmla="*/ 1590059 h 3664183"/>
              <a:gd name="connsiteX1274" fmla="*/ 7337898 w 9043663"/>
              <a:gd name="connsiteY1274" fmla="*/ 1582803 h 3664183"/>
              <a:gd name="connsiteX1275" fmla="*/ 7329536 w 9043663"/>
              <a:gd name="connsiteY1275" fmla="*/ 1565182 h 3664183"/>
              <a:gd name="connsiteX1276" fmla="*/ 7400013 w 9043663"/>
              <a:gd name="connsiteY1276" fmla="*/ 1547560 h 3664183"/>
              <a:gd name="connsiteX1277" fmla="*/ 7400013 w 9043663"/>
              <a:gd name="connsiteY1277" fmla="*/ 1533049 h 3664183"/>
              <a:gd name="connsiteX1278" fmla="*/ 7410764 w 9043663"/>
              <a:gd name="connsiteY1278" fmla="*/ 1540305 h 3664183"/>
              <a:gd name="connsiteX1279" fmla="*/ 7411958 w 9043663"/>
              <a:gd name="connsiteY1279" fmla="*/ 1533049 h 3664183"/>
              <a:gd name="connsiteX1280" fmla="*/ 7413152 w 9043663"/>
              <a:gd name="connsiteY1280" fmla="*/ 1533049 h 3664183"/>
              <a:gd name="connsiteX1281" fmla="*/ 7419125 w 9043663"/>
              <a:gd name="connsiteY1281" fmla="*/ 1541341 h 3664183"/>
              <a:gd name="connsiteX1282" fmla="*/ 7435848 w 9043663"/>
              <a:gd name="connsiteY1282" fmla="*/ 1541341 h 3664183"/>
              <a:gd name="connsiteX1283" fmla="*/ 7435848 w 9043663"/>
              <a:gd name="connsiteY1283" fmla="*/ 1528903 h 3664183"/>
              <a:gd name="connsiteX1284" fmla="*/ 7435848 w 9043663"/>
              <a:gd name="connsiteY1284" fmla="*/ 1528903 h 3664183"/>
              <a:gd name="connsiteX1285" fmla="*/ 7438238 w 9043663"/>
              <a:gd name="connsiteY1285" fmla="*/ 1525793 h 3664183"/>
              <a:gd name="connsiteX1286" fmla="*/ 7494380 w 9043663"/>
              <a:gd name="connsiteY1286" fmla="*/ 1515428 h 3664183"/>
              <a:gd name="connsiteX1287" fmla="*/ 7534993 w 9043663"/>
              <a:gd name="connsiteY1287" fmla="*/ 1482258 h 3664183"/>
              <a:gd name="connsiteX1288" fmla="*/ 7530215 w 9043663"/>
              <a:gd name="connsiteY1288" fmla="*/ 1473966 h 3664183"/>
              <a:gd name="connsiteX1289" fmla="*/ 7545744 w 9043663"/>
              <a:gd name="connsiteY1289" fmla="*/ 1473966 h 3664183"/>
              <a:gd name="connsiteX1290" fmla="*/ 7568439 w 9043663"/>
              <a:gd name="connsiteY1290" fmla="*/ 1432504 h 3664183"/>
              <a:gd name="connsiteX1291" fmla="*/ 7558883 w 9043663"/>
              <a:gd name="connsiteY1291" fmla="*/ 1417992 h 3664183"/>
              <a:gd name="connsiteX1292" fmla="*/ 7566051 w 9043663"/>
              <a:gd name="connsiteY1292" fmla="*/ 1420066 h 3664183"/>
              <a:gd name="connsiteX1293" fmla="*/ 7587552 w 9043663"/>
              <a:gd name="connsiteY1293" fmla="*/ 1374458 h 3664183"/>
              <a:gd name="connsiteX1294" fmla="*/ 7599497 w 9043663"/>
              <a:gd name="connsiteY1294" fmla="*/ 1366165 h 3664183"/>
              <a:gd name="connsiteX1295" fmla="*/ 7599497 w 9043663"/>
              <a:gd name="connsiteY1295" fmla="*/ 1321594 h 3664183"/>
              <a:gd name="connsiteX1296" fmla="*/ 7552911 w 9043663"/>
              <a:gd name="connsiteY1296" fmla="*/ 1312265 h 3664183"/>
              <a:gd name="connsiteX1297" fmla="*/ 7587552 w 9043663"/>
              <a:gd name="connsiteY1297" fmla="*/ 1300863 h 3664183"/>
              <a:gd name="connsiteX1298" fmla="*/ 7560078 w 9043663"/>
              <a:gd name="connsiteY1298" fmla="*/ 1279095 h 3664183"/>
              <a:gd name="connsiteX1299" fmla="*/ 7579190 w 9043663"/>
              <a:gd name="connsiteY1299" fmla="*/ 1279095 h 3664183"/>
              <a:gd name="connsiteX1300" fmla="*/ 7536188 w 9043663"/>
              <a:gd name="connsiteY1300" fmla="*/ 1251109 h 3664183"/>
              <a:gd name="connsiteX1301" fmla="*/ 7497963 w 9043663"/>
              <a:gd name="connsiteY1301" fmla="*/ 1202391 h 3664183"/>
              <a:gd name="connsiteX1302" fmla="*/ 7466905 w 9043663"/>
              <a:gd name="connsiteY1302" fmla="*/ 1186843 h 3664183"/>
              <a:gd name="connsiteX1303" fmla="*/ 7486018 w 9043663"/>
              <a:gd name="connsiteY1303" fmla="*/ 1143308 h 3664183"/>
              <a:gd name="connsiteX1304" fmla="*/ 7511103 w 9043663"/>
              <a:gd name="connsiteY1304" fmla="*/ 1131906 h 3664183"/>
              <a:gd name="connsiteX1305" fmla="*/ 7525437 w 9043663"/>
              <a:gd name="connsiteY1305" fmla="*/ 1138126 h 3664183"/>
              <a:gd name="connsiteX1306" fmla="*/ 7525437 w 9043663"/>
              <a:gd name="connsiteY1306" fmla="*/ 1121541 h 3664183"/>
              <a:gd name="connsiteX1307" fmla="*/ 7471684 w 9043663"/>
              <a:gd name="connsiteY1307" fmla="*/ 1108066 h 3664183"/>
              <a:gd name="connsiteX1308" fmla="*/ 7447794 w 9043663"/>
              <a:gd name="connsiteY1308" fmla="*/ 1123614 h 3664183"/>
              <a:gd name="connsiteX1309" fmla="*/ 7438238 w 9043663"/>
              <a:gd name="connsiteY1309" fmla="*/ 1123614 h 3664183"/>
              <a:gd name="connsiteX1310" fmla="*/ 7374929 w 9043663"/>
              <a:gd name="connsiteY1310" fmla="*/ 1083189 h 3664183"/>
              <a:gd name="connsiteX1311" fmla="*/ 7374929 w 9043663"/>
              <a:gd name="connsiteY1311" fmla="*/ 1071787 h 3664183"/>
              <a:gd name="connsiteX1312" fmla="*/ 7401207 w 9043663"/>
              <a:gd name="connsiteY1312" fmla="*/ 1071787 h 3664183"/>
              <a:gd name="connsiteX1313" fmla="*/ 7407180 w 9043663"/>
              <a:gd name="connsiteY1313" fmla="*/ 1058312 h 3664183"/>
              <a:gd name="connsiteX1314" fmla="*/ 7427487 w 9043663"/>
              <a:gd name="connsiteY1314" fmla="*/ 1047946 h 3664183"/>
              <a:gd name="connsiteX1315" fmla="*/ 7439432 w 9043663"/>
              <a:gd name="connsiteY1315" fmla="*/ 1026179 h 3664183"/>
              <a:gd name="connsiteX1316" fmla="*/ 7453766 w 9043663"/>
              <a:gd name="connsiteY1316" fmla="*/ 1028252 h 3664183"/>
              <a:gd name="connsiteX1317" fmla="*/ 7469295 w 9043663"/>
              <a:gd name="connsiteY1317" fmla="*/ 1039654 h 3664183"/>
              <a:gd name="connsiteX1318" fmla="*/ 7453766 w 9043663"/>
              <a:gd name="connsiteY1318" fmla="*/ 1063494 h 3664183"/>
              <a:gd name="connsiteX1319" fmla="*/ 7468100 w 9043663"/>
              <a:gd name="connsiteY1319" fmla="*/ 1070750 h 3664183"/>
              <a:gd name="connsiteX1320" fmla="*/ 7454960 w 9043663"/>
              <a:gd name="connsiteY1320" fmla="*/ 1090444 h 3664183"/>
              <a:gd name="connsiteX1321" fmla="*/ 7514686 w 9043663"/>
              <a:gd name="connsiteY1321" fmla="*/ 1059348 h 3664183"/>
              <a:gd name="connsiteX1322" fmla="*/ 7525437 w 9043663"/>
              <a:gd name="connsiteY1322" fmla="*/ 1059348 h 3664183"/>
              <a:gd name="connsiteX1323" fmla="*/ 7564856 w 9043663"/>
              <a:gd name="connsiteY1323" fmla="*/ 1066604 h 3664183"/>
              <a:gd name="connsiteX1324" fmla="*/ 7568439 w 9043663"/>
              <a:gd name="connsiteY1324" fmla="*/ 1102883 h 3664183"/>
              <a:gd name="connsiteX1325" fmla="*/ 7619804 w 9043663"/>
              <a:gd name="connsiteY1325" fmla="*/ 1110139 h 3664183"/>
              <a:gd name="connsiteX1326" fmla="*/ 7625776 w 9043663"/>
              <a:gd name="connsiteY1326" fmla="*/ 1120504 h 3664183"/>
              <a:gd name="connsiteX1327" fmla="*/ 7631749 w 9043663"/>
              <a:gd name="connsiteY1327" fmla="*/ 1127760 h 3664183"/>
              <a:gd name="connsiteX1328" fmla="*/ 7616220 w 9043663"/>
              <a:gd name="connsiteY1328" fmla="*/ 1130870 h 3664183"/>
              <a:gd name="connsiteX1329" fmla="*/ 7654444 w 9043663"/>
              <a:gd name="connsiteY1329" fmla="*/ 1164039 h 3664183"/>
              <a:gd name="connsiteX1330" fmla="*/ 7646083 w 9043663"/>
              <a:gd name="connsiteY1330" fmla="*/ 1176478 h 3664183"/>
              <a:gd name="connsiteX1331" fmla="*/ 7668779 w 9043663"/>
              <a:gd name="connsiteY1331" fmla="*/ 1208611 h 3664183"/>
              <a:gd name="connsiteX1332" fmla="*/ 7733283 w 9043663"/>
              <a:gd name="connsiteY1332" fmla="*/ 1183733 h 3664183"/>
              <a:gd name="connsiteX1333" fmla="*/ 7729699 w 9043663"/>
              <a:gd name="connsiteY1333" fmla="*/ 1160929 h 3664183"/>
              <a:gd name="connsiteX1334" fmla="*/ 7702225 w 9043663"/>
              <a:gd name="connsiteY1334" fmla="*/ 1116358 h 3664183"/>
              <a:gd name="connsiteX1335" fmla="*/ 7673557 w 9043663"/>
              <a:gd name="connsiteY1335" fmla="*/ 1093554 h 3664183"/>
              <a:gd name="connsiteX1336" fmla="*/ 7677140 w 9043663"/>
              <a:gd name="connsiteY1336" fmla="*/ 1092517 h 3664183"/>
              <a:gd name="connsiteX1337" fmla="*/ 7664000 w 9043663"/>
              <a:gd name="connsiteY1337" fmla="*/ 1086298 h 3664183"/>
              <a:gd name="connsiteX1338" fmla="*/ 7664000 w 9043663"/>
              <a:gd name="connsiteY1338" fmla="*/ 1086298 h 3664183"/>
              <a:gd name="connsiteX1339" fmla="*/ 7664000 w 9043663"/>
              <a:gd name="connsiteY1339" fmla="*/ 1086298 h 3664183"/>
              <a:gd name="connsiteX1340" fmla="*/ 7626971 w 9043663"/>
              <a:gd name="connsiteY1340" fmla="*/ 1069714 h 3664183"/>
              <a:gd name="connsiteX1341" fmla="*/ 7619804 w 9043663"/>
              <a:gd name="connsiteY1341" fmla="*/ 1052092 h 3664183"/>
              <a:gd name="connsiteX1342" fmla="*/ 7667584 w 9043663"/>
              <a:gd name="connsiteY1342" fmla="*/ 1028252 h 3664183"/>
              <a:gd name="connsiteX1343" fmla="*/ 7652055 w 9043663"/>
              <a:gd name="connsiteY1343" fmla="*/ 1006484 h 3664183"/>
              <a:gd name="connsiteX1344" fmla="*/ 7664000 w 9043663"/>
              <a:gd name="connsiteY1344" fmla="*/ 984717 h 3664183"/>
              <a:gd name="connsiteX1345" fmla="*/ 7664000 w 9043663"/>
              <a:gd name="connsiteY1345" fmla="*/ 984717 h 3664183"/>
              <a:gd name="connsiteX1346" fmla="*/ 7664000 w 9043663"/>
              <a:gd name="connsiteY1346" fmla="*/ 983680 h 3664183"/>
              <a:gd name="connsiteX1347" fmla="*/ 7666389 w 9043663"/>
              <a:gd name="connsiteY1347" fmla="*/ 978498 h 3664183"/>
              <a:gd name="connsiteX1348" fmla="*/ 7668779 w 9043663"/>
              <a:gd name="connsiteY1348" fmla="*/ 978498 h 3664183"/>
              <a:gd name="connsiteX1349" fmla="*/ 7674751 w 9043663"/>
              <a:gd name="connsiteY1349" fmla="*/ 963986 h 3664183"/>
              <a:gd name="connsiteX1350" fmla="*/ 7721338 w 9043663"/>
              <a:gd name="connsiteY1350" fmla="*/ 976425 h 3664183"/>
              <a:gd name="connsiteX1351" fmla="*/ 7759561 w 9043663"/>
              <a:gd name="connsiteY1351" fmla="*/ 954657 h 3664183"/>
              <a:gd name="connsiteX1352" fmla="*/ 7759561 w 9043663"/>
              <a:gd name="connsiteY1352" fmla="*/ 930817 h 3664183"/>
              <a:gd name="connsiteX1353" fmla="*/ 7779868 w 9043663"/>
              <a:gd name="connsiteY1353" fmla="*/ 895574 h 3664183"/>
              <a:gd name="connsiteX1354" fmla="*/ 7789424 w 9043663"/>
              <a:gd name="connsiteY1354" fmla="*/ 818870 h 3664183"/>
              <a:gd name="connsiteX1355" fmla="*/ 7741644 w 9043663"/>
              <a:gd name="connsiteY1355" fmla="*/ 753568 h 3664183"/>
              <a:gd name="connsiteX1356" fmla="*/ 7708197 w 9043663"/>
              <a:gd name="connsiteY1356" fmla="*/ 690338 h 3664183"/>
              <a:gd name="connsiteX1357" fmla="*/ 7637722 w 9043663"/>
              <a:gd name="connsiteY1357" fmla="*/ 669608 h 3664183"/>
              <a:gd name="connsiteX1358" fmla="*/ 7612636 w 9043663"/>
              <a:gd name="connsiteY1358" fmla="*/ 669608 h 3664183"/>
              <a:gd name="connsiteX1359" fmla="*/ 7612636 w 9043663"/>
              <a:gd name="connsiteY1359" fmla="*/ 681009 h 3664183"/>
              <a:gd name="connsiteX1360" fmla="*/ 7599497 w 9043663"/>
              <a:gd name="connsiteY1360" fmla="*/ 685156 h 3664183"/>
              <a:gd name="connsiteX1361" fmla="*/ 7587552 w 9043663"/>
              <a:gd name="connsiteY1361" fmla="*/ 664425 h 3664183"/>
              <a:gd name="connsiteX1362" fmla="*/ 7570828 w 9043663"/>
              <a:gd name="connsiteY1362" fmla="*/ 671681 h 3664183"/>
              <a:gd name="connsiteX1363" fmla="*/ 7570828 w 9043663"/>
              <a:gd name="connsiteY1363" fmla="*/ 672717 h 3664183"/>
              <a:gd name="connsiteX1364" fmla="*/ 7555300 w 9043663"/>
              <a:gd name="connsiteY1364" fmla="*/ 655096 h 3664183"/>
              <a:gd name="connsiteX1365" fmla="*/ 7514686 w 9043663"/>
              <a:gd name="connsiteY1365" fmla="*/ 647840 h 3664183"/>
              <a:gd name="connsiteX1366" fmla="*/ 7537382 w 9043663"/>
              <a:gd name="connsiteY1366" fmla="*/ 628146 h 3664183"/>
              <a:gd name="connsiteX1367" fmla="*/ 7567245 w 9043663"/>
              <a:gd name="connsiteY1367" fmla="*/ 550405 h 3664183"/>
              <a:gd name="connsiteX1368" fmla="*/ 7594719 w 9043663"/>
              <a:gd name="connsiteY1368" fmla="*/ 541076 h 3664183"/>
              <a:gd name="connsiteX1369" fmla="*/ 7723726 w 9043663"/>
              <a:gd name="connsiteY1369" fmla="*/ 546259 h 3664183"/>
              <a:gd name="connsiteX1370" fmla="*/ 7711781 w 9043663"/>
              <a:gd name="connsiteY1370" fmla="*/ 532784 h 3664183"/>
              <a:gd name="connsiteX1371" fmla="*/ 7760756 w 9043663"/>
              <a:gd name="connsiteY1371" fmla="*/ 534857 h 3664183"/>
              <a:gd name="connsiteX1372" fmla="*/ 7788230 w 9043663"/>
              <a:gd name="connsiteY1372" fmla="*/ 553515 h 3664183"/>
              <a:gd name="connsiteX1373" fmla="*/ 7880208 w 9043663"/>
              <a:gd name="connsiteY1373" fmla="*/ 544186 h 3664183"/>
              <a:gd name="connsiteX1374" fmla="*/ 7836011 w 9043663"/>
              <a:gd name="connsiteY1374" fmla="*/ 530711 h 3664183"/>
              <a:gd name="connsiteX1375" fmla="*/ 7831232 w 9043663"/>
              <a:gd name="connsiteY1375" fmla="*/ 521382 h 3664183"/>
              <a:gd name="connsiteX1376" fmla="*/ 7833621 w 9043663"/>
              <a:gd name="connsiteY1376" fmla="*/ 485103 h 3664183"/>
              <a:gd name="connsiteX1377" fmla="*/ 7898125 w 9043663"/>
              <a:gd name="connsiteY1377" fmla="*/ 475774 h 3664183"/>
              <a:gd name="connsiteX1378" fmla="*/ 7908876 w 9043663"/>
              <a:gd name="connsiteY1378" fmla="*/ 490285 h 3664183"/>
              <a:gd name="connsiteX1379" fmla="*/ 7942323 w 9043663"/>
              <a:gd name="connsiteY1379" fmla="*/ 511016 h 3664183"/>
              <a:gd name="connsiteX1380" fmla="*/ 7955462 w 9043663"/>
              <a:gd name="connsiteY1380" fmla="*/ 486139 h 3664183"/>
              <a:gd name="connsiteX1381" fmla="*/ 7969796 w 9043663"/>
              <a:gd name="connsiteY1381" fmla="*/ 479920 h 3664183"/>
              <a:gd name="connsiteX1382" fmla="*/ 7950684 w 9043663"/>
              <a:gd name="connsiteY1382" fmla="*/ 463335 h 3664183"/>
              <a:gd name="connsiteX1383" fmla="*/ 7969796 w 9043663"/>
              <a:gd name="connsiteY1383" fmla="*/ 463335 h 3664183"/>
              <a:gd name="connsiteX1384" fmla="*/ 7966213 w 9043663"/>
              <a:gd name="connsiteY1384" fmla="*/ 465408 h 3664183"/>
              <a:gd name="connsiteX1385" fmla="*/ 8002048 w 9043663"/>
              <a:gd name="connsiteY1385" fmla="*/ 499614 h 3664183"/>
              <a:gd name="connsiteX1386" fmla="*/ 7982936 w 9043663"/>
              <a:gd name="connsiteY1386" fmla="*/ 514126 h 3664183"/>
              <a:gd name="connsiteX1387" fmla="*/ 7974574 w 9043663"/>
              <a:gd name="connsiteY1387" fmla="*/ 570099 h 3664183"/>
              <a:gd name="connsiteX1388" fmla="*/ 7948295 w 9043663"/>
              <a:gd name="connsiteY1388" fmla="*/ 575282 h 3664183"/>
              <a:gd name="connsiteX1389" fmla="*/ 7966213 w 9043663"/>
              <a:gd name="connsiteY1389" fmla="*/ 599123 h 3664183"/>
              <a:gd name="connsiteX1390" fmla="*/ 7956656 w 9043663"/>
              <a:gd name="connsiteY1390" fmla="*/ 602232 h 3664183"/>
              <a:gd name="connsiteX1391" fmla="*/ 7992492 w 9043663"/>
              <a:gd name="connsiteY1391" fmla="*/ 644730 h 3664183"/>
              <a:gd name="connsiteX1392" fmla="*/ 8147778 w 9043663"/>
              <a:gd name="connsiteY1392" fmla="*/ 760823 h 3664183"/>
              <a:gd name="connsiteX1393" fmla="*/ 8158529 w 9043663"/>
              <a:gd name="connsiteY1393" fmla="*/ 738019 h 3664183"/>
              <a:gd name="connsiteX1394" fmla="*/ 8144195 w 9043663"/>
              <a:gd name="connsiteY1394" fmla="*/ 706923 h 3664183"/>
              <a:gd name="connsiteX1395" fmla="*/ 8148973 w 9043663"/>
              <a:gd name="connsiteY1395" fmla="*/ 701740 h 3664183"/>
              <a:gd name="connsiteX1396" fmla="*/ 8171669 w 9043663"/>
              <a:gd name="connsiteY1396" fmla="*/ 701740 h 3664183"/>
              <a:gd name="connsiteX1397" fmla="*/ 8141806 w 9043663"/>
              <a:gd name="connsiteY1397" fmla="*/ 672717 h 3664183"/>
              <a:gd name="connsiteX1398" fmla="*/ 8144195 w 9043663"/>
              <a:gd name="connsiteY1398" fmla="*/ 667534 h 3664183"/>
              <a:gd name="connsiteX1399" fmla="*/ 8170474 w 9043663"/>
              <a:gd name="connsiteY1399" fmla="*/ 665461 h 3664183"/>
              <a:gd name="connsiteX1400" fmla="*/ 8175253 w 9043663"/>
              <a:gd name="connsiteY1400" fmla="*/ 654059 h 3664183"/>
              <a:gd name="connsiteX1401" fmla="*/ 8137028 w 9043663"/>
              <a:gd name="connsiteY1401" fmla="*/ 622963 h 3664183"/>
              <a:gd name="connsiteX1402" fmla="*/ 8166891 w 9043663"/>
              <a:gd name="connsiteY1402" fmla="*/ 619853 h 3664183"/>
              <a:gd name="connsiteX1403" fmla="*/ 8126277 w 9043663"/>
              <a:gd name="connsiteY1403" fmla="*/ 600159 h 3664183"/>
              <a:gd name="connsiteX1404" fmla="*/ 8108360 w 9043663"/>
              <a:gd name="connsiteY1404" fmla="*/ 576319 h 3664183"/>
              <a:gd name="connsiteX1405" fmla="*/ 8080886 w 9043663"/>
              <a:gd name="connsiteY1405" fmla="*/ 573209 h 3664183"/>
              <a:gd name="connsiteX1406" fmla="*/ 8067746 w 9043663"/>
              <a:gd name="connsiteY1406" fmla="*/ 565953 h 3664183"/>
              <a:gd name="connsiteX1407" fmla="*/ 8059385 w 9043663"/>
              <a:gd name="connsiteY1407" fmla="*/ 545222 h 3664183"/>
              <a:gd name="connsiteX1408" fmla="*/ 8045050 w 9043663"/>
              <a:gd name="connsiteY1408" fmla="*/ 525528 h 3664183"/>
              <a:gd name="connsiteX1409" fmla="*/ 8073719 w 9043663"/>
              <a:gd name="connsiteY1409" fmla="*/ 525528 h 3664183"/>
              <a:gd name="connsiteX1410" fmla="*/ 8090442 w 9043663"/>
              <a:gd name="connsiteY1410" fmla="*/ 516199 h 3664183"/>
              <a:gd name="connsiteX1411" fmla="*/ 8110749 w 9043663"/>
              <a:gd name="connsiteY1411" fmla="*/ 533820 h 3664183"/>
              <a:gd name="connsiteX1412" fmla="*/ 8114332 w 9043663"/>
              <a:gd name="connsiteY1412" fmla="*/ 517235 h 3664183"/>
              <a:gd name="connsiteX1413" fmla="*/ 8133445 w 9043663"/>
              <a:gd name="connsiteY1413" fmla="*/ 507907 h 3664183"/>
              <a:gd name="connsiteX1414" fmla="*/ 8207504 w 9043663"/>
              <a:gd name="connsiteY1414" fmla="*/ 527601 h 3664183"/>
              <a:gd name="connsiteX1415" fmla="*/ 8199143 w 9043663"/>
              <a:gd name="connsiteY1415" fmla="*/ 513089 h 3664183"/>
              <a:gd name="connsiteX1416" fmla="*/ 8239756 w 9043663"/>
              <a:gd name="connsiteY1416" fmla="*/ 470591 h 3664183"/>
              <a:gd name="connsiteX1417" fmla="*/ 8262452 w 9043663"/>
              <a:gd name="connsiteY1417" fmla="*/ 461262 h 3664183"/>
              <a:gd name="connsiteX1418" fmla="*/ 8322178 w 9043663"/>
              <a:gd name="connsiteY1418" fmla="*/ 466445 h 3664183"/>
              <a:gd name="connsiteX1419" fmla="*/ 8322178 w 9043663"/>
              <a:gd name="connsiteY1419" fmla="*/ 451933 h 3664183"/>
              <a:gd name="connsiteX1420" fmla="*/ 8205116 w 9043663"/>
              <a:gd name="connsiteY1420" fmla="*/ 406325 h 3664183"/>
              <a:gd name="connsiteX1421" fmla="*/ 8218255 w 9043663"/>
              <a:gd name="connsiteY1421" fmla="*/ 407362 h 3664183"/>
              <a:gd name="connsiteX1422" fmla="*/ 8232589 w 9043663"/>
              <a:gd name="connsiteY1422" fmla="*/ 398033 h 3664183"/>
              <a:gd name="connsiteX1423" fmla="*/ 8225422 w 9043663"/>
              <a:gd name="connsiteY1423" fmla="*/ 379375 h 3664183"/>
              <a:gd name="connsiteX1424" fmla="*/ 8200337 w 9043663"/>
              <a:gd name="connsiteY1424" fmla="*/ 372119 h 3664183"/>
              <a:gd name="connsiteX1425" fmla="*/ 8202726 w 9043663"/>
              <a:gd name="connsiteY1425" fmla="*/ 369010 h 3664183"/>
              <a:gd name="connsiteX1426" fmla="*/ 8245729 w 9043663"/>
              <a:gd name="connsiteY1426" fmla="*/ 386631 h 3664183"/>
              <a:gd name="connsiteX1427" fmla="*/ 8303065 w 9043663"/>
              <a:gd name="connsiteY1427" fmla="*/ 389741 h 3664183"/>
              <a:gd name="connsiteX1428" fmla="*/ 8430878 w 9043663"/>
              <a:gd name="connsiteY1428" fmla="*/ 420837 h 3664183"/>
              <a:gd name="connsiteX1429" fmla="*/ 8391459 w 9043663"/>
              <a:gd name="connsiteY1429" fmla="*/ 386631 h 3664183"/>
              <a:gd name="connsiteX1430" fmla="*/ 8414155 w 9043663"/>
              <a:gd name="connsiteY1430" fmla="*/ 386631 h 3664183"/>
              <a:gd name="connsiteX1431" fmla="*/ 8417739 w 9043663"/>
              <a:gd name="connsiteY1431" fmla="*/ 369010 h 3664183"/>
              <a:gd name="connsiteX1432" fmla="*/ 8336512 w 9043663"/>
              <a:gd name="connsiteY1432" fmla="*/ 350352 h 3664183"/>
              <a:gd name="connsiteX1433" fmla="*/ 8268425 w 9043663"/>
              <a:gd name="connsiteY1433" fmla="*/ 345169 h 3664183"/>
              <a:gd name="connsiteX1434" fmla="*/ 8067746 w 9043663"/>
              <a:gd name="connsiteY1434" fmla="*/ 298525 h 3664183"/>
              <a:gd name="connsiteX1435" fmla="*/ 7956656 w 9043663"/>
              <a:gd name="connsiteY1435" fmla="*/ 282977 h 3664183"/>
              <a:gd name="connsiteX1436" fmla="*/ 7814509 w 9043663"/>
              <a:gd name="connsiteY1436" fmla="*/ 274684 h 3664183"/>
              <a:gd name="connsiteX1437" fmla="*/ 7869457 w 9043663"/>
              <a:gd name="connsiteY1437" fmla="*/ 301634 h 3664183"/>
              <a:gd name="connsiteX1438" fmla="*/ 7857512 w 9043663"/>
              <a:gd name="connsiteY1438" fmla="*/ 306817 h 3664183"/>
              <a:gd name="connsiteX1439" fmla="*/ 7813314 w 9043663"/>
              <a:gd name="connsiteY1439" fmla="*/ 294378 h 3664183"/>
              <a:gd name="connsiteX1440" fmla="*/ 7820482 w 9043663"/>
              <a:gd name="connsiteY1440" fmla="*/ 294378 h 3664183"/>
              <a:gd name="connsiteX1441" fmla="*/ 7814509 w 9043663"/>
              <a:gd name="connsiteY1441" fmla="*/ 284013 h 3664183"/>
              <a:gd name="connsiteX1442" fmla="*/ 7781063 w 9043663"/>
              <a:gd name="connsiteY1442" fmla="*/ 277794 h 3664183"/>
              <a:gd name="connsiteX1443" fmla="*/ 7777479 w 9043663"/>
              <a:gd name="connsiteY1443" fmla="*/ 288159 h 3664183"/>
              <a:gd name="connsiteX1444" fmla="*/ 7777479 w 9043663"/>
              <a:gd name="connsiteY1444" fmla="*/ 288159 h 3664183"/>
              <a:gd name="connsiteX1445" fmla="*/ 7777479 w 9043663"/>
              <a:gd name="connsiteY1445" fmla="*/ 288159 h 3664183"/>
              <a:gd name="connsiteX1446" fmla="*/ 7775091 w 9043663"/>
              <a:gd name="connsiteY1446" fmla="*/ 293342 h 3664183"/>
              <a:gd name="connsiteX1447" fmla="*/ 7640110 w 9043663"/>
              <a:gd name="connsiteY1447" fmla="*/ 288159 h 3664183"/>
              <a:gd name="connsiteX1448" fmla="*/ 7601886 w 9043663"/>
              <a:gd name="connsiteY1448" fmla="*/ 270538 h 3664183"/>
              <a:gd name="connsiteX1449" fmla="*/ 7551716 w 9043663"/>
              <a:gd name="connsiteY1449" fmla="*/ 258099 h 3664183"/>
              <a:gd name="connsiteX1450" fmla="*/ 7551716 w 9043663"/>
              <a:gd name="connsiteY1450" fmla="*/ 258099 h 3664183"/>
              <a:gd name="connsiteX1451" fmla="*/ 7420320 w 9043663"/>
              <a:gd name="connsiteY1451" fmla="*/ 260173 h 3664183"/>
              <a:gd name="connsiteX1452" fmla="*/ 7318786 w 9043663"/>
              <a:gd name="connsiteY1452" fmla="*/ 232186 h 3664183"/>
              <a:gd name="connsiteX1453" fmla="*/ 7104968 w 9043663"/>
              <a:gd name="connsiteY1453" fmla="*/ 216638 h 3664183"/>
              <a:gd name="connsiteX1454" fmla="*/ 7096606 w 9043663"/>
              <a:gd name="connsiteY1454" fmla="*/ 223894 h 3664183"/>
              <a:gd name="connsiteX1455" fmla="*/ 7096606 w 9043663"/>
              <a:gd name="connsiteY1455" fmla="*/ 234259 h 3664183"/>
              <a:gd name="connsiteX1456" fmla="*/ 7124081 w 9043663"/>
              <a:gd name="connsiteY1456" fmla="*/ 244624 h 3664183"/>
              <a:gd name="connsiteX1457" fmla="*/ 7047631 w 9043663"/>
              <a:gd name="connsiteY1457" fmla="*/ 240478 h 3664183"/>
              <a:gd name="connsiteX1458" fmla="*/ 7029714 w 9043663"/>
              <a:gd name="connsiteY1458" fmla="*/ 250844 h 3664183"/>
              <a:gd name="connsiteX1459" fmla="*/ 6961626 w 9043663"/>
              <a:gd name="connsiteY1459" fmla="*/ 236332 h 3664183"/>
              <a:gd name="connsiteX1460" fmla="*/ 6984322 w 9043663"/>
              <a:gd name="connsiteY1460" fmla="*/ 259136 h 3664183"/>
              <a:gd name="connsiteX1461" fmla="*/ 6981933 w 9043663"/>
              <a:gd name="connsiteY1461" fmla="*/ 261209 h 3664183"/>
              <a:gd name="connsiteX1462" fmla="*/ 6895928 w 9043663"/>
              <a:gd name="connsiteY1462" fmla="*/ 241515 h 3664183"/>
              <a:gd name="connsiteX1463" fmla="*/ 6893539 w 9043663"/>
              <a:gd name="connsiteY1463" fmla="*/ 220784 h 3664183"/>
              <a:gd name="connsiteX1464" fmla="*/ 6849342 w 9043663"/>
              <a:gd name="connsiteY1464" fmla="*/ 207309 h 3664183"/>
              <a:gd name="connsiteX1465" fmla="*/ 6706001 w 9043663"/>
              <a:gd name="connsiteY1465" fmla="*/ 195907 h 3664183"/>
              <a:gd name="connsiteX1466" fmla="*/ 6741836 w 9043663"/>
              <a:gd name="connsiteY1466" fmla="*/ 212492 h 3664183"/>
              <a:gd name="connsiteX1467" fmla="*/ 6651053 w 9043663"/>
              <a:gd name="connsiteY1467" fmla="*/ 212492 h 3664183"/>
              <a:gd name="connsiteX1468" fmla="*/ 6641497 w 9043663"/>
              <a:gd name="connsiteY1468" fmla="*/ 196943 h 3664183"/>
              <a:gd name="connsiteX1469" fmla="*/ 6542352 w 9043663"/>
              <a:gd name="connsiteY1469" fmla="*/ 200053 h 3664183"/>
              <a:gd name="connsiteX1470" fmla="*/ 6512489 w 9043663"/>
              <a:gd name="connsiteY1470" fmla="*/ 182432 h 3664183"/>
              <a:gd name="connsiteX1471" fmla="*/ 6462320 w 9043663"/>
              <a:gd name="connsiteY1471" fmla="*/ 182432 h 3664183"/>
              <a:gd name="connsiteX1472" fmla="*/ 6499349 w 9043663"/>
              <a:gd name="connsiteY1472" fmla="*/ 167920 h 3664183"/>
              <a:gd name="connsiteX1473" fmla="*/ 6483821 w 9043663"/>
              <a:gd name="connsiteY1473" fmla="*/ 154445 h 3664183"/>
              <a:gd name="connsiteX1474" fmla="*/ 6404983 w 9043663"/>
              <a:gd name="connsiteY1474" fmla="*/ 135787 h 3664183"/>
              <a:gd name="connsiteX1475" fmla="*/ 6320172 w 9043663"/>
              <a:gd name="connsiteY1475" fmla="*/ 137860 h 3664183"/>
              <a:gd name="connsiteX1476" fmla="*/ 6326145 w 9043663"/>
              <a:gd name="connsiteY1476" fmla="*/ 128531 h 3664183"/>
              <a:gd name="connsiteX1477" fmla="*/ 6283143 w 9043663"/>
              <a:gd name="connsiteY1477" fmla="*/ 120239 h 3664183"/>
              <a:gd name="connsiteX1478" fmla="*/ 6234168 w 9043663"/>
              <a:gd name="connsiteY1478" fmla="*/ 111947 h 3664183"/>
              <a:gd name="connsiteX1479" fmla="*/ 6195943 w 9043663"/>
              <a:gd name="connsiteY1479" fmla="*/ 128531 h 3664183"/>
              <a:gd name="connsiteX1480" fmla="*/ 6189971 w 9043663"/>
              <a:gd name="connsiteY1480" fmla="*/ 146153 h 3664183"/>
              <a:gd name="connsiteX1481" fmla="*/ 6069324 w 9043663"/>
              <a:gd name="connsiteY1481" fmla="*/ 149262 h 3664183"/>
              <a:gd name="connsiteX1482" fmla="*/ 5997654 w 9043663"/>
              <a:gd name="connsiteY1482" fmla="*/ 164810 h 3664183"/>
              <a:gd name="connsiteX1483" fmla="*/ 5968986 w 9043663"/>
              <a:gd name="connsiteY1483" fmla="*/ 180359 h 3664183"/>
              <a:gd name="connsiteX1484" fmla="*/ 5986903 w 9043663"/>
              <a:gd name="connsiteY1484" fmla="*/ 193834 h 3664183"/>
              <a:gd name="connsiteX1485" fmla="*/ 5868646 w 9043663"/>
              <a:gd name="connsiteY1485" fmla="*/ 201090 h 3664183"/>
              <a:gd name="connsiteX1486" fmla="*/ 5903287 w 9043663"/>
              <a:gd name="connsiteY1486" fmla="*/ 231149 h 3664183"/>
              <a:gd name="connsiteX1487" fmla="*/ 5939123 w 9043663"/>
              <a:gd name="connsiteY1487" fmla="*/ 242551 h 3664183"/>
              <a:gd name="connsiteX1488" fmla="*/ 5935539 w 9043663"/>
              <a:gd name="connsiteY1488" fmla="*/ 242551 h 3664183"/>
              <a:gd name="connsiteX1489" fmla="*/ 5835200 w 9043663"/>
              <a:gd name="connsiteY1489" fmla="*/ 223894 h 3664183"/>
              <a:gd name="connsiteX1490" fmla="*/ 5805337 w 9043663"/>
              <a:gd name="connsiteY1490" fmla="*/ 243588 h 3664183"/>
              <a:gd name="connsiteX1491" fmla="*/ 5851923 w 9043663"/>
              <a:gd name="connsiteY1491" fmla="*/ 256026 h 3664183"/>
              <a:gd name="connsiteX1492" fmla="*/ 5807726 w 9043663"/>
              <a:gd name="connsiteY1492" fmla="*/ 252917 h 3664183"/>
              <a:gd name="connsiteX1493" fmla="*/ 5788614 w 9043663"/>
              <a:gd name="connsiteY1493" fmla="*/ 228040 h 3664183"/>
              <a:gd name="connsiteX1494" fmla="*/ 5756362 w 9043663"/>
              <a:gd name="connsiteY1494" fmla="*/ 256026 h 3664183"/>
              <a:gd name="connsiteX1495" fmla="*/ 5796975 w 9043663"/>
              <a:gd name="connsiteY1495" fmla="*/ 272611 h 3664183"/>
              <a:gd name="connsiteX1496" fmla="*/ 5796975 w 9043663"/>
              <a:gd name="connsiteY1496" fmla="*/ 292305 h 3664183"/>
              <a:gd name="connsiteX1497" fmla="*/ 5810115 w 9043663"/>
              <a:gd name="connsiteY1497" fmla="*/ 306817 h 3664183"/>
              <a:gd name="connsiteX1498" fmla="*/ 5834005 w 9043663"/>
              <a:gd name="connsiteY1498" fmla="*/ 314073 h 3664183"/>
              <a:gd name="connsiteX1499" fmla="*/ 5853118 w 9043663"/>
              <a:gd name="connsiteY1499" fmla="*/ 337913 h 3664183"/>
              <a:gd name="connsiteX1500" fmla="*/ 5834005 w 9043663"/>
              <a:gd name="connsiteY1500" fmla="*/ 354498 h 3664183"/>
              <a:gd name="connsiteX1501" fmla="*/ 5802948 w 9043663"/>
              <a:gd name="connsiteY1501" fmla="*/ 366937 h 3664183"/>
              <a:gd name="connsiteX1502" fmla="*/ 5780252 w 9043663"/>
              <a:gd name="connsiteY1502" fmla="*/ 358644 h 3664183"/>
              <a:gd name="connsiteX1503" fmla="*/ 5811310 w 9043663"/>
              <a:gd name="connsiteY1503" fmla="*/ 345169 h 3664183"/>
              <a:gd name="connsiteX1504" fmla="*/ 5814893 w 9043663"/>
              <a:gd name="connsiteY1504" fmla="*/ 313036 h 3664183"/>
              <a:gd name="connsiteX1505" fmla="*/ 5787419 w 9043663"/>
              <a:gd name="connsiteY1505" fmla="*/ 304744 h 3664183"/>
              <a:gd name="connsiteX1506" fmla="*/ 5757557 w 9043663"/>
              <a:gd name="connsiteY1506" fmla="*/ 258099 h 3664183"/>
              <a:gd name="connsiteX1507" fmla="*/ 5737250 w 9043663"/>
              <a:gd name="connsiteY1507" fmla="*/ 247734 h 3664183"/>
              <a:gd name="connsiteX1508" fmla="*/ 5737250 w 9043663"/>
              <a:gd name="connsiteY1508" fmla="*/ 221820 h 3664183"/>
              <a:gd name="connsiteX1509" fmla="*/ 5702609 w 9043663"/>
              <a:gd name="connsiteY1509" fmla="*/ 213528 h 3664183"/>
              <a:gd name="connsiteX1510" fmla="*/ 5687080 w 9043663"/>
              <a:gd name="connsiteY1510" fmla="*/ 200053 h 3664183"/>
              <a:gd name="connsiteX1511" fmla="*/ 5661995 w 9043663"/>
              <a:gd name="connsiteY1511" fmla="*/ 196943 h 3664183"/>
              <a:gd name="connsiteX1512" fmla="*/ 5630938 w 9043663"/>
              <a:gd name="connsiteY1512" fmla="*/ 245661 h 3664183"/>
              <a:gd name="connsiteX1513" fmla="*/ 5646467 w 9043663"/>
              <a:gd name="connsiteY1513" fmla="*/ 262246 h 3664183"/>
              <a:gd name="connsiteX1514" fmla="*/ 5650050 w 9043663"/>
              <a:gd name="connsiteY1514" fmla="*/ 284013 h 3664183"/>
              <a:gd name="connsiteX1515" fmla="*/ 5708581 w 9043663"/>
              <a:gd name="connsiteY1515" fmla="*/ 304744 h 3664183"/>
              <a:gd name="connsiteX1516" fmla="*/ 5707387 w 9043663"/>
              <a:gd name="connsiteY1516" fmla="*/ 309927 h 3664183"/>
              <a:gd name="connsiteX1517" fmla="*/ 5474457 w 9043663"/>
              <a:gd name="connsiteY1517" fmla="*/ 258099 h 3664183"/>
              <a:gd name="connsiteX1518" fmla="*/ 5469679 w 9043663"/>
              <a:gd name="connsiteY1518" fmla="*/ 270538 h 3664183"/>
              <a:gd name="connsiteX1519" fmla="*/ 5531794 w 9043663"/>
              <a:gd name="connsiteY1519" fmla="*/ 297488 h 3664183"/>
              <a:gd name="connsiteX1520" fmla="*/ 5511487 w 9043663"/>
              <a:gd name="connsiteY1520" fmla="*/ 303707 h 3664183"/>
              <a:gd name="connsiteX1521" fmla="*/ 5513876 w 9043663"/>
              <a:gd name="connsiteY1521" fmla="*/ 309927 h 3664183"/>
              <a:gd name="connsiteX1522" fmla="*/ 5501931 w 9043663"/>
              <a:gd name="connsiteY1522" fmla="*/ 307854 h 3664183"/>
              <a:gd name="connsiteX1523" fmla="*/ 5495958 w 9043663"/>
              <a:gd name="connsiteY1523" fmla="*/ 294378 h 3664183"/>
              <a:gd name="connsiteX1524" fmla="*/ 5417120 w 9043663"/>
              <a:gd name="connsiteY1524" fmla="*/ 305781 h 3664183"/>
              <a:gd name="connsiteX1525" fmla="*/ 5412342 w 9043663"/>
              <a:gd name="connsiteY1525" fmla="*/ 314073 h 3664183"/>
              <a:gd name="connsiteX1526" fmla="*/ 5387257 w 9043663"/>
              <a:gd name="connsiteY1526" fmla="*/ 294378 h 3664183"/>
              <a:gd name="connsiteX1527" fmla="*/ 5272584 w 9043663"/>
              <a:gd name="connsiteY1527" fmla="*/ 326511 h 3664183"/>
              <a:gd name="connsiteX1528" fmla="*/ 5276168 w 9043663"/>
              <a:gd name="connsiteY1528" fmla="*/ 339987 h 3664183"/>
              <a:gd name="connsiteX1529" fmla="*/ 5264223 w 9043663"/>
              <a:gd name="connsiteY1529" fmla="*/ 344133 h 3664183"/>
              <a:gd name="connsiteX1530" fmla="*/ 5217636 w 9043663"/>
              <a:gd name="connsiteY1530" fmla="*/ 333767 h 3664183"/>
              <a:gd name="connsiteX1531" fmla="*/ 5245110 w 9043663"/>
              <a:gd name="connsiteY1531" fmla="*/ 325475 h 3664183"/>
              <a:gd name="connsiteX1532" fmla="*/ 5233165 w 9043663"/>
              <a:gd name="connsiteY1532" fmla="*/ 310963 h 3664183"/>
              <a:gd name="connsiteX1533" fmla="*/ 5142382 w 9043663"/>
              <a:gd name="connsiteY1533" fmla="*/ 300598 h 3664183"/>
              <a:gd name="connsiteX1534" fmla="*/ 5181801 w 9043663"/>
              <a:gd name="connsiteY1534" fmla="*/ 315109 h 3664183"/>
              <a:gd name="connsiteX1535" fmla="*/ 5181801 w 9043663"/>
              <a:gd name="connsiteY1535" fmla="*/ 341023 h 3664183"/>
              <a:gd name="connsiteX1536" fmla="*/ 5200913 w 9043663"/>
              <a:gd name="connsiteY1536" fmla="*/ 346206 h 3664183"/>
              <a:gd name="connsiteX1537" fmla="*/ 5205691 w 9043663"/>
              <a:gd name="connsiteY1537" fmla="*/ 356571 h 3664183"/>
              <a:gd name="connsiteX1538" fmla="*/ 5196135 w 9043663"/>
              <a:gd name="connsiteY1538" fmla="*/ 362790 h 3664183"/>
              <a:gd name="connsiteX1539" fmla="*/ 5154327 w 9043663"/>
              <a:gd name="connsiteY1539" fmla="*/ 355535 h 3664183"/>
              <a:gd name="connsiteX1540" fmla="*/ 5101769 w 9043663"/>
              <a:gd name="connsiteY1540" fmla="*/ 378339 h 3664183"/>
              <a:gd name="connsiteX1541" fmla="*/ 5124464 w 9043663"/>
              <a:gd name="connsiteY1541" fmla="*/ 398033 h 3664183"/>
              <a:gd name="connsiteX1542" fmla="*/ 5049210 w 9043663"/>
              <a:gd name="connsiteY1542" fmla="*/ 386631 h 3664183"/>
              <a:gd name="connsiteX1543" fmla="*/ 5030098 w 9043663"/>
              <a:gd name="connsiteY1543" fmla="*/ 394923 h 3664183"/>
              <a:gd name="connsiteX1544" fmla="*/ 5074295 w 9043663"/>
              <a:gd name="connsiteY1544" fmla="*/ 406325 h 3664183"/>
              <a:gd name="connsiteX1545" fmla="*/ 5076684 w 9043663"/>
              <a:gd name="connsiteY1545" fmla="*/ 414618 h 3664183"/>
              <a:gd name="connsiteX1546" fmla="*/ 5053988 w 9043663"/>
              <a:gd name="connsiteY1546" fmla="*/ 414618 h 3664183"/>
              <a:gd name="connsiteX1547" fmla="*/ 5005013 w 9043663"/>
              <a:gd name="connsiteY1547" fmla="*/ 400106 h 3664183"/>
              <a:gd name="connsiteX1548" fmla="*/ 4999040 w 9043663"/>
              <a:gd name="connsiteY1548" fmla="*/ 366937 h 3664183"/>
              <a:gd name="connsiteX1549" fmla="*/ 4953649 w 9043663"/>
              <a:gd name="connsiteY1549" fmla="*/ 346206 h 3664183"/>
              <a:gd name="connsiteX1550" fmla="*/ 5075489 w 9043663"/>
              <a:gd name="connsiteY1550" fmla="*/ 367973 h 3664183"/>
              <a:gd name="connsiteX1551" fmla="*/ 5076684 w 9043663"/>
              <a:gd name="connsiteY1551" fmla="*/ 367973 h 3664183"/>
              <a:gd name="connsiteX1552" fmla="*/ 5137604 w 9043663"/>
              <a:gd name="connsiteY1552" fmla="*/ 351388 h 3664183"/>
              <a:gd name="connsiteX1553" fmla="*/ 5123270 w 9043663"/>
              <a:gd name="connsiteY1553" fmla="*/ 326511 h 3664183"/>
              <a:gd name="connsiteX1554" fmla="*/ 5026514 w 9043663"/>
              <a:gd name="connsiteY1554" fmla="*/ 297488 h 3664183"/>
              <a:gd name="connsiteX1555" fmla="*/ 4939315 w 9043663"/>
              <a:gd name="connsiteY1555" fmla="*/ 276757 h 3664183"/>
              <a:gd name="connsiteX1556" fmla="*/ 4904674 w 9043663"/>
              <a:gd name="connsiteY1556" fmla="*/ 278830 h 3664183"/>
              <a:gd name="connsiteX1557" fmla="*/ 4905868 w 9043663"/>
              <a:gd name="connsiteY1557" fmla="*/ 278830 h 3664183"/>
              <a:gd name="connsiteX1558" fmla="*/ 4864060 w 9043663"/>
              <a:gd name="connsiteY1558" fmla="*/ 269501 h 3664183"/>
              <a:gd name="connsiteX1559" fmla="*/ 4913035 w 9043663"/>
              <a:gd name="connsiteY1559" fmla="*/ 261209 h 3664183"/>
              <a:gd name="connsiteX1560" fmla="*/ 4856893 w 9043663"/>
              <a:gd name="connsiteY1560" fmla="*/ 250844 h 3664183"/>
              <a:gd name="connsiteX1561" fmla="*/ 4825836 w 9043663"/>
              <a:gd name="connsiteY1561" fmla="*/ 245661 h 3664183"/>
              <a:gd name="connsiteX1562" fmla="*/ 4809113 w 9043663"/>
              <a:gd name="connsiteY1562" fmla="*/ 257063 h 3664183"/>
              <a:gd name="connsiteX1563" fmla="*/ 4803140 w 9043663"/>
              <a:gd name="connsiteY1563" fmla="*/ 249807 h 3664183"/>
              <a:gd name="connsiteX1564" fmla="*/ 4786417 w 9043663"/>
              <a:gd name="connsiteY1564" fmla="*/ 254990 h 3664183"/>
              <a:gd name="connsiteX1565" fmla="*/ 4786417 w 9043663"/>
              <a:gd name="connsiteY1565" fmla="*/ 241515 h 3664183"/>
              <a:gd name="connsiteX1566" fmla="*/ 4752970 w 9043663"/>
              <a:gd name="connsiteY1566" fmla="*/ 256026 h 3664183"/>
              <a:gd name="connsiteX1567" fmla="*/ 4732664 w 9043663"/>
              <a:gd name="connsiteY1567" fmla="*/ 250844 h 3664183"/>
              <a:gd name="connsiteX1568" fmla="*/ 4699217 w 9043663"/>
              <a:gd name="connsiteY1568" fmla="*/ 261209 h 3664183"/>
              <a:gd name="connsiteX1569" fmla="*/ 4641881 w 9043663"/>
              <a:gd name="connsiteY1569" fmla="*/ 266392 h 3664183"/>
              <a:gd name="connsiteX1570" fmla="*/ 4600073 w 9043663"/>
              <a:gd name="connsiteY1570" fmla="*/ 285050 h 3664183"/>
              <a:gd name="connsiteX1571" fmla="*/ 4600073 w 9043663"/>
              <a:gd name="connsiteY1571" fmla="*/ 296452 h 3664183"/>
              <a:gd name="connsiteX1572" fmla="*/ 4607240 w 9043663"/>
              <a:gd name="connsiteY1572" fmla="*/ 296452 h 3664183"/>
              <a:gd name="connsiteX1573" fmla="*/ 4600073 w 9043663"/>
              <a:gd name="connsiteY1573" fmla="*/ 300598 h 3664183"/>
              <a:gd name="connsiteX1574" fmla="*/ 4597684 w 9043663"/>
              <a:gd name="connsiteY1574" fmla="*/ 290232 h 3664183"/>
              <a:gd name="connsiteX1575" fmla="*/ 4588128 w 9043663"/>
              <a:gd name="connsiteY1575" fmla="*/ 294378 h 3664183"/>
              <a:gd name="connsiteX1576" fmla="*/ 4591711 w 9043663"/>
              <a:gd name="connsiteY1576" fmla="*/ 280904 h 3664183"/>
              <a:gd name="connsiteX1577" fmla="*/ 4543931 w 9043663"/>
              <a:gd name="connsiteY1577" fmla="*/ 305781 h 3664183"/>
              <a:gd name="connsiteX1578" fmla="*/ 4555876 w 9043663"/>
              <a:gd name="connsiteY1578" fmla="*/ 307854 h 3664183"/>
              <a:gd name="connsiteX1579" fmla="*/ 4515262 w 9043663"/>
              <a:gd name="connsiteY1579" fmla="*/ 321329 h 3664183"/>
              <a:gd name="connsiteX1580" fmla="*/ 4516457 w 9043663"/>
              <a:gd name="connsiteY1580" fmla="*/ 326511 h 3664183"/>
              <a:gd name="connsiteX1581" fmla="*/ 4566626 w 9043663"/>
              <a:gd name="connsiteY1581" fmla="*/ 318219 h 3664183"/>
              <a:gd name="connsiteX1582" fmla="*/ 4534375 w 9043663"/>
              <a:gd name="connsiteY1582" fmla="*/ 339987 h 3664183"/>
              <a:gd name="connsiteX1583" fmla="*/ 4498539 w 9043663"/>
              <a:gd name="connsiteY1583" fmla="*/ 381448 h 3664183"/>
              <a:gd name="connsiteX1584" fmla="*/ 4440008 w 9043663"/>
              <a:gd name="connsiteY1584" fmla="*/ 423946 h 3664183"/>
              <a:gd name="connsiteX1585" fmla="*/ 4428063 w 9043663"/>
              <a:gd name="connsiteY1585" fmla="*/ 418764 h 3664183"/>
              <a:gd name="connsiteX1586" fmla="*/ 4407756 w 9043663"/>
              <a:gd name="connsiteY1586" fmla="*/ 435349 h 3664183"/>
              <a:gd name="connsiteX1587" fmla="*/ 4387449 w 9043663"/>
              <a:gd name="connsiteY1587" fmla="*/ 437422 h 3664183"/>
              <a:gd name="connsiteX1588" fmla="*/ 4332502 w 9043663"/>
              <a:gd name="connsiteY1588" fmla="*/ 465408 h 3664183"/>
              <a:gd name="connsiteX1589" fmla="*/ 4342058 w 9043663"/>
              <a:gd name="connsiteY1589" fmla="*/ 475774 h 3664183"/>
              <a:gd name="connsiteX1590" fmla="*/ 4331307 w 9043663"/>
              <a:gd name="connsiteY1590" fmla="*/ 483030 h 3664183"/>
              <a:gd name="connsiteX1591" fmla="*/ 4338474 w 9043663"/>
              <a:gd name="connsiteY1591" fmla="*/ 508943 h 3664183"/>
              <a:gd name="connsiteX1592" fmla="*/ 4349225 w 9043663"/>
              <a:gd name="connsiteY1592" fmla="*/ 518272 h 3664183"/>
              <a:gd name="connsiteX1593" fmla="*/ 4342058 w 9043663"/>
              <a:gd name="connsiteY1593" fmla="*/ 540040 h 3664183"/>
              <a:gd name="connsiteX1594" fmla="*/ 4358781 w 9043663"/>
              <a:gd name="connsiteY1594" fmla="*/ 534857 h 3664183"/>
              <a:gd name="connsiteX1595" fmla="*/ 4349225 w 9043663"/>
              <a:gd name="connsiteY1595" fmla="*/ 551441 h 3664183"/>
              <a:gd name="connsiteX1596" fmla="*/ 4357586 w 9043663"/>
              <a:gd name="connsiteY1596" fmla="*/ 558697 h 3664183"/>
              <a:gd name="connsiteX1597" fmla="*/ 4401783 w 9043663"/>
              <a:gd name="connsiteY1597" fmla="*/ 569063 h 3664183"/>
              <a:gd name="connsiteX1598" fmla="*/ 4466287 w 9043663"/>
              <a:gd name="connsiteY1598" fmla="*/ 532784 h 3664183"/>
              <a:gd name="connsiteX1599" fmla="*/ 4475843 w 9043663"/>
              <a:gd name="connsiteY1599" fmla="*/ 541076 h 3664183"/>
              <a:gd name="connsiteX1600" fmla="*/ 4518846 w 9043663"/>
              <a:gd name="connsiteY1600" fmla="*/ 604305 h 3664183"/>
              <a:gd name="connsiteX1601" fmla="*/ 4512873 w 9043663"/>
              <a:gd name="connsiteY1601" fmla="*/ 609488 h 3664183"/>
              <a:gd name="connsiteX1602" fmla="*/ 4514068 w 9043663"/>
              <a:gd name="connsiteY1602" fmla="*/ 613634 h 3664183"/>
              <a:gd name="connsiteX1603" fmla="*/ 4473454 w 9043663"/>
              <a:gd name="connsiteY1603" fmla="*/ 625036 h 3664183"/>
              <a:gd name="connsiteX1604" fmla="*/ 4474649 w 9043663"/>
              <a:gd name="connsiteY1604" fmla="*/ 627109 h 3664183"/>
              <a:gd name="connsiteX1605" fmla="*/ 4473454 w 9043663"/>
              <a:gd name="connsiteY1605" fmla="*/ 628146 h 3664183"/>
              <a:gd name="connsiteX1606" fmla="*/ 4481816 w 9043663"/>
              <a:gd name="connsiteY1606" fmla="*/ 638511 h 3664183"/>
              <a:gd name="connsiteX1607" fmla="*/ 4481816 w 9043663"/>
              <a:gd name="connsiteY1607" fmla="*/ 639548 h 3664183"/>
              <a:gd name="connsiteX1608" fmla="*/ 4498539 w 9043663"/>
              <a:gd name="connsiteY1608" fmla="*/ 642657 h 3664183"/>
              <a:gd name="connsiteX1609" fmla="*/ 4524818 w 9043663"/>
              <a:gd name="connsiteY1609" fmla="*/ 638511 h 3664183"/>
              <a:gd name="connsiteX1610" fmla="*/ 4526013 w 9043663"/>
              <a:gd name="connsiteY1610" fmla="*/ 638511 h 3664183"/>
              <a:gd name="connsiteX1611" fmla="*/ 4517651 w 9043663"/>
              <a:gd name="connsiteY1611" fmla="*/ 635402 h 3664183"/>
              <a:gd name="connsiteX1612" fmla="*/ 4514068 w 9043663"/>
              <a:gd name="connsiteY1612" fmla="*/ 633329 h 3664183"/>
              <a:gd name="connsiteX1613" fmla="*/ 4518846 w 9043663"/>
              <a:gd name="connsiteY1613" fmla="*/ 632292 h 3664183"/>
              <a:gd name="connsiteX1614" fmla="*/ 4520040 w 9043663"/>
              <a:gd name="connsiteY1614" fmla="*/ 635402 h 3664183"/>
              <a:gd name="connsiteX1615" fmla="*/ 4554681 w 9043663"/>
              <a:gd name="connsiteY1615" fmla="*/ 635402 h 3664183"/>
              <a:gd name="connsiteX1616" fmla="*/ 4566626 w 9043663"/>
              <a:gd name="connsiteY1616" fmla="*/ 614671 h 3664183"/>
              <a:gd name="connsiteX1617" fmla="*/ 4596489 w 9043663"/>
              <a:gd name="connsiteY1617" fmla="*/ 614671 h 3664183"/>
              <a:gd name="connsiteX1618" fmla="*/ 4614407 w 9043663"/>
              <a:gd name="connsiteY1618" fmla="*/ 554551 h 3664183"/>
              <a:gd name="connsiteX1619" fmla="*/ 4653826 w 9043663"/>
              <a:gd name="connsiteY1619" fmla="*/ 537966 h 3664183"/>
              <a:gd name="connsiteX1620" fmla="*/ 4643075 w 9043663"/>
              <a:gd name="connsiteY1620" fmla="*/ 531747 h 3664183"/>
              <a:gd name="connsiteX1621" fmla="*/ 4657409 w 9043663"/>
              <a:gd name="connsiteY1621" fmla="*/ 519309 h 3664183"/>
              <a:gd name="connsiteX1622" fmla="*/ 4622769 w 9043663"/>
              <a:gd name="connsiteY1622" fmla="*/ 494432 h 3664183"/>
              <a:gd name="connsiteX1623" fmla="*/ 4622769 w 9043663"/>
              <a:gd name="connsiteY1623" fmla="*/ 463335 h 3664183"/>
              <a:gd name="connsiteX1624" fmla="*/ 4718330 w 9043663"/>
              <a:gd name="connsiteY1624" fmla="*/ 404252 h 3664183"/>
              <a:gd name="connsiteX1625" fmla="*/ 4699217 w 9043663"/>
              <a:gd name="connsiteY1625" fmla="*/ 399070 h 3664183"/>
              <a:gd name="connsiteX1626" fmla="*/ 4724302 w 9043663"/>
              <a:gd name="connsiteY1626" fmla="*/ 379375 h 3664183"/>
              <a:gd name="connsiteX1627" fmla="*/ 4756554 w 9043663"/>
              <a:gd name="connsiteY1627" fmla="*/ 379375 h 3664183"/>
              <a:gd name="connsiteX1628" fmla="*/ 4752970 w 9043663"/>
              <a:gd name="connsiteY1628" fmla="*/ 364864 h 3664183"/>
              <a:gd name="connsiteX1629" fmla="*/ 4756554 w 9043663"/>
              <a:gd name="connsiteY1629" fmla="*/ 376266 h 3664183"/>
              <a:gd name="connsiteX1630" fmla="*/ 4769694 w 9043663"/>
              <a:gd name="connsiteY1630" fmla="*/ 376266 h 3664183"/>
              <a:gd name="connsiteX1631" fmla="*/ 4785222 w 9043663"/>
              <a:gd name="connsiteY1631" fmla="*/ 380412 h 3664183"/>
              <a:gd name="connsiteX1632" fmla="*/ 4787611 w 9043663"/>
              <a:gd name="connsiteY1632" fmla="*/ 392850 h 3664183"/>
              <a:gd name="connsiteX1633" fmla="*/ 4708774 w 9043663"/>
              <a:gd name="connsiteY1633" fmla="*/ 438458 h 3664183"/>
              <a:gd name="connsiteX1634" fmla="*/ 4698023 w 9043663"/>
              <a:gd name="connsiteY1634" fmla="*/ 454006 h 3664183"/>
              <a:gd name="connsiteX1635" fmla="*/ 4713552 w 9043663"/>
              <a:gd name="connsiteY1635" fmla="*/ 477847 h 3664183"/>
              <a:gd name="connsiteX1636" fmla="*/ 4707579 w 9043663"/>
              <a:gd name="connsiteY1636" fmla="*/ 499614 h 3664183"/>
              <a:gd name="connsiteX1637" fmla="*/ 4761332 w 9043663"/>
              <a:gd name="connsiteY1637" fmla="*/ 518272 h 3664183"/>
              <a:gd name="connsiteX1638" fmla="*/ 4762527 w 9043663"/>
              <a:gd name="connsiteY1638" fmla="*/ 518272 h 3664183"/>
              <a:gd name="connsiteX1639" fmla="*/ 4861671 w 9043663"/>
              <a:gd name="connsiteY1639" fmla="*/ 502724 h 3664183"/>
              <a:gd name="connsiteX1640" fmla="*/ 4872422 w 9043663"/>
              <a:gd name="connsiteY1640" fmla="*/ 502724 h 3664183"/>
              <a:gd name="connsiteX1641" fmla="*/ 4889145 w 9043663"/>
              <a:gd name="connsiteY1641" fmla="*/ 515162 h 3664183"/>
              <a:gd name="connsiteX1642" fmla="*/ 4873616 w 9043663"/>
              <a:gd name="connsiteY1642" fmla="*/ 523455 h 3664183"/>
              <a:gd name="connsiteX1643" fmla="*/ 4873616 w 9043663"/>
              <a:gd name="connsiteY1643" fmla="*/ 523455 h 3664183"/>
              <a:gd name="connsiteX1644" fmla="*/ 4822252 w 9043663"/>
              <a:gd name="connsiteY1644" fmla="*/ 523455 h 3664183"/>
              <a:gd name="connsiteX1645" fmla="*/ 4764916 w 9043663"/>
              <a:gd name="connsiteY1645" fmla="*/ 531747 h 3664183"/>
              <a:gd name="connsiteX1646" fmla="*/ 4779250 w 9043663"/>
              <a:gd name="connsiteY1646" fmla="*/ 559734 h 3664183"/>
              <a:gd name="connsiteX1647" fmla="*/ 4787611 w 9043663"/>
              <a:gd name="connsiteY1647" fmla="*/ 559734 h 3664183"/>
              <a:gd name="connsiteX1648" fmla="*/ 4790000 w 9043663"/>
              <a:gd name="connsiteY1648" fmla="*/ 570099 h 3664183"/>
              <a:gd name="connsiteX1649" fmla="*/ 4792390 w 9043663"/>
              <a:gd name="connsiteY1649" fmla="*/ 583574 h 3664183"/>
              <a:gd name="connsiteX1650" fmla="*/ 4780444 w 9043663"/>
              <a:gd name="connsiteY1650" fmla="*/ 589794 h 3664183"/>
              <a:gd name="connsiteX1651" fmla="*/ 4748192 w 9043663"/>
              <a:gd name="connsiteY1651" fmla="*/ 569063 h 3664183"/>
              <a:gd name="connsiteX1652" fmla="*/ 4727886 w 9043663"/>
              <a:gd name="connsiteY1652" fmla="*/ 575282 h 3664183"/>
              <a:gd name="connsiteX1653" fmla="*/ 4712357 w 9043663"/>
              <a:gd name="connsiteY1653" fmla="*/ 593940 h 3664183"/>
              <a:gd name="connsiteX1654" fmla="*/ 4707579 w 9043663"/>
              <a:gd name="connsiteY1654" fmla="*/ 617780 h 3664183"/>
              <a:gd name="connsiteX1655" fmla="*/ 4708774 w 9043663"/>
              <a:gd name="connsiteY1655" fmla="*/ 617780 h 3664183"/>
              <a:gd name="connsiteX1656" fmla="*/ 4708774 w 9043663"/>
              <a:gd name="connsiteY1656" fmla="*/ 638511 h 3664183"/>
              <a:gd name="connsiteX1657" fmla="*/ 4668160 w 9043663"/>
              <a:gd name="connsiteY1657" fmla="*/ 660279 h 3664183"/>
              <a:gd name="connsiteX1658" fmla="*/ 4662187 w 9043663"/>
              <a:gd name="connsiteY1658" fmla="*/ 660279 h 3664183"/>
              <a:gd name="connsiteX1659" fmla="*/ 4652631 w 9043663"/>
              <a:gd name="connsiteY1659" fmla="*/ 649913 h 3664183"/>
              <a:gd name="connsiteX1660" fmla="*/ 4548709 w 9043663"/>
              <a:gd name="connsiteY1660" fmla="*/ 676863 h 3664183"/>
              <a:gd name="connsiteX1661" fmla="*/ 4531985 w 9043663"/>
              <a:gd name="connsiteY1661" fmla="*/ 668571 h 3664183"/>
              <a:gd name="connsiteX1662" fmla="*/ 4539153 w 9043663"/>
              <a:gd name="connsiteY1662" fmla="*/ 664425 h 3664183"/>
              <a:gd name="connsiteX1663" fmla="*/ 4530791 w 9043663"/>
              <a:gd name="connsiteY1663" fmla="*/ 653023 h 3664183"/>
              <a:gd name="connsiteX1664" fmla="*/ 4471065 w 9043663"/>
              <a:gd name="connsiteY1664" fmla="*/ 672717 h 3664183"/>
              <a:gd name="connsiteX1665" fmla="*/ 4473454 w 9043663"/>
              <a:gd name="connsiteY1665" fmla="*/ 665461 h 3664183"/>
              <a:gd name="connsiteX1666" fmla="*/ 4441202 w 9043663"/>
              <a:gd name="connsiteY1666" fmla="*/ 649913 h 3664183"/>
              <a:gd name="connsiteX1667" fmla="*/ 4454342 w 9043663"/>
              <a:gd name="connsiteY1667" fmla="*/ 619853 h 3664183"/>
              <a:gd name="connsiteX1668" fmla="*/ 4456731 w 9043663"/>
              <a:gd name="connsiteY1668" fmla="*/ 619853 h 3664183"/>
              <a:gd name="connsiteX1669" fmla="*/ 4454342 w 9043663"/>
              <a:gd name="connsiteY1669" fmla="*/ 625036 h 3664183"/>
              <a:gd name="connsiteX1670" fmla="*/ 4451953 w 9043663"/>
              <a:gd name="connsiteY1670" fmla="*/ 630219 h 3664183"/>
              <a:gd name="connsiteX1671" fmla="*/ 4451953 w 9043663"/>
              <a:gd name="connsiteY1671" fmla="*/ 633329 h 3664183"/>
              <a:gd name="connsiteX1672" fmla="*/ 4451953 w 9043663"/>
              <a:gd name="connsiteY1672" fmla="*/ 633329 h 3664183"/>
              <a:gd name="connsiteX1673" fmla="*/ 4451953 w 9043663"/>
              <a:gd name="connsiteY1673" fmla="*/ 646803 h 3664183"/>
              <a:gd name="connsiteX1674" fmla="*/ 4471065 w 9043663"/>
              <a:gd name="connsiteY1674" fmla="*/ 646803 h 3664183"/>
              <a:gd name="connsiteX1675" fmla="*/ 4457926 w 9043663"/>
              <a:gd name="connsiteY1675" fmla="*/ 619853 h 3664183"/>
              <a:gd name="connsiteX1676" fmla="*/ 4469871 w 9043663"/>
              <a:gd name="connsiteY1676" fmla="*/ 617780 h 3664183"/>
              <a:gd name="connsiteX1677" fmla="*/ 4472260 w 9043663"/>
              <a:gd name="connsiteY1677" fmla="*/ 617780 h 3664183"/>
              <a:gd name="connsiteX1678" fmla="*/ 4472260 w 9043663"/>
              <a:gd name="connsiteY1678" fmla="*/ 605342 h 3664183"/>
              <a:gd name="connsiteX1679" fmla="*/ 4460315 w 9043663"/>
              <a:gd name="connsiteY1679" fmla="*/ 605342 h 3664183"/>
              <a:gd name="connsiteX1680" fmla="*/ 4466287 w 9043663"/>
              <a:gd name="connsiteY1680" fmla="*/ 573209 h 3664183"/>
              <a:gd name="connsiteX1681" fmla="*/ 4466287 w 9043663"/>
              <a:gd name="connsiteY1681" fmla="*/ 573209 h 3664183"/>
              <a:gd name="connsiteX1682" fmla="*/ 4461509 w 9043663"/>
              <a:gd name="connsiteY1682" fmla="*/ 574245 h 3664183"/>
              <a:gd name="connsiteX1683" fmla="*/ 4412534 w 9043663"/>
              <a:gd name="connsiteY1683" fmla="*/ 587721 h 3664183"/>
              <a:gd name="connsiteX1684" fmla="*/ 4400589 w 9043663"/>
              <a:gd name="connsiteY1684" fmla="*/ 606378 h 3664183"/>
              <a:gd name="connsiteX1685" fmla="*/ 4400589 w 9043663"/>
              <a:gd name="connsiteY1685" fmla="*/ 607415 h 3664183"/>
              <a:gd name="connsiteX1686" fmla="*/ 4400589 w 9043663"/>
              <a:gd name="connsiteY1686" fmla="*/ 633329 h 3664183"/>
              <a:gd name="connsiteX1687" fmla="*/ 4412534 w 9043663"/>
              <a:gd name="connsiteY1687" fmla="*/ 638511 h 3664183"/>
              <a:gd name="connsiteX1688" fmla="*/ 4417312 w 9043663"/>
              <a:gd name="connsiteY1688" fmla="*/ 649913 h 3664183"/>
              <a:gd name="connsiteX1689" fmla="*/ 4412534 w 9043663"/>
              <a:gd name="connsiteY1689" fmla="*/ 649913 h 3664183"/>
              <a:gd name="connsiteX1690" fmla="*/ 4420896 w 9043663"/>
              <a:gd name="connsiteY1690" fmla="*/ 660279 h 3664183"/>
              <a:gd name="connsiteX1691" fmla="*/ 4407756 w 9043663"/>
              <a:gd name="connsiteY1691" fmla="*/ 683083 h 3664183"/>
              <a:gd name="connsiteX1692" fmla="*/ 4385060 w 9043663"/>
              <a:gd name="connsiteY1692" fmla="*/ 678936 h 3664183"/>
              <a:gd name="connsiteX1693" fmla="*/ 4387449 w 9043663"/>
              <a:gd name="connsiteY1693" fmla="*/ 674790 h 3664183"/>
              <a:gd name="connsiteX1694" fmla="*/ 4330113 w 9043663"/>
              <a:gd name="connsiteY1694" fmla="*/ 687229 h 3664183"/>
              <a:gd name="connsiteX1695" fmla="*/ 4342058 w 9043663"/>
              <a:gd name="connsiteY1695" fmla="*/ 711069 h 3664183"/>
              <a:gd name="connsiteX1696" fmla="*/ 4333696 w 9043663"/>
              <a:gd name="connsiteY1696" fmla="*/ 714179 h 3664183"/>
              <a:gd name="connsiteX1697" fmla="*/ 4324140 w 9043663"/>
              <a:gd name="connsiteY1697" fmla="*/ 710033 h 3664183"/>
              <a:gd name="connsiteX1698" fmla="*/ 4324140 w 9043663"/>
              <a:gd name="connsiteY1698" fmla="*/ 692412 h 3664183"/>
              <a:gd name="connsiteX1699" fmla="*/ 4313390 w 9043663"/>
              <a:gd name="connsiteY1699" fmla="*/ 702777 h 3664183"/>
              <a:gd name="connsiteX1700" fmla="*/ 4279943 w 9043663"/>
              <a:gd name="connsiteY1700" fmla="*/ 741129 h 3664183"/>
              <a:gd name="connsiteX1701" fmla="*/ 4281138 w 9043663"/>
              <a:gd name="connsiteY1701" fmla="*/ 741129 h 3664183"/>
              <a:gd name="connsiteX1702" fmla="*/ 4266804 w 9043663"/>
              <a:gd name="connsiteY1702" fmla="*/ 748385 h 3664183"/>
              <a:gd name="connsiteX1703" fmla="*/ 4267998 w 9043663"/>
              <a:gd name="connsiteY1703" fmla="*/ 749421 h 3664183"/>
              <a:gd name="connsiteX1704" fmla="*/ 4239330 w 9043663"/>
              <a:gd name="connsiteY1704" fmla="*/ 754604 h 3664183"/>
              <a:gd name="connsiteX1705" fmla="*/ 4229774 w 9043663"/>
              <a:gd name="connsiteY1705" fmla="*/ 775335 h 3664183"/>
              <a:gd name="connsiteX1706" fmla="*/ 4193938 w 9043663"/>
              <a:gd name="connsiteY1706" fmla="*/ 783627 h 3664183"/>
              <a:gd name="connsiteX1707" fmla="*/ 4191549 w 9043663"/>
              <a:gd name="connsiteY1707" fmla="*/ 799176 h 3664183"/>
              <a:gd name="connsiteX1708" fmla="*/ 4168853 w 9043663"/>
              <a:gd name="connsiteY1708" fmla="*/ 799176 h 3664183"/>
              <a:gd name="connsiteX1709" fmla="*/ 4162881 w 9043663"/>
              <a:gd name="connsiteY1709" fmla="*/ 783627 h 3664183"/>
              <a:gd name="connsiteX1710" fmla="*/ 4141379 w 9043663"/>
              <a:gd name="connsiteY1710" fmla="*/ 783627 h 3664183"/>
              <a:gd name="connsiteX1711" fmla="*/ 4150935 w 9043663"/>
              <a:gd name="connsiteY1711" fmla="*/ 814724 h 3664183"/>
              <a:gd name="connsiteX1712" fmla="*/ 4128240 w 9043663"/>
              <a:gd name="connsiteY1712" fmla="*/ 816797 h 3664183"/>
              <a:gd name="connsiteX1713" fmla="*/ 4112711 w 9043663"/>
              <a:gd name="connsiteY1713" fmla="*/ 808504 h 3664183"/>
              <a:gd name="connsiteX1714" fmla="*/ 4067319 w 9043663"/>
              <a:gd name="connsiteY1714" fmla="*/ 816797 h 3664183"/>
              <a:gd name="connsiteX1715" fmla="*/ 4067319 w 9043663"/>
              <a:gd name="connsiteY1715" fmla="*/ 836491 h 3664183"/>
              <a:gd name="connsiteX1716" fmla="*/ 4125851 w 9043663"/>
              <a:gd name="connsiteY1716" fmla="*/ 846857 h 3664183"/>
              <a:gd name="connsiteX1717" fmla="*/ 4152130 w 9043663"/>
              <a:gd name="connsiteY1717" fmla="*/ 878989 h 3664183"/>
              <a:gd name="connsiteX1718" fmla="*/ 4158103 w 9043663"/>
              <a:gd name="connsiteY1718" fmla="*/ 888318 h 3664183"/>
              <a:gd name="connsiteX1719" fmla="*/ 4143768 w 9043663"/>
              <a:gd name="connsiteY1719" fmla="*/ 941182 h 3664183"/>
              <a:gd name="connsiteX1720" fmla="*/ 4138990 w 9043663"/>
              <a:gd name="connsiteY1720" fmla="*/ 952584 h 3664183"/>
              <a:gd name="connsiteX1721" fmla="*/ 4069709 w 9043663"/>
              <a:gd name="connsiteY1721" fmla="*/ 952584 h 3664183"/>
              <a:gd name="connsiteX1722" fmla="*/ 3976536 w 9043663"/>
              <a:gd name="connsiteY1722" fmla="*/ 942219 h 3664183"/>
              <a:gd name="connsiteX1723" fmla="*/ 3949063 w 9043663"/>
              <a:gd name="connsiteY1723" fmla="*/ 955694 h 3664183"/>
              <a:gd name="connsiteX1724" fmla="*/ 3940701 w 9043663"/>
              <a:gd name="connsiteY1724" fmla="*/ 962949 h 3664183"/>
              <a:gd name="connsiteX1725" fmla="*/ 3952646 w 9043663"/>
              <a:gd name="connsiteY1725" fmla="*/ 991973 h 3664183"/>
              <a:gd name="connsiteX1726" fmla="*/ 3950257 w 9043663"/>
              <a:gd name="connsiteY1726" fmla="*/ 991973 h 3664183"/>
              <a:gd name="connsiteX1727" fmla="*/ 3950257 w 9043663"/>
              <a:gd name="connsiteY1727" fmla="*/ 1012704 h 3664183"/>
              <a:gd name="connsiteX1728" fmla="*/ 3922783 w 9043663"/>
              <a:gd name="connsiteY1728" fmla="*/ 1081116 h 3664183"/>
              <a:gd name="connsiteX1729" fmla="*/ 3940701 w 9043663"/>
              <a:gd name="connsiteY1729" fmla="*/ 1091481 h 3664183"/>
              <a:gd name="connsiteX1730" fmla="*/ 3928756 w 9043663"/>
              <a:gd name="connsiteY1730" fmla="*/ 1128797 h 3664183"/>
              <a:gd name="connsiteX1731" fmla="*/ 3986093 w 9043663"/>
              <a:gd name="connsiteY1731" fmla="*/ 1128797 h 3664183"/>
              <a:gd name="connsiteX1732" fmla="*/ 3989676 w 9043663"/>
              <a:gd name="connsiteY1732" fmla="*/ 1121541 h 3664183"/>
              <a:gd name="connsiteX1733" fmla="*/ 4025512 w 9043663"/>
              <a:gd name="connsiteY1733" fmla="*/ 1152637 h 3664183"/>
              <a:gd name="connsiteX1734" fmla="*/ 4054180 w 9043663"/>
              <a:gd name="connsiteY1734" fmla="*/ 1136052 h 3664183"/>
              <a:gd name="connsiteX1735" fmla="*/ 4117489 w 9043663"/>
              <a:gd name="connsiteY1735" fmla="*/ 1136052 h 3664183"/>
              <a:gd name="connsiteX1736" fmla="*/ 4189160 w 9043663"/>
              <a:gd name="connsiteY1736" fmla="*/ 1080079 h 3664183"/>
              <a:gd name="connsiteX1737" fmla="*/ 4173631 w 9043663"/>
              <a:gd name="connsiteY1737" fmla="*/ 1056238 h 3664183"/>
              <a:gd name="connsiteX1738" fmla="*/ 4210661 w 9043663"/>
              <a:gd name="connsiteY1738" fmla="*/ 1016850 h 3664183"/>
              <a:gd name="connsiteX1739" fmla="*/ 4267998 w 9043663"/>
              <a:gd name="connsiteY1739" fmla="*/ 993009 h 3664183"/>
              <a:gd name="connsiteX1740" fmla="*/ 4267998 w 9043663"/>
              <a:gd name="connsiteY1740" fmla="*/ 963986 h 3664183"/>
              <a:gd name="connsiteX1741" fmla="*/ 4289499 w 9043663"/>
              <a:gd name="connsiteY1741" fmla="*/ 952584 h 3664183"/>
              <a:gd name="connsiteX1742" fmla="*/ 4355198 w 9043663"/>
              <a:gd name="connsiteY1742" fmla="*/ 966059 h 3664183"/>
              <a:gd name="connsiteX1743" fmla="*/ 4383866 w 9043663"/>
              <a:gd name="connsiteY1743" fmla="*/ 943255 h 3664183"/>
              <a:gd name="connsiteX1744" fmla="*/ 4386255 w 9043663"/>
              <a:gd name="connsiteY1744" fmla="*/ 945328 h 3664183"/>
              <a:gd name="connsiteX1745" fmla="*/ 4417312 w 9043663"/>
              <a:gd name="connsiteY1745" fmla="*/ 931853 h 3664183"/>
              <a:gd name="connsiteX1746" fmla="*/ 4450759 w 9043663"/>
              <a:gd name="connsiteY1746" fmla="*/ 941182 h 3664183"/>
              <a:gd name="connsiteX1747" fmla="*/ 4474649 w 9043663"/>
              <a:gd name="connsiteY1747" fmla="*/ 985754 h 3664183"/>
              <a:gd name="connsiteX1748" fmla="*/ 4487789 w 9043663"/>
              <a:gd name="connsiteY1748" fmla="*/ 985754 h 3664183"/>
              <a:gd name="connsiteX1749" fmla="*/ 4514068 w 9043663"/>
              <a:gd name="connsiteY1749" fmla="*/ 1008557 h 3664183"/>
              <a:gd name="connsiteX1750" fmla="*/ 4541542 w 9043663"/>
              <a:gd name="connsiteY1750" fmla="*/ 1016850 h 3664183"/>
              <a:gd name="connsiteX1751" fmla="*/ 4600073 w 9043663"/>
              <a:gd name="connsiteY1751" fmla="*/ 1050019 h 3664183"/>
              <a:gd name="connsiteX1752" fmla="*/ 4610823 w 9043663"/>
              <a:gd name="connsiteY1752" fmla="*/ 1079043 h 3664183"/>
              <a:gd name="connsiteX1753" fmla="*/ 4601267 w 9043663"/>
              <a:gd name="connsiteY1753" fmla="*/ 1099773 h 3664183"/>
              <a:gd name="connsiteX1754" fmla="*/ 4603656 w 9043663"/>
              <a:gd name="connsiteY1754" fmla="*/ 1093554 h 3664183"/>
              <a:gd name="connsiteX1755" fmla="*/ 4560654 w 9043663"/>
              <a:gd name="connsiteY1755" fmla="*/ 1099773 h 3664183"/>
              <a:gd name="connsiteX1756" fmla="*/ 4521235 w 9043663"/>
              <a:gd name="connsiteY1756" fmla="*/ 1096664 h 3664183"/>
              <a:gd name="connsiteX1757" fmla="*/ 4509290 w 9043663"/>
              <a:gd name="connsiteY1757" fmla="*/ 1099773 h 3664183"/>
              <a:gd name="connsiteX1758" fmla="*/ 4516457 w 9043663"/>
              <a:gd name="connsiteY1758" fmla="*/ 1116358 h 3664183"/>
              <a:gd name="connsiteX1759" fmla="*/ 4585739 w 9043663"/>
              <a:gd name="connsiteY1759" fmla="*/ 1138126 h 3664183"/>
              <a:gd name="connsiteX1760" fmla="*/ 4597684 w 9043663"/>
              <a:gd name="connsiteY1760" fmla="*/ 1105993 h 3664183"/>
              <a:gd name="connsiteX1761" fmla="*/ 4615601 w 9043663"/>
              <a:gd name="connsiteY1761" fmla="*/ 1105993 h 3664183"/>
              <a:gd name="connsiteX1762" fmla="*/ 4625158 w 9043663"/>
              <a:gd name="connsiteY1762" fmla="*/ 1079043 h 3664183"/>
              <a:gd name="connsiteX1763" fmla="*/ 4640686 w 9043663"/>
              <a:gd name="connsiteY1763" fmla="*/ 1073860 h 3664183"/>
              <a:gd name="connsiteX1764" fmla="*/ 4640686 w 9043663"/>
              <a:gd name="connsiteY1764" fmla="*/ 1060385 h 3664183"/>
              <a:gd name="connsiteX1765" fmla="*/ 4626352 w 9043663"/>
              <a:gd name="connsiteY1765" fmla="*/ 1053129 h 3664183"/>
              <a:gd name="connsiteX1766" fmla="*/ 4635908 w 9043663"/>
              <a:gd name="connsiteY1766" fmla="*/ 1036544 h 3664183"/>
              <a:gd name="connsiteX1767" fmla="*/ 4671744 w 9043663"/>
              <a:gd name="connsiteY1767" fmla="*/ 1052092 h 3664183"/>
              <a:gd name="connsiteX1768" fmla="*/ 4681300 w 9043663"/>
              <a:gd name="connsiteY1768" fmla="*/ 1039654 h 3664183"/>
              <a:gd name="connsiteX1769" fmla="*/ 4607240 w 9043663"/>
              <a:gd name="connsiteY1769" fmla="*/ 1003375 h 3664183"/>
              <a:gd name="connsiteX1770" fmla="*/ 4621574 w 9043663"/>
              <a:gd name="connsiteY1770" fmla="*/ 990936 h 3664183"/>
              <a:gd name="connsiteX1771" fmla="*/ 4591711 w 9043663"/>
              <a:gd name="connsiteY1771" fmla="*/ 990936 h 3664183"/>
              <a:gd name="connsiteX1772" fmla="*/ 4560654 w 9043663"/>
              <a:gd name="connsiteY1772" fmla="*/ 978498 h 3664183"/>
              <a:gd name="connsiteX1773" fmla="*/ 4546320 w 9043663"/>
              <a:gd name="connsiteY1773" fmla="*/ 950511 h 3664183"/>
              <a:gd name="connsiteX1774" fmla="*/ 4514068 w 9043663"/>
              <a:gd name="connsiteY1774" fmla="*/ 926670 h 3664183"/>
              <a:gd name="connsiteX1775" fmla="*/ 4511679 w 9043663"/>
              <a:gd name="connsiteY1775" fmla="*/ 893501 h 3664183"/>
              <a:gd name="connsiteX1776" fmla="*/ 4531985 w 9043663"/>
              <a:gd name="connsiteY1776" fmla="*/ 889355 h 3664183"/>
              <a:gd name="connsiteX1777" fmla="*/ 4537958 w 9043663"/>
              <a:gd name="connsiteY1777" fmla="*/ 892465 h 3664183"/>
              <a:gd name="connsiteX1778" fmla="*/ 4537958 w 9043663"/>
              <a:gd name="connsiteY1778" fmla="*/ 896611 h 3664183"/>
              <a:gd name="connsiteX1779" fmla="*/ 4542736 w 9043663"/>
              <a:gd name="connsiteY1779" fmla="*/ 897647 h 3664183"/>
              <a:gd name="connsiteX1780" fmla="*/ 4548709 w 9043663"/>
              <a:gd name="connsiteY1780" fmla="*/ 920451 h 3664183"/>
              <a:gd name="connsiteX1781" fmla="*/ 4559459 w 9043663"/>
              <a:gd name="connsiteY1781" fmla="*/ 901793 h 3664183"/>
              <a:gd name="connsiteX1782" fmla="*/ 4571405 w 9043663"/>
              <a:gd name="connsiteY1782" fmla="*/ 912159 h 3664183"/>
              <a:gd name="connsiteX1783" fmla="*/ 4583350 w 9043663"/>
              <a:gd name="connsiteY1783" fmla="*/ 935999 h 3664183"/>
              <a:gd name="connsiteX1784" fmla="*/ 4662187 w 9043663"/>
              <a:gd name="connsiteY1784" fmla="*/ 975388 h 3664183"/>
              <a:gd name="connsiteX1785" fmla="*/ 4694439 w 9043663"/>
              <a:gd name="connsiteY1785" fmla="*/ 993009 h 3664183"/>
              <a:gd name="connsiteX1786" fmla="*/ 4694439 w 9043663"/>
              <a:gd name="connsiteY1786" fmla="*/ 1036544 h 3664183"/>
              <a:gd name="connsiteX1787" fmla="*/ 4719524 w 9043663"/>
              <a:gd name="connsiteY1787" fmla="*/ 1055202 h 3664183"/>
              <a:gd name="connsiteX1788" fmla="*/ 4750582 w 9043663"/>
              <a:gd name="connsiteY1788" fmla="*/ 1092517 h 3664183"/>
              <a:gd name="connsiteX1789" fmla="*/ 4774472 w 9043663"/>
              <a:gd name="connsiteY1789" fmla="*/ 1092517 h 3664183"/>
              <a:gd name="connsiteX1790" fmla="*/ 4749387 w 9043663"/>
              <a:gd name="connsiteY1790" fmla="*/ 1108066 h 3664183"/>
              <a:gd name="connsiteX1791" fmla="*/ 4766110 w 9043663"/>
              <a:gd name="connsiteY1791" fmla="*/ 1119468 h 3664183"/>
              <a:gd name="connsiteX1792" fmla="*/ 4769694 w 9043663"/>
              <a:gd name="connsiteY1792" fmla="*/ 1138126 h 3664183"/>
              <a:gd name="connsiteX1793" fmla="*/ 4791195 w 9043663"/>
              <a:gd name="connsiteY1793" fmla="*/ 1150564 h 3664183"/>
              <a:gd name="connsiteX1794" fmla="*/ 4797168 w 9043663"/>
              <a:gd name="connsiteY1794" fmla="*/ 1141235 h 3664183"/>
              <a:gd name="connsiteX1795" fmla="*/ 4816280 w 9043663"/>
              <a:gd name="connsiteY1795" fmla="*/ 1157820 h 3664183"/>
              <a:gd name="connsiteX1796" fmla="*/ 4801946 w 9043663"/>
              <a:gd name="connsiteY1796" fmla="*/ 1124650 h 3664183"/>
              <a:gd name="connsiteX1797" fmla="*/ 4813891 w 9043663"/>
              <a:gd name="connsiteY1797" fmla="*/ 1129833 h 3664183"/>
              <a:gd name="connsiteX1798" fmla="*/ 4800751 w 9043663"/>
              <a:gd name="connsiteY1798" fmla="*/ 1103920 h 3664183"/>
              <a:gd name="connsiteX1799" fmla="*/ 4775666 w 9043663"/>
              <a:gd name="connsiteY1799" fmla="*/ 1092517 h 3664183"/>
              <a:gd name="connsiteX1800" fmla="*/ 4792390 w 9043663"/>
              <a:gd name="connsiteY1800" fmla="*/ 1092517 h 3664183"/>
              <a:gd name="connsiteX1801" fmla="*/ 4835392 w 9043663"/>
              <a:gd name="connsiteY1801" fmla="*/ 1112212 h 3664183"/>
              <a:gd name="connsiteX1802" fmla="*/ 4835392 w 9043663"/>
              <a:gd name="connsiteY1802" fmla="*/ 1097700 h 3664183"/>
              <a:gd name="connsiteX1803" fmla="*/ 4858088 w 9043663"/>
              <a:gd name="connsiteY1803" fmla="*/ 1101846 h 3664183"/>
              <a:gd name="connsiteX1804" fmla="*/ 4816280 w 9043663"/>
              <a:gd name="connsiteY1804" fmla="*/ 1071787 h 3664183"/>
              <a:gd name="connsiteX1805" fmla="*/ 4787611 w 9043663"/>
              <a:gd name="connsiteY1805" fmla="*/ 1043800 h 3664183"/>
              <a:gd name="connsiteX1806" fmla="*/ 4790000 w 9043663"/>
              <a:gd name="connsiteY1806" fmla="*/ 1030325 h 3664183"/>
              <a:gd name="connsiteX1807" fmla="*/ 4817474 w 9043663"/>
              <a:gd name="connsiteY1807" fmla="*/ 1043800 h 3664183"/>
              <a:gd name="connsiteX1808" fmla="*/ 4817474 w 9043663"/>
              <a:gd name="connsiteY1808" fmla="*/ 1028252 h 3664183"/>
              <a:gd name="connsiteX1809" fmla="*/ 4833003 w 9043663"/>
              <a:gd name="connsiteY1809" fmla="*/ 1022033 h 3664183"/>
              <a:gd name="connsiteX1810" fmla="*/ 4872422 w 9043663"/>
              <a:gd name="connsiteY1810" fmla="*/ 1024106 h 3664183"/>
              <a:gd name="connsiteX1811" fmla="*/ 4883172 w 9043663"/>
              <a:gd name="connsiteY1811" fmla="*/ 1035508 h 3664183"/>
              <a:gd name="connsiteX1812" fmla="*/ 4883172 w 9043663"/>
              <a:gd name="connsiteY1812" fmla="*/ 1035508 h 3664183"/>
              <a:gd name="connsiteX1813" fmla="*/ 4883172 w 9043663"/>
              <a:gd name="connsiteY1813" fmla="*/ 1035508 h 3664183"/>
              <a:gd name="connsiteX1814" fmla="*/ 4885562 w 9043663"/>
              <a:gd name="connsiteY1814" fmla="*/ 1037581 h 3664183"/>
              <a:gd name="connsiteX1815" fmla="*/ 4885562 w 9043663"/>
              <a:gd name="connsiteY1815" fmla="*/ 1034471 h 3664183"/>
              <a:gd name="connsiteX1816" fmla="*/ 4890340 w 9043663"/>
              <a:gd name="connsiteY1816" fmla="*/ 1032398 h 3664183"/>
              <a:gd name="connsiteX1817" fmla="*/ 4879589 w 9043663"/>
              <a:gd name="connsiteY1817" fmla="*/ 1048983 h 3664183"/>
              <a:gd name="connsiteX1818" fmla="*/ 4886756 w 9043663"/>
              <a:gd name="connsiteY1818" fmla="*/ 1044837 h 3664183"/>
              <a:gd name="connsiteX1819" fmla="*/ 4883172 w 9043663"/>
              <a:gd name="connsiteY1819" fmla="*/ 1063494 h 3664183"/>
              <a:gd name="connsiteX1820" fmla="*/ 4908257 w 9043663"/>
              <a:gd name="connsiteY1820" fmla="*/ 1058312 h 3664183"/>
              <a:gd name="connsiteX1821" fmla="*/ 4910646 w 9043663"/>
              <a:gd name="connsiteY1821" fmla="*/ 1082152 h 3664183"/>
              <a:gd name="connsiteX1822" fmla="*/ 4897507 w 9043663"/>
              <a:gd name="connsiteY1822" fmla="*/ 1076969 h 3664183"/>
              <a:gd name="connsiteX1823" fmla="*/ 4895118 w 9043663"/>
              <a:gd name="connsiteY1823" fmla="*/ 1086298 h 3664183"/>
              <a:gd name="connsiteX1824" fmla="*/ 4892729 w 9043663"/>
              <a:gd name="connsiteY1824" fmla="*/ 1080079 h 3664183"/>
              <a:gd name="connsiteX1825" fmla="*/ 4886756 w 9043663"/>
              <a:gd name="connsiteY1825" fmla="*/ 1081116 h 3664183"/>
              <a:gd name="connsiteX1826" fmla="*/ 4887951 w 9043663"/>
              <a:gd name="connsiteY1826" fmla="*/ 1083189 h 3664183"/>
              <a:gd name="connsiteX1827" fmla="*/ 4887951 w 9043663"/>
              <a:gd name="connsiteY1827" fmla="*/ 1093554 h 3664183"/>
              <a:gd name="connsiteX1828" fmla="*/ 4890340 w 9043663"/>
              <a:gd name="connsiteY1828" fmla="*/ 1093554 h 3664183"/>
              <a:gd name="connsiteX1829" fmla="*/ 4891534 w 9043663"/>
              <a:gd name="connsiteY1829" fmla="*/ 1096664 h 3664183"/>
              <a:gd name="connsiteX1830" fmla="*/ 4897507 w 9043663"/>
              <a:gd name="connsiteY1830" fmla="*/ 1095627 h 3664183"/>
              <a:gd name="connsiteX1831" fmla="*/ 4897507 w 9043663"/>
              <a:gd name="connsiteY1831" fmla="*/ 1093554 h 3664183"/>
              <a:gd name="connsiteX1832" fmla="*/ 4920202 w 9043663"/>
              <a:gd name="connsiteY1832" fmla="*/ 1099773 h 3664183"/>
              <a:gd name="connsiteX1833" fmla="*/ 4917814 w 9043663"/>
              <a:gd name="connsiteY1833" fmla="*/ 1109102 h 3664183"/>
              <a:gd name="connsiteX1834" fmla="*/ 4928564 w 9043663"/>
              <a:gd name="connsiteY1834" fmla="*/ 1118431 h 3664183"/>
              <a:gd name="connsiteX1835" fmla="*/ 4914230 w 9043663"/>
              <a:gd name="connsiteY1835" fmla="*/ 1126723 h 3664183"/>
              <a:gd name="connsiteX1836" fmla="*/ 4945287 w 9043663"/>
              <a:gd name="connsiteY1836" fmla="*/ 1126723 h 3664183"/>
              <a:gd name="connsiteX1837" fmla="*/ 4940509 w 9043663"/>
              <a:gd name="connsiteY1837" fmla="*/ 1132943 h 3664183"/>
              <a:gd name="connsiteX1838" fmla="*/ 4951260 w 9043663"/>
              <a:gd name="connsiteY1838" fmla="*/ 1137089 h 3664183"/>
              <a:gd name="connsiteX1839" fmla="*/ 4928564 w 9043663"/>
              <a:gd name="connsiteY1839" fmla="*/ 1149527 h 3664183"/>
              <a:gd name="connsiteX1840" fmla="*/ 4939315 w 9043663"/>
              <a:gd name="connsiteY1840" fmla="*/ 1158856 h 3664183"/>
              <a:gd name="connsiteX1841" fmla="*/ 4954843 w 9043663"/>
              <a:gd name="connsiteY1841" fmla="*/ 1138126 h 3664183"/>
              <a:gd name="connsiteX1842" fmla="*/ 4995457 w 9043663"/>
              <a:gd name="connsiteY1842" fmla="*/ 1152637 h 3664183"/>
              <a:gd name="connsiteX1843" fmla="*/ 5015763 w 9043663"/>
              <a:gd name="connsiteY1843" fmla="*/ 1144345 h 3664183"/>
              <a:gd name="connsiteX1844" fmla="*/ 5021736 w 9043663"/>
              <a:gd name="connsiteY1844" fmla="*/ 1132943 h 3664183"/>
              <a:gd name="connsiteX1845" fmla="*/ 5033681 w 9043663"/>
              <a:gd name="connsiteY1845" fmla="*/ 1135016 h 3664183"/>
              <a:gd name="connsiteX1846" fmla="*/ 5076684 w 9043663"/>
              <a:gd name="connsiteY1846" fmla="*/ 1158856 h 3664183"/>
              <a:gd name="connsiteX1847" fmla="*/ 5101769 w 9043663"/>
              <a:gd name="connsiteY1847" fmla="*/ 1153674 h 3664183"/>
              <a:gd name="connsiteX1848" fmla="*/ 5128048 w 9043663"/>
              <a:gd name="connsiteY1848" fmla="*/ 1132943 h 3664183"/>
              <a:gd name="connsiteX1849" fmla="*/ 5154327 w 9043663"/>
              <a:gd name="connsiteY1849" fmla="*/ 1140199 h 3664183"/>
              <a:gd name="connsiteX1850" fmla="*/ 5162689 w 9043663"/>
              <a:gd name="connsiteY1850" fmla="*/ 1135016 h 3664183"/>
              <a:gd name="connsiteX1851" fmla="*/ 5162689 w 9043663"/>
              <a:gd name="connsiteY1851" fmla="*/ 1152637 h 3664183"/>
              <a:gd name="connsiteX1852" fmla="*/ 5160300 w 9043663"/>
              <a:gd name="connsiteY1852" fmla="*/ 1154710 h 3664183"/>
              <a:gd name="connsiteX1853" fmla="*/ 5160300 w 9043663"/>
              <a:gd name="connsiteY1853" fmla="*/ 1197209 h 3664183"/>
              <a:gd name="connsiteX1854" fmla="*/ 5160300 w 9043663"/>
              <a:gd name="connsiteY1854" fmla="*/ 1197209 h 3664183"/>
              <a:gd name="connsiteX1855" fmla="*/ 5143577 w 9043663"/>
              <a:gd name="connsiteY1855" fmla="*/ 1232451 h 3664183"/>
              <a:gd name="connsiteX1856" fmla="*/ 5143577 w 9043663"/>
              <a:gd name="connsiteY1856" fmla="*/ 1232451 h 3664183"/>
              <a:gd name="connsiteX1857" fmla="*/ 5143577 w 9043663"/>
              <a:gd name="connsiteY1857" fmla="*/ 1232451 h 3664183"/>
              <a:gd name="connsiteX1858" fmla="*/ 5143577 w 9043663"/>
              <a:gd name="connsiteY1858" fmla="*/ 1232451 h 3664183"/>
              <a:gd name="connsiteX1859" fmla="*/ 5143577 w 9043663"/>
              <a:gd name="connsiteY1859" fmla="*/ 1233488 h 3664183"/>
              <a:gd name="connsiteX1860" fmla="*/ 5139993 w 9043663"/>
              <a:gd name="connsiteY1860" fmla="*/ 1239707 h 3664183"/>
              <a:gd name="connsiteX1861" fmla="*/ 5141187 w 9043663"/>
              <a:gd name="connsiteY1861" fmla="*/ 1238670 h 3664183"/>
              <a:gd name="connsiteX1862" fmla="*/ 5130437 w 9043663"/>
              <a:gd name="connsiteY1862" fmla="*/ 1272876 h 3664183"/>
              <a:gd name="connsiteX1863" fmla="*/ 5128048 w 9043663"/>
              <a:gd name="connsiteY1863" fmla="*/ 1280132 h 3664183"/>
              <a:gd name="connsiteX1864" fmla="*/ 5128048 w 9043663"/>
              <a:gd name="connsiteY1864" fmla="*/ 1280132 h 3664183"/>
              <a:gd name="connsiteX1865" fmla="*/ 5126853 w 9043663"/>
              <a:gd name="connsiteY1865" fmla="*/ 1278059 h 3664183"/>
              <a:gd name="connsiteX1866" fmla="*/ 5087434 w 9043663"/>
              <a:gd name="connsiteY1866" fmla="*/ 1286351 h 3664183"/>
              <a:gd name="connsiteX1867" fmla="*/ 5073100 w 9043663"/>
              <a:gd name="connsiteY1867" fmla="*/ 1277022 h 3664183"/>
              <a:gd name="connsiteX1868" fmla="*/ 5069517 w 9043663"/>
              <a:gd name="connsiteY1868" fmla="*/ 1288424 h 3664183"/>
              <a:gd name="connsiteX1869" fmla="*/ 5062349 w 9043663"/>
              <a:gd name="connsiteY1869" fmla="*/ 1287388 h 3664183"/>
              <a:gd name="connsiteX1870" fmla="*/ 5062349 w 9043663"/>
              <a:gd name="connsiteY1870" fmla="*/ 1277022 h 3664183"/>
              <a:gd name="connsiteX1871" fmla="*/ 5044432 w 9043663"/>
              <a:gd name="connsiteY1871" fmla="*/ 1273913 h 3664183"/>
              <a:gd name="connsiteX1872" fmla="*/ 4982317 w 9043663"/>
              <a:gd name="connsiteY1872" fmla="*/ 1289461 h 3664183"/>
              <a:gd name="connsiteX1873" fmla="*/ 4922592 w 9043663"/>
              <a:gd name="connsiteY1873" fmla="*/ 1277022 h 3664183"/>
              <a:gd name="connsiteX1874" fmla="*/ 4877200 w 9043663"/>
              <a:gd name="connsiteY1874" fmla="*/ 1274949 h 3664183"/>
              <a:gd name="connsiteX1875" fmla="*/ 4871227 w 9043663"/>
              <a:gd name="connsiteY1875" fmla="*/ 1258365 h 3664183"/>
              <a:gd name="connsiteX1876" fmla="*/ 4870033 w 9043663"/>
              <a:gd name="connsiteY1876" fmla="*/ 1266657 h 3664183"/>
              <a:gd name="connsiteX1877" fmla="*/ 4818669 w 9043663"/>
              <a:gd name="connsiteY1877" fmla="*/ 1256292 h 3664183"/>
              <a:gd name="connsiteX1878" fmla="*/ 4816280 w 9043663"/>
              <a:gd name="connsiteY1878" fmla="*/ 1245926 h 3664183"/>
              <a:gd name="connsiteX1879" fmla="*/ 4778055 w 9043663"/>
              <a:gd name="connsiteY1879" fmla="*/ 1237634 h 3664183"/>
              <a:gd name="connsiteX1880" fmla="*/ 4730275 w 9043663"/>
              <a:gd name="connsiteY1880" fmla="*/ 1257328 h 3664183"/>
              <a:gd name="connsiteX1881" fmla="*/ 4727886 w 9043663"/>
              <a:gd name="connsiteY1881" fmla="*/ 1300863 h 3664183"/>
              <a:gd name="connsiteX1882" fmla="*/ 4708774 w 9043663"/>
              <a:gd name="connsiteY1882" fmla="*/ 1308119 h 3664183"/>
              <a:gd name="connsiteX1883" fmla="*/ 4698023 w 9043663"/>
              <a:gd name="connsiteY1883" fmla="*/ 1308119 h 3664183"/>
              <a:gd name="connsiteX1884" fmla="*/ 4663382 w 9043663"/>
              <a:gd name="connsiteY1884" fmla="*/ 1287388 h 3664183"/>
              <a:gd name="connsiteX1885" fmla="*/ 4613213 w 9043663"/>
              <a:gd name="connsiteY1885" fmla="*/ 1274949 h 3664183"/>
              <a:gd name="connsiteX1886" fmla="*/ 4604851 w 9043663"/>
              <a:gd name="connsiteY1886" fmla="*/ 1254218 h 3664183"/>
              <a:gd name="connsiteX1887" fmla="*/ 4573793 w 9043663"/>
              <a:gd name="connsiteY1887" fmla="*/ 1243853 h 3664183"/>
              <a:gd name="connsiteX1888" fmla="*/ 4516457 w 9043663"/>
              <a:gd name="connsiteY1888" fmla="*/ 1238670 h 3664183"/>
              <a:gd name="connsiteX1889" fmla="*/ 4485399 w 9043663"/>
              <a:gd name="connsiteY1889" fmla="*/ 1228305 h 3664183"/>
              <a:gd name="connsiteX1890" fmla="*/ 4485399 w 9043663"/>
              <a:gd name="connsiteY1890" fmla="*/ 1218976 h 3664183"/>
              <a:gd name="connsiteX1891" fmla="*/ 4461509 w 9043663"/>
              <a:gd name="connsiteY1891" fmla="*/ 1213793 h 3664183"/>
              <a:gd name="connsiteX1892" fmla="*/ 4459120 w 9043663"/>
              <a:gd name="connsiteY1892" fmla="*/ 1206537 h 3664183"/>
              <a:gd name="connsiteX1893" fmla="*/ 4486594 w 9043663"/>
              <a:gd name="connsiteY1893" fmla="*/ 1180624 h 3664183"/>
              <a:gd name="connsiteX1894" fmla="*/ 4472260 w 9043663"/>
              <a:gd name="connsiteY1894" fmla="*/ 1147454 h 3664183"/>
              <a:gd name="connsiteX1895" fmla="*/ 4496150 w 9043663"/>
              <a:gd name="connsiteY1895" fmla="*/ 1126723 h 3664183"/>
              <a:gd name="connsiteX1896" fmla="*/ 4469871 w 9043663"/>
              <a:gd name="connsiteY1896" fmla="*/ 1136052 h 3664183"/>
              <a:gd name="connsiteX1897" fmla="*/ 4461509 w 9043663"/>
              <a:gd name="connsiteY1897" fmla="*/ 1123614 h 3664183"/>
              <a:gd name="connsiteX1898" fmla="*/ 4444786 w 9043663"/>
              <a:gd name="connsiteY1898" fmla="*/ 1120504 h 3664183"/>
              <a:gd name="connsiteX1899" fmla="*/ 4432841 w 9043663"/>
              <a:gd name="connsiteY1899" fmla="*/ 1123614 h 3664183"/>
              <a:gd name="connsiteX1900" fmla="*/ 4442397 w 9043663"/>
              <a:gd name="connsiteY1900" fmla="*/ 1117395 h 3664183"/>
              <a:gd name="connsiteX1901" fmla="*/ 4408951 w 9043663"/>
              <a:gd name="connsiteY1901" fmla="*/ 1128797 h 3664183"/>
              <a:gd name="connsiteX1902" fmla="*/ 4355198 w 9043663"/>
              <a:gd name="connsiteY1902" fmla="*/ 1123614 h 3664183"/>
              <a:gd name="connsiteX1903" fmla="*/ 4328918 w 9043663"/>
              <a:gd name="connsiteY1903" fmla="*/ 1133979 h 3664183"/>
              <a:gd name="connsiteX1904" fmla="*/ 4293083 w 9043663"/>
              <a:gd name="connsiteY1904" fmla="*/ 1126723 h 3664183"/>
              <a:gd name="connsiteX1905" fmla="*/ 4210661 w 9043663"/>
              <a:gd name="connsiteY1905" fmla="*/ 1140199 h 3664183"/>
              <a:gd name="connsiteX1906" fmla="*/ 4121073 w 9043663"/>
              <a:gd name="connsiteY1906" fmla="*/ 1175441 h 3664183"/>
              <a:gd name="connsiteX1907" fmla="*/ 4104349 w 9043663"/>
              <a:gd name="connsiteY1907" fmla="*/ 1171295 h 3664183"/>
              <a:gd name="connsiteX1908" fmla="*/ 4062542 w 9043663"/>
              <a:gd name="connsiteY1908" fmla="*/ 1176478 h 3664183"/>
              <a:gd name="connsiteX1909" fmla="*/ 4038651 w 9043663"/>
              <a:gd name="connsiteY1909" fmla="*/ 1160929 h 3664183"/>
              <a:gd name="connsiteX1910" fmla="*/ 4013566 w 9043663"/>
              <a:gd name="connsiteY1910" fmla="*/ 1160929 h 3664183"/>
              <a:gd name="connsiteX1911" fmla="*/ 3983704 w 9043663"/>
              <a:gd name="connsiteY1911" fmla="*/ 1210684 h 3664183"/>
              <a:gd name="connsiteX1912" fmla="*/ 3937118 w 9043663"/>
              <a:gd name="connsiteY1912" fmla="*/ 1231415 h 3664183"/>
              <a:gd name="connsiteX1913" fmla="*/ 3915616 w 9043663"/>
              <a:gd name="connsiteY1913" fmla="*/ 1250072 h 3664183"/>
              <a:gd name="connsiteX1914" fmla="*/ 3896504 w 9043663"/>
              <a:gd name="connsiteY1914" fmla="*/ 1280132 h 3664183"/>
              <a:gd name="connsiteX1915" fmla="*/ 3900088 w 9043663"/>
              <a:gd name="connsiteY1915" fmla="*/ 1311228 h 3664183"/>
              <a:gd name="connsiteX1916" fmla="*/ 3894115 w 9043663"/>
              <a:gd name="connsiteY1916" fmla="*/ 1327813 h 3664183"/>
              <a:gd name="connsiteX1917" fmla="*/ 3841556 w 9043663"/>
              <a:gd name="connsiteY1917" fmla="*/ 1363056 h 3664183"/>
              <a:gd name="connsiteX1918" fmla="*/ 3803332 w 9043663"/>
              <a:gd name="connsiteY1918" fmla="*/ 1380677 h 3664183"/>
              <a:gd name="connsiteX1919" fmla="*/ 3798554 w 9043663"/>
              <a:gd name="connsiteY1919" fmla="*/ 1380677 h 3664183"/>
              <a:gd name="connsiteX1920" fmla="*/ 3796165 w 9043663"/>
              <a:gd name="connsiteY1920" fmla="*/ 1383786 h 3664183"/>
              <a:gd name="connsiteX1921" fmla="*/ 3791387 w 9043663"/>
              <a:gd name="connsiteY1921" fmla="*/ 1385860 h 3664183"/>
              <a:gd name="connsiteX1922" fmla="*/ 3794970 w 9043663"/>
              <a:gd name="connsiteY1922" fmla="*/ 1385860 h 3664183"/>
              <a:gd name="connsiteX1923" fmla="*/ 3777053 w 9043663"/>
              <a:gd name="connsiteY1923" fmla="*/ 1409700 h 3664183"/>
              <a:gd name="connsiteX1924" fmla="*/ 3755551 w 9043663"/>
              <a:gd name="connsiteY1924" fmla="*/ 1423175 h 3664183"/>
              <a:gd name="connsiteX1925" fmla="*/ 3734050 w 9043663"/>
              <a:gd name="connsiteY1925" fmla="*/ 1467747 h 3664183"/>
              <a:gd name="connsiteX1926" fmla="*/ 3680297 w 9043663"/>
              <a:gd name="connsiteY1926" fmla="*/ 1538231 h 3664183"/>
              <a:gd name="connsiteX1927" fmla="*/ 3674325 w 9043663"/>
              <a:gd name="connsiteY1927" fmla="*/ 1563108 h 3664183"/>
              <a:gd name="connsiteX1928" fmla="*/ 3671935 w 9043663"/>
              <a:gd name="connsiteY1928" fmla="*/ 1564145 h 3664183"/>
              <a:gd name="connsiteX1929" fmla="*/ 3674325 w 9043663"/>
              <a:gd name="connsiteY1929" fmla="*/ 1566218 h 3664183"/>
              <a:gd name="connsiteX1930" fmla="*/ 3673130 w 9043663"/>
              <a:gd name="connsiteY1930" fmla="*/ 1573474 h 3664183"/>
              <a:gd name="connsiteX1931" fmla="*/ 3677908 w 9043663"/>
              <a:gd name="connsiteY1931" fmla="*/ 1570364 h 3664183"/>
              <a:gd name="connsiteX1932" fmla="*/ 3694631 w 9043663"/>
              <a:gd name="connsiteY1932" fmla="*/ 1586949 h 3664183"/>
              <a:gd name="connsiteX1933" fmla="*/ 3686270 w 9043663"/>
              <a:gd name="connsiteY1933" fmla="*/ 1611826 h 3664183"/>
              <a:gd name="connsiteX1934" fmla="*/ 3695826 w 9043663"/>
              <a:gd name="connsiteY1934" fmla="*/ 1648105 h 3664183"/>
              <a:gd name="connsiteX1935" fmla="*/ 3683880 w 9043663"/>
              <a:gd name="connsiteY1935" fmla="*/ 1707188 h 3664183"/>
              <a:gd name="connsiteX1936" fmla="*/ 3682686 w 9043663"/>
              <a:gd name="connsiteY1936" fmla="*/ 1708225 h 3664183"/>
              <a:gd name="connsiteX1937" fmla="*/ 3655212 w 9043663"/>
              <a:gd name="connsiteY1937" fmla="*/ 1742431 h 3664183"/>
              <a:gd name="connsiteX1938" fmla="*/ 3654018 w 9043663"/>
              <a:gd name="connsiteY1938" fmla="*/ 1744504 h 3664183"/>
              <a:gd name="connsiteX1939" fmla="*/ 3654018 w 9043663"/>
              <a:gd name="connsiteY1939" fmla="*/ 1744504 h 3664183"/>
              <a:gd name="connsiteX1940" fmla="*/ 3654018 w 9043663"/>
              <a:gd name="connsiteY1940" fmla="*/ 1744504 h 3664183"/>
              <a:gd name="connsiteX1941" fmla="*/ 3655212 w 9043663"/>
              <a:gd name="connsiteY1941" fmla="*/ 1745540 h 3664183"/>
              <a:gd name="connsiteX1942" fmla="*/ 3671935 w 9043663"/>
              <a:gd name="connsiteY1942" fmla="*/ 1764198 h 3664183"/>
              <a:gd name="connsiteX1943" fmla="*/ 3669547 w 9043663"/>
              <a:gd name="connsiteY1943" fmla="*/ 1764198 h 3664183"/>
              <a:gd name="connsiteX1944" fmla="*/ 3665963 w 9043663"/>
              <a:gd name="connsiteY1944" fmla="*/ 1785965 h 3664183"/>
              <a:gd name="connsiteX1945" fmla="*/ 3665963 w 9043663"/>
              <a:gd name="connsiteY1945" fmla="*/ 1785965 h 3664183"/>
              <a:gd name="connsiteX1946" fmla="*/ 3664768 w 9043663"/>
              <a:gd name="connsiteY1946" fmla="*/ 1790112 h 3664183"/>
              <a:gd name="connsiteX1947" fmla="*/ 3668352 w 9043663"/>
              <a:gd name="connsiteY1947" fmla="*/ 1790112 h 3664183"/>
              <a:gd name="connsiteX1948" fmla="*/ 3668352 w 9043663"/>
              <a:gd name="connsiteY1948" fmla="*/ 1801514 h 3664183"/>
              <a:gd name="connsiteX1949" fmla="*/ 3665963 w 9043663"/>
              <a:gd name="connsiteY1949" fmla="*/ 1803587 h 3664183"/>
              <a:gd name="connsiteX1950" fmla="*/ 3662379 w 9043663"/>
              <a:gd name="connsiteY1950" fmla="*/ 1805660 h 3664183"/>
              <a:gd name="connsiteX1951" fmla="*/ 3663574 w 9043663"/>
              <a:gd name="connsiteY1951" fmla="*/ 1806696 h 3664183"/>
              <a:gd name="connsiteX1952" fmla="*/ 3663574 w 9043663"/>
              <a:gd name="connsiteY1952" fmla="*/ 1806696 h 3664183"/>
              <a:gd name="connsiteX1953" fmla="*/ 3668352 w 9043663"/>
              <a:gd name="connsiteY1953" fmla="*/ 1809806 h 3664183"/>
              <a:gd name="connsiteX1954" fmla="*/ 3668352 w 9043663"/>
              <a:gd name="connsiteY1954" fmla="*/ 1812916 h 3664183"/>
              <a:gd name="connsiteX1955" fmla="*/ 3670741 w 9043663"/>
              <a:gd name="connsiteY1955" fmla="*/ 1810843 h 3664183"/>
              <a:gd name="connsiteX1956" fmla="*/ 3671935 w 9043663"/>
              <a:gd name="connsiteY1956" fmla="*/ 1810843 h 3664183"/>
              <a:gd name="connsiteX1957" fmla="*/ 3695826 w 9043663"/>
              <a:gd name="connsiteY1957" fmla="*/ 1824318 h 3664183"/>
              <a:gd name="connsiteX1958" fmla="*/ 3695826 w 9043663"/>
              <a:gd name="connsiteY1958" fmla="*/ 1824318 h 3664183"/>
              <a:gd name="connsiteX1959" fmla="*/ 3695826 w 9043663"/>
              <a:gd name="connsiteY1959" fmla="*/ 1824318 h 3664183"/>
              <a:gd name="connsiteX1960" fmla="*/ 3697020 w 9043663"/>
              <a:gd name="connsiteY1960" fmla="*/ 1823281 h 3664183"/>
              <a:gd name="connsiteX1961" fmla="*/ 3704187 w 9043663"/>
              <a:gd name="connsiteY1961" fmla="*/ 1822244 h 3664183"/>
              <a:gd name="connsiteX1962" fmla="*/ 3707771 w 9043663"/>
              <a:gd name="connsiteY1962" fmla="*/ 1832610 h 3664183"/>
              <a:gd name="connsiteX1963" fmla="*/ 3708965 w 9043663"/>
              <a:gd name="connsiteY1963" fmla="*/ 1837793 h 3664183"/>
              <a:gd name="connsiteX1964" fmla="*/ 3717327 w 9043663"/>
              <a:gd name="connsiteY1964" fmla="*/ 1848158 h 3664183"/>
              <a:gd name="connsiteX1965" fmla="*/ 3717327 w 9043663"/>
              <a:gd name="connsiteY1965" fmla="*/ 1848158 h 3664183"/>
              <a:gd name="connsiteX1966" fmla="*/ 3718521 w 9043663"/>
              <a:gd name="connsiteY1966" fmla="*/ 1849195 h 3664183"/>
              <a:gd name="connsiteX1967" fmla="*/ 3720910 w 9043663"/>
              <a:gd name="connsiteY1967" fmla="*/ 1852305 h 3664183"/>
              <a:gd name="connsiteX1968" fmla="*/ 3720910 w 9043663"/>
              <a:gd name="connsiteY1968" fmla="*/ 1851268 h 3664183"/>
              <a:gd name="connsiteX1969" fmla="*/ 3768691 w 9043663"/>
              <a:gd name="connsiteY1969" fmla="*/ 1897912 h 3664183"/>
              <a:gd name="connsiteX1970" fmla="*/ 3777053 w 9043663"/>
              <a:gd name="connsiteY1970" fmla="*/ 1934191 h 3664183"/>
              <a:gd name="connsiteX1971" fmla="*/ 3820055 w 9043663"/>
              <a:gd name="connsiteY1971" fmla="*/ 1960105 h 3664183"/>
              <a:gd name="connsiteX1972" fmla="*/ 3824833 w 9043663"/>
              <a:gd name="connsiteY1972" fmla="*/ 1963215 h 3664183"/>
              <a:gd name="connsiteX1973" fmla="*/ 3824833 w 9043663"/>
              <a:gd name="connsiteY1973" fmla="*/ 1963215 h 3664183"/>
              <a:gd name="connsiteX1974" fmla="*/ 3909644 w 9043663"/>
              <a:gd name="connsiteY1974" fmla="*/ 2024371 h 3664183"/>
              <a:gd name="connsiteX1975" fmla="*/ 3910838 w 9043663"/>
              <a:gd name="connsiteY1975" fmla="*/ 2025407 h 3664183"/>
              <a:gd name="connsiteX1976" fmla="*/ 3928756 w 9043663"/>
              <a:gd name="connsiteY1976" fmla="*/ 2025407 h 3664183"/>
              <a:gd name="connsiteX1977" fmla="*/ 3928756 w 9043663"/>
              <a:gd name="connsiteY1977" fmla="*/ 2026444 h 3664183"/>
              <a:gd name="connsiteX1978" fmla="*/ 3933534 w 9043663"/>
              <a:gd name="connsiteY1978" fmla="*/ 2025407 h 3664183"/>
              <a:gd name="connsiteX1979" fmla="*/ 3938312 w 9043663"/>
              <a:gd name="connsiteY1979" fmla="*/ 2025407 h 3664183"/>
              <a:gd name="connsiteX1980" fmla="*/ 3938312 w 9043663"/>
              <a:gd name="connsiteY1980" fmla="*/ 2023334 h 3664183"/>
              <a:gd name="connsiteX1981" fmla="*/ 3983704 w 9043663"/>
              <a:gd name="connsiteY1981" fmla="*/ 2009859 h 3664183"/>
              <a:gd name="connsiteX1982" fmla="*/ 4030289 w 9043663"/>
              <a:gd name="connsiteY1982" fmla="*/ 2004676 h 3664183"/>
              <a:gd name="connsiteX1983" fmla="*/ 4054180 w 9043663"/>
              <a:gd name="connsiteY1983" fmla="*/ 2008822 h 3664183"/>
              <a:gd name="connsiteX1984" fmla="*/ 4061347 w 9043663"/>
              <a:gd name="connsiteY1984" fmla="*/ 2010896 h 3664183"/>
              <a:gd name="connsiteX1985" fmla="*/ 4062542 w 9043663"/>
              <a:gd name="connsiteY1985" fmla="*/ 2010896 h 3664183"/>
              <a:gd name="connsiteX1986" fmla="*/ 4064930 w 9043663"/>
              <a:gd name="connsiteY1986" fmla="*/ 2010896 h 3664183"/>
              <a:gd name="connsiteX1987" fmla="*/ 4070903 w 9043663"/>
              <a:gd name="connsiteY1987" fmla="*/ 2008822 h 3664183"/>
              <a:gd name="connsiteX1988" fmla="*/ 4098377 w 9043663"/>
              <a:gd name="connsiteY1988" fmla="*/ 2012969 h 3664183"/>
              <a:gd name="connsiteX1989" fmla="*/ 4099572 w 9043663"/>
              <a:gd name="connsiteY1989" fmla="*/ 2012969 h 3664183"/>
              <a:gd name="connsiteX1990" fmla="*/ 4167659 w 9043663"/>
              <a:gd name="connsiteY1990" fmla="*/ 1987055 h 3664183"/>
              <a:gd name="connsiteX1991" fmla="*/ 4189160 w 9043663"/>
              <a:gd name="connsiteY1991" fmla="*/ 1987055 h 3664183"/>
              <a:gd name="connsiteX1992" fmla="*/ 4197522 w 9043663"/>
              <a:gd name="connsiteY1992" fmla="*/ 1976690 h 3664183"/>
              <a:gd name="connsiteX1993" fmla="*/ 4197522 w 9043663"/>
              <a:gd name="connsiteY1993" fmla="*/ 1976690 h 3664183"/>
              <a:gd name="connsiteX1994" fmla="*/ 4211856 w 9043663"/>
              <a:gd name="connsiteY1994" fmla="*/ 1974617 h 3664183"/>
              <a:gd name="connsiteX1995" fmla="*/ 4211856 w 9043663"/>
              <a:gd name="connsiteY1995" fmla="*/ 1976690 h 3664183"/>
              <a:gd name="connsiteX1996" fmla="*/ 4214245 w 9043663"/>
              <a:gd name="connsiteY1996" fmla="*/ 1976690 h 3664183"/>
              <a:gd name="connsiteX1997" fmla="*/ 4214245 w 9043663"/>
              <a:gd name="connsiteY1997" fmla="*/ 1976690 h 3664183"/>
              <a:gd name="connsiteX1998" fmla="*/ 4235746 w 9043663"/>
              <a:gd name="connsiteY1998" fmla="*/ 1973580 h 3664183"/>
              <a:gd name="connsiteX1999" fmla="*/ 4238135 w 9043663"/>
              <a:gd name="connsiteY1999" fmla="*/ 1973580 h 3664183"/>
              <a:gd name="connsiteX2000" fmla="*/ 4238135 w 9043663"/>
              <a:gd name="connsiteY2000" fmla="*/ 1973580 h 3664183"/>
              <a:gd name="connsiteX2001" fmla="*/ 4270387 w 9043663"/>
              <a:gd name="connsiteY2001" fmla="*/ 1969434 h 3664183"/>
              <a:gd name="connsiteX2002" fmla="*/ 4301444 w 9043663"/>
              <a:gd name="connsiteY2002" fmla="*/ 1983945 h 3664183"/>
              <a:gd name="connsiteX2003" fmla="*/ 4309806 w 9043663"/>
              <a:gd name="connsiteY2003" fmla="*/ 2020224 h 3664183"/>
              <a:gd name="connsiteX2004" fmla="*/ 4325335 w 9043663"/>
              <a:gd name="connsiteY2004" fmla="*/ 2028517 h 3664183"/>
              <a:gd name="connsiteX2005" fmla="*/ 4326529 w 9043663"/>
              <a:gd name="connsiteY2005" fmla="*/ 2029553 h 3664183"/>
              <a:gd name="connsiteX2006" fmla="*/ 4326529 w 9043663"/>
              <a:gd name="connsiteY2006" fmla="*/ 2029553 h 3664183"/>
              <a:gd name="connsiteX2007" fmla="*/ 4326529 w 9043663"/>
              <a:gd name="connsiteY2007" fmla="*/ 2029553 h 3664183"/>
              <a:gd name="connsiteX2008" fmla="*/ 4327723 w 9043663"/>
              <a:gd name="connsiteY2008" fmla="*/ 2029553 h 3664183"/>
              <a:gd name="connsiteX2009" fmla="*/ 4398200 w 9043663"/>
              <a:gd name="connsiteY2009" fmla="*/ 2020224 h 3664183"/>
              <a:gd name="connsiteX2010" fmla="*/ 4399394 w 9043663"/>
              <a:gd name="connsiteY2010" fmla="*/ 2021261 h 3664183"/>
              <a:gd name="connsiteX2011" fmla="*/ 4411339 w 9043663"/>
              <a:gd name="connsiteY2011" fmla="*/ 2039919 h 3664183"/>
              <a:gd name="connsiteX2012" fmla="*/ 4426868 w 9043663"/>
              <a:gd name="connsiteY2012" fmla="*/ 2045101 h 3664183"/>
              <a:gd name="connsiteX2013" fmla="*/ 4441202 w 9043663"/>
              <a:gd name="connsiteY2013" fmla="*/ 2063759 h 3664183"/>
              <a:gd name="connsiteX2014" fmla="*/ 4435230 w 9043663"/>
              <a:gd name="connsiteY2014" fmla="*/ 2088636 h 3664183"/>
              <a:gd name="connsiteX2015" fmla="*/ 4434035 w 9043663"/>
              <a:gd name="connsiteY2015" fmla="*/ 2091746 h 3664183"/>
              <a:gd name="connsiteX2016" fmla="*/ 4434035 w 9043663"/>
              <a:gd name="connsiteY2016" fmla="*/ 2091746 h 3664183"/>
              <a:gd name="connsiteX2017" fmla="*/ 4435230 w 9043663"/>
              <a:gd name="connsiteY2017" fmla="*/ 2091746 h 3664183"/>
              <a:gd name="connsiteX2018" fmla="*/ 4425674 w 9043663"/>
              <a:gd name="connsiteY2018" fmla="*/ 2112477 h 3664183"/>
              <a:gd name="connsiteX2019" fmla="*/ 4426868 w 9043663"/>
              <a:gd name="connsiteY2019" fmla="*/ 2113514 h 3664183"/>
              <a:gd name="connsiteX2020" fmla="*/ 4425674 w 9043663"/>
              <a:gd name="connsiteY2020" fmla="*/ 2115587 h 3664183"/>
              <a:gd name="connsiteX2021" fmla="*/ 4434035 w 9043663"/>
              <a:gd name="connsiteY2021" fmla="*/ 2122842 h 3664183"/>
              <a:gd name="connsiteX2022" fmla="*/ 4426868 w 9043663"/>
              <a:gd name="connsiteY2022" fmla="*/ 2144610 h 3664183"/>
              <a:gd name="connsiteX2023" fmla="*/ 4420896 w 9043663"/>
              <a:gd name="connsiteY2023" fmla="*/ 2154975 h 3664183"/>
              <a:gd name="connsiteX2024" fmla="*/ 4408951 w 9043663"/>
              <a:gd name="connsiteY2024" fmla="*/ 2167414 h 3664183"/>
              <a:gd name="connsiteX2025" fmla="*/ 4407756 w 9043663"/>
              <a:gd name="connsiteY2025" fmla="*/ 2168451 h 3664183"/>
              <a:gd name="connsiteX2026" fmla="*/ 4408951 w 9043663"/>
              <a:gd name="connsiteY2026" fmla="*/ 2170523 h 3664183"/>
              <a:gd name="connsiteX2027" fmla="*/ 4438813 w 9043663"/>
              <a:gd name="connsiteY2027" fmla="*/ 2222351 h 3664183"/>
              <a:gd name="connsiteX2028" fmla="*/ 4480621 w 9043663"/>
              <a:gd name="connsiteY2028" fmla="*/ 2258630 h 3664183"/>
              <a:gd name="connsiteX2029" fmla="*/ 4479427 w 9043663"/>
              <a:gd name="connsiteY2029" fmla="*/ 2259666 h 3664183"/>
              <a:gd name="connsiteX2030" fmla="*/ 4480621 w 9043663"/>
              <a:gd name="connsiteY2030" fmla="*/ 2260703 h 3664183"/>
              <a:gd name="connsiteX2031" fmla="*/ 4503317 w 9043663"/>
              <a:gd name="connsiteY2031" fmla="*/ 2288689 h 3664183"/>
              <a:gd name="connsiteX2032" fmla="*/ 4505706 w 9043663"/>
              <a:gd name="connsiteY2032" fmla="*/ 2287653 h 3664183"/>
              <a:gd name="connsiteX2033" fmla="*/ 4506901 w 9043663"/>
              <a:gd name="connsiteY2033" fmla="*/ 2288689 h 3664183"/>
              <a:gd name="connsiteX2034" fmla="*/ 4510484 w 9043663"/>
              <a:gd name="connsiteY2034" fmla="*/ 2285580 h 3664183"/>
              <a:gd name="connsiteX2035" fmla="*/ 4510484 w 9043663"/>
              <a:gd name="connsiteY2035" fmla="*/ 2289726 h 3664183"/>
              <a:gd name="connsiteX2036" fmla="*/ 4516457 w 9043663"/>
              <a:gd name="connsiteY2036" fmla="*/ 2305274 h 3664183"/>
              <a:gd name="connsiteX2037" fmla="*/ 4516457 w 9043663"/>
              <a:gd name="connsiteY2037" fmla="*/ 2305274 h 3664183"/>
              <a:gd name="connsiteX2038" fmla="*/ 4517651 w 9043663"/>
              <a:gd name="connsiteY2038" fmla="*/ 2306311 h 3664183"/>
              <a:gd name="connsiteX2039" fmla="*/ 4521235 w 9043663"/>
              <a:gd name="connsiteY2039" fmla="*/ 2314603 h 3664183"/>
              <a:gd name="connsiteX2040" fmla="*/ 4521235 w 9043663"/>
              <a:gd name="connsiteY2040" fmla="*/ 2314603 h 3664183"/>
              <a:gd name="connsiteX2041" fmla="*/ 4521235 w 9043663"/>
              <a:gd name="connsiteY2041" fmla="*/ 2314603 h 3664183"/>
              <a:gd name="connsiteX2042" fmla="*/ 4521235 w 9043663"/>
              <a:gd name="connsiteY2042" fmla="*/ 2313567 h 3664183"/>
              <a:gd name="connsiteX2043" fmla="*/ 4522429 w 9043663"/>
              <a:gd name="connsiteY2043" fmla="*/ 2315640 h 3664183"/>
              <a:gd name="connsiteX2044" fmla="*/ 4520040 w 9043663"/>
              <a:gd name="connsiteY2044" fmla="*/ 2316676 h 3664183"/>
              <a:gd name="connsiteX2045" fmla="*/ 4543931 w 9043663"/>
              <a:gd name="connsiteY2045" fmla="*/ 2379905 h 3664183"/>
              <a:gd name="connsiteX2046" fmla="*/ 4534375 w 9043663"/>
              <a:gd name="connsiteY2046" fmla="*/ 2395454 h 3664183"/>
              <a:gd name="connsiteX2047" fmla="*/ 4535569 w 9043663"/>
              <a:gd name="connsiteY2047" fmla="*/ 2396490 h 3664183"/>
              <a:gd name="connsiteX2048" fmla="*/ 4534375 w 9043663"/>
              <a:gd name="connsiteY2048" fmla="*/ 2397527 h 3664183"/>
              <a:gd name="connsiteX2049" fmla="*/ 4558265 w 9043663"/>
              <a:gd name="connsiteY2049" fmla="*/ 2452464 h 3664183"/>
              <a:gd name="connsiteX2050" fmla="*/ 4552292 w 9043663"/>
              <a:gd name="connsiteY2050" fmla="*/ 2479414 h 3664183"/>
              <a:gd name="connsiteX2051" fmla="*/ 4523624 w 9043663"/>
              <a:gd name="connsiteY2051" fmla="*/ 2507400 h 3664183"/>
              <a:gd name="connsiteX2052" fmla="*/ 4523624 w 9043663"/>
              <a:gd name="connsiteY2052" fmla="*/ 2507400 h 3664183"/>
              <a:gd name="connsiteX2053" fmla="*/ 4502123 w 9043663"/>
              <a:gd name="connsiteY2053" fmla="*/ 2580995 h 3664183"/>
              <a:gd name="connsiteX2054" fmla="*/ 4502123 w 9043663"/>
              <a:gd name="connsiteY2054" fmla="*/ 2580995 h 3664183"/>
              <a:gd name="connsiteX2055" fmla="*/ 4496150 w 9043663"/>
              <a:gd name="connsiteY2055" fmla="*/ 2618311 h 3664183"/>
              <a:gd name="connsiteX2056" fmla="*/ 4494955 w 9043663"/>
              <a:gd name="connsiteY2056" fmla="*/ 2618311 h 3664183"/>
              <a:gd name="connsiteX2057" fmla="*/ 4494955 w 9043663"/>
              <a:gd name="connsiteY2057" fmla="*/ 2618311 h 3664183"/>
              <a:gd name="connsiteX2058" fmla="*/ 4494955 w 9043663"/>
              <a:gd name="connsiteY2058" fmla="*/ 2618311 h 3664183"/>
              <a:gd name="connsiteX2059" fmla="*/ 4494955 w 9043663"/>
              <a:gd name="connsiteY2059" fmla="*/ 2619347 h 3664183"/>
              <a:gd name="connsiteX2060" fmla="*/ 4494955 w 9043663"/>
              <a:gd name="connsiteY2060" fmla="*/ 2621420 h 3664183"/>
              <a:gd name="connsiteX2061" fmla="*/ 4494955 w 9043663"/>
              <a:gd name="connsiteY2061" fmla="*/ 2621420 h 3664183"/>
              <a:gd name="connsiteX2062" fmla="*/ 4494955 w 9043663"/>
              <a:gd name="connsiteY2062" fmla="*/ 2624530 h 3664183"/>
              <a:gd name="connsiteX2063" fmla="*/ 4496150 w 9043663"/>
              <a:gd name="connsiteY2063" fmla="*/ 2624530 h 3664183"/>
              <a:gd name="connsiteX2064" fmla="*/ 4500928 w 9043663"/>
              <a:gd name="connsiteY2064" fmla="*/ 2638005 h 3664183"/>
              <a:gd name="connsiteX2065" fmla="*/ 4526013 w 9043663"/>
              <a:gd name="connsiteY2065" fmla="*/ 2678430 h 3664183"/>
              <a:gd name="connsiteX2066" fmla="*/ 4572599 w 9043663"/>
              <a:gd name="connsiteY2066" fmla="*/ 2761354 h 3664183"/>
              <a:gd name="connsiteX2067" fmla="*/ 4572599 w 9043663"/>
              <a:gd name="connsiteY2067" fmla="*/ 2804889 h 3664183"/>
              <a:gd name="connsiteX2068" fmla="*/ 4596489 w 9043663"/>
              <a:gd name="connsiteY2068" fmla="*/ 2898178 h 3664183"/>
              <a:gd name="connsiteX2069" fmla="*/ 4597684 w 9043663"/>
              <a:gd name="connsiteY2069" fmla="*/ 2899214 h 3664183"/>
              <a:gd name="connsiteX2070" fmla="*/ 4625158 w 9043663"/>
              <a:gd name="connsiteY2070" fmla="*/ 2929274 h 3664183"/>
              <a:gd name="connsiteX2071" fmla="*/ 4622769 w 9043663"/>
              <a:gd name="connsiteY2071" fmla="*/ 2931347 h 3664183"/>
              <a:gd name="connsiteX2072" fmla="*/ 4633519 w 9043663"/>
              <a:gd name="connsiteY2072" fmla="*/ 2940676 h 3664183"/>
              <a:gd name="connsiteX2073" fmla="*/ 4675327 w 9043663"/>
              <a:gd name="connsiteY2073" fmla="*/ 3022563 h 3664183"/>
              <a:gd name="connsiteX2074" fmla="*/ 4675327 w 9043663"/>
              <a:gd name="connsiteY2074" fmla="*/ 3036038 h 3664183"/>
              <a:gd name="connsiteX2075" fmla="*/ 4663382 w 9043663"/>
              <a:gd name="connsiteY2075" fmla="*/ 3044330 h 3664183"/>
              <a:gd name="connsiteX2076" fmla="*/ 4676522 w 9043663"/>
              <a:gd name="connsiteY2076" fmla="*/ 3084755 h 3664183"/>
              <a:gd name="connsiteX2077" fmla="*/ 4689661 w 9043663"/>
              <a:gd name="connsiteY2077" fmla="*/ 3081646 h 3664183"/>
              <a:gd name="connsiteX2078" fmla="*/ 4709968 w 9043663"/>
              <a:gd name="connsiteY2078" fmla="*/ 3102377 h 3664183"/>
              <a:gd name="connsiteX2079" fmla="*/ 4730275 w 9043663"/>
              <a:gd name="connsiteY2079" fmla="*/ 3102377 h 3664183"/>
              <a:gd name="connsiteX2080" fmla="*/ 4798362 w 9043663"/>
              <a:gd name="connsiteY2080" fmla="*/ 3081646 h 3664183"/>
              <a:gd name="connsiteX2081" fmla="*/ 4852115 w 9043663"/>
              <a:gd name="connsiteY2081" fmla="*/ 3083719 h 3664183"/>
              <a:gd name="connsiteX2082" fmla="*/ 4921397 w 9043663"/>
              <a:gd name="connsiteY2082" fmla="*/ 3070244 h 3664183"/>
              <a:gd name="connsiteX2083" fmla="*/ 4962010 w 9043663"/>
              <a:gd name="connsiteY2083" fmla="*/ 3046403 h 3664183"/>
              <a:gd name="connsiteX2084" fmla="*/ 5021736 w 9043663"/>
              <a:gd name="connsiteY2084" fmla="*/ 2991467 h 3664183"/>
              <a:gd name="connsiteX2085" fmla="*/ 5053988 w 9043663"/>
              <a:gd name="connsiteY2085" fmla="*/ 2942749 h 3664183"/>
              <a:gd name="connsiteX2086" fmla="*/ 5081462 w 9043663"/>
              <a:gd name="connsiteY2086" fmla="*/ 2929274 h 3664183"/>
              <a:gd name="connsiteX2087" fmla="*/ 5096991 w 9043663"/>
              <a:gd name="connsiteY2087" fmla="*/ 2884702 h 3664183"/>
              <a:gd name="connsiteX2088" fmla="*/ 5096991 w 9043663"/>
              <a:gd name="connsiteY2088" fmla="*/ 2883666 h 3664183"/>
              <a:gd name="connsiteX2089" fmla="*/ 5095796 w 9043663"/>
              <a:gd name="connsiteY2089" fmla="*/ 2881593 h 3664183"/>
              <a:gd name="connsiteX2090" fmla="*/ 5101769 w 9043663"/>
              <a:gd name="connsiteY2090" fmla="*/ 2881593 h 3664183"/>
              <a:gd name="connsiteX2091" fmla="*/ 5101769 w 9043663"/>
              <a:gd name="connsiteY2091" fmla="*/ 2879520 h 3664183"/>
              <a:gd name="connsiteX2092" fmla="*/ 5105352 w 9043663"/>
              <a:gd name="connsiteY2092" fmla="*/ 2865008 h 3664183"/>
              <a:gd name="connsiteX2093" fmla="*/ 5105352 w 9043663"/>
              <a:gd name="connsiteY2093" fmla="*/ 2865008 h 3664183"/>
              <a:gd name="connsiteX2094" fmla="*/ 5105352 w 9043663"/>
              <a:gd name="connsiteY2094" fmla="*/ 2862935 h 3664183"/>
              <a:gd name="connsiteX2095" fmla="*/ 5096991 w 9043663"/>
              <a:gd name="connsiteY2095" fmla="*/ 2859825 h 3664183"/>
              <a:gd name="connsiteX2096" fmla="*/ 5104157 w 9043663"/>
              <a:gd name="connsiteY2096" fmla="*/ 2846350 h 3664183"/>
              <a:gd name="connsiteX2097" fmla="*/ 5173439 w 9043663"/>
              <a:gd name="connsiteY2097" fmla="*/ 2820437 h 3664183"/>
              <a:gd name="connsiteX2098" fmla="*/ 5185385 w 9043663"/>
              <a:gd name="connsiteY2098" fmla="*/ 2761354 h 3664183"/>
              <a:gd name="connsiteX2099" fmla="*/ 5185385 w 9043663"/>
              <a:gd name="connsiteY2099" fmla="*/ 2760317 h 3664183"/>
              <a:gd name="connsiteX2100" fmla="*/ 5162689 w 9043663"/>
              <a:gd name="connsiteY2100" fmla="*/ 2705380 h 3664183"/>
              <a:gd name="connsiteX2101" fmla="*/ 5165078 w 9043663"/>
              <a:gd name="connsiteY2101" fmla="*/ 2696051 h 3664183"/>
              <a:gd name="connsiteX2102" fmla="*/ 5243916 w 9043663"/>
              <a:gd name="connsiteY2102" fmla="*/ 2627639 h 3664183"/>
              <a:gd name="connsiteX2103" fmla="*/ 5289307 w 9043663"/>
              <a:gd name="connsiteY2103" fmla="*/ 2617274 h 3664183"/>
              <a:gd name="connsiteX2104" fmla="*/ 5344255 w 9043663"/>
              <a:gd name="connsiteY2104" fmla="*/ 2564410 h 3664183"/>
              <a:gd name="connsiteX2105" fmla="*/ 5344255 w 9043663"/>
              <a:gd name="connsiteY2105" fmla="*/ 2434842 h 3664183"/>
              <a:gd name="connsiteX2106" fmla="*/ 5346644 w 9043663"/>
              <a:gd name="connsiteY2106" fmla="*/ 2433806 h 3664183"/>
              <a:gd name="connsiteX2107" fmla="*/ 5344255 w 9043663"/>
              <a:gd name="connsiteY2107" fmla="*/ 2431733 h 3664183"/>
              <a:gd name="connsiteX2108" fmla="*/ 5344255 w 9043663"/>
              <a:gd name="connsiteY2108" fmla="*/ 2428623 h 3664183"/>
              <a:gd name="connsiteX2109" fmla="*/ 5341866 w 9043663"/>
              <a:gd name="connsiteY2109" fmla="*/ 2429659 h 3664183"/>
              <a:gd name="connsiteX2110" fmla="*/ 5326337 w 9043663"/>
              <a:gd name="connsiteY2110" fmla="*/ 2418257 h 3664183"/>
              <a:gd name="connsiteX2111" fmla="*/ 5314392 w 9043663"/>
              <a:gd name="connsiteY2111" fmla="*/ 2386125 h 3664183"/>
              <a:gd name="connsiteX2112" fmla="*/ 5320364 w 9043663"/>
              <a:gd name="connsiteY2112" fmla="*/ 2340517 h 3664183"/>
              <a:gd name="connsiteX2113" fmla="*/ 5320364 w 9043663"/>
              <a:gd name="connsiteY2113" fmla="*/ 2339480 h 3664183"/>
              <a:gd name="connsiteX2114" fmla="*/ 5296474 w 9043663"/>
              <a:gd name="connsiteY2114" fmla="*/ 2308384 h 3664183"/>
              <a:gd name="connsiteX2115" fmla="*/ 5314392 w 9043663"/>
              <a:gd name="connsiteY2115" fmla="*/ 2271068 h 3664183"/>
              <a:gd name="connsiteX2116" fmla="*/ 5312003 w 9043663"/>
              <a:gd name="connsiteY2116" fmla="*/ 2270032 h 3664183"/>
              <a:gd name="connsiteX2117" fmla="*/ 5337088 w 9043663"/>
              <a:gd name="connsiteY2117" fmla="*/ 2229607 h 3664183"/>
              <a:gd name="connsiteX2118" fmla="*/ 5337088 w 9043663"/>
              <a:gd name="connsiteY2118" fmla="*/ 2228570 h 3664183"/>
              <a:gd name="connsiteX2119" fmla="*/ 5337088 w 9043663"/>
              <a:gd name="connsiteY2119" fmla="*/ 2215095 h 3664183"/>
              <a:gd name="connsiteX2120" fmla="*/ 5344255 w 9043663"/>
              <a:gd name="connsiteY2120" fmla="*/ 2215095 h 3664183"/>
              <a:gd name="connsiteX2121" fmla="*/ 5345449 w 9043663"/>
              <a:gd name="connsiteY2121" fmla="*/ 2214058 h 3664183"/>
              <a:gd name="connsiteX2122" fmla="*/ 5377701 w 9043663"/>
              <a:gd name="connsiteY2122" fmla="*/ 2191254 h 3664183"/>
              <a:gd name="connsiteX2123" fmla="*/ 5377701 w 9043663"/>
              <a:gd name="connsiteY2123" fmla="*/ 2191254 h 3664183"/>
              <a:gd name="connsiteX2124" fmla="*/ 5378896 w 9043663"/>
              <a:gd name="connsiteY2124" fmla="*/ 2190218 h 3664183"/>
              <a:gd name="connsiteX2125" fmla="*/ 5384868 w 9043663"/>
              <a:gd name="connsiteY2125" fmla="*/ 2186072 h 3664183"/>
              <a:gd name="connsiteX2126" fmla="*/ 5382479 w 9043663"/>
              <a:gd name="connsiteY2126" fmla="*/ 2186072 h 3664183"/>
              <a:gd name="connsiteX2127" fmla="*/ 5420704 w 9043663"/>
              <a:gd name="connsiteY2127" fmla="*/ 2133208 h 3664183"/>
              <a:gd name="connsiteX2128" fmla="*/ 5506709 w 9043663"/>
              <a:gd name="connsiteY2128" fmla="*/ 2076198 h 3664183"/>
              <a:gd name="connsiteX2129" fmla="*/ 5552100 w 9043663"/>
              <a:gd name="connsiteY2129" fmla="*/ 2034736 h 3664183"/>
              <a:gd name="connsiteX2130" fmla="*/ 5587935 w 9043663"/>
              <a:gd name="connsiteY2130" fmla="*/ 1988092 h 3664183"/>
              <a:gd name="connsiteX2131" fmla="*/ 5645272 w 9043663"/>
              <a:gd name="connsiteY2131" fmla="*/ 1861633 h 3664183"/>
              <a:gd name="connsiteX2132" fmla="*/ 5645272 w 9043663"/>
              <a:gd name="connsiteY2132" fmla="*/ 1822244 h 3664183"/>
              <a:gd name="connsiteX2133" fmla="*/ 5622577 w 9043663"/>
              <a:gd name="connsiteY2133" fmla="*/ 1816025 h 3664183"/>
              <a:gd name="connsiteX2134" fmla="*/ 5622577 w 9043663"/>
              <a:gd name="connsiteY2134" fmla="*/ 1816025 h 3664183"/>
              <a:gd name="connsiteX2135" fmla="*/ 5622577 w 9043663"/>
              <a:gd name="connsiteY2135" fmla="*/ 1816025 h 3664183"/>
              <a:gd name="connsiteX2136" fmla="*/ 5621382 w 9043663"/>
              <a:gd name="connsiteY2136" fmla="*/ 1818098 h 3664183"/>
              <a:gd name="connsiteX2137" fmla="*/ 5613020 w 9043663"/>
              <a:gd name="connsiteY2137" fmla="*/ 1829500 h 3664183"/>
              <a:gd name="connsiteX2138" fmla="*/ 5581963 w 9043663"/>
              <a:gd name="connsiteY2138" fmla="*/ 1836756 h 3664183"/>
              <a:gd name="connsiteX2139" fmla="*/ 5581963 w 9043663"/>
              <a:gd name="connsiteY2139" fmla="*/ 1836756 h 3664183"/>
              <a:gd name="connsiteX2140" fmla="*/ 5581963 w 9043663"/>
              <a:gd name="connsiteY2140" fmla="*/ 1836756 h 3664183"/>
              <a:gd name="connsiteX2141" fmla="*/ 5534182 w 9043663"/>
              <a:gd name="connsiteY2141" fmla="*/ 1839866 h 3664183"/>
              <a:gd name="connsiteX2142" fmla="*/ 5462512 w 9043663"/>
              <a:gd name="connsiteY2142" fmla="*/ 1857487 h 3664183"/>
              <a:gd name="connsiteX2143" fmla="*/ 5446983 w 9043663"/>
              <a:gd name="connsiteY2143" fmla="*/ 1857487 h 3664183"/>
              <a:gd name="connsiteX2144" fmla="*/ 5435038 w 9043663"/>
              <a:gd name="connsiteY2144" fmla="*/ 1845049 h 3664183"/>
              <a:gd name="connsiteX2145" fmla="*/ 5421898 w 9043663"/>
              <a:gd name="connsiteY2145" fmla="*/ 1831574 h 3664183"/>
              <a:gd name="connsiteX2146" fmla="*/ 5423093 w 9043663"/>
              <a:gd name="connsiteY2146" fmla="*/ 1830537 h 3664183"/>
              <a:gd name="connsiteX2147" fmla="*/ 5420704 w 9043663"/>
              <a:gd name="connsiteY2147" fmla="*/ 1829500 h 3664183"/>
              <a:gd name="connsiteX2148" fmla="*/ 5418315 w 9043663"/>
              <a:gd name="connsiteY2148" fmla="*/ 1827427 h 3664183"/>
              <a:gd name="connsiteX2149" fmla="*/ 5418315 w 9043663"/>
              <a:gd name="connsiteY2149" fmla="*/ 1827427 h 3664183"/>
              <a:gd name="connsiteX2150" fmla="*/ 5418315 w 9043663"/>
              <a:gd name="connsiteY2150" fmla="*/ 1827427 h 3664183"/>
              <a:gd name="connsiteX2151" fmla="*/ 5417120 w 9043663"/>
              <a:gd name="connsiteY2151" fmla="*/ 1828464 h 3664183"/>
              <a:gd name="connsiteX2152" fmla="*/ 5411148 w 9043663"/>
              <a:gd name="connsiteY2152" fmla="*/ 1826391 h 3664183"/>
              <a:gd name="connsiteX2153" fmla="*/ 5420704 w 9043663"/>
              <a:gd name="connsiteY2153" fmla="*/ 1818098 h 3664183"/>
              <a:gd name="connsiteX2154" fmla="*/ 5420704 w 9043663"/>
              <a:gd name="connsiteY2154" fmla="*/ 1805660 h 3664183"/>
              <a:gd name="connsiteX2155" fmla="*/ 5406370 w 9043663"/>
              <a:gd name="connsiteY2155" fmla="*/ 1796331 h 3664183"/>
              <a:gd name="connsiteX2156" fmla="*/ 5405175 w 9043663"/>
              <a:gd name="connsiteY2156" fmla="*/ 1797367 h 3664183"/>
              <a:gd name="connsiteX2157" fmla="*/ 5355005 w 9043663"/>
              <a:gd name="connsiteY2157" fmla="*/ 1743467 h 3664183"/>
              <a:gd name="connsiteX2158" fmla="*/ 5304836 w 9043663"/>
              <a:gd name="connsiteY2158" fmla="*/ 1717554 h 3664183"/>
              <a:gd name="connsiteX2159" fmla="*/ 5272584 w 9043663"/>
              <a:gd name="connsiteY2159" fmla="*/ 1651215 h 3664183"/>
              <a:gd name="connsiteX2160" fmla="*/ 5272584 w 9043663"/>
              <a:gd name="connsiteY2160" fmla="*/ 1650178 h 3664183"/>
              <a:gd name="connsiteX2161" fmla="*/ 5272584 w 9043663"/>
              <a:gd name="connsiteY2161" fmla="*/ 1650178 h 3664183"/>
              <a:gd name="connsiteX2162" fmla="*/ 5273779 w 9043663"/>
              <a:gd name="connsiteY2162" fmla="*/ 1648105 h 3664183"/>
              <a:gd name="connsiteX2163" fmla="*/ 5273779 w 9043663"/>
              <a:gd name="connsiteY2163" fmla="*/ 1648105 h 3664183"/>
              <a:gd name="connsiteX2164" fmla="*/ 5273779 w 9043663"/>
              <a:gd name="connsiteY2164" fmla="*/ 1648105 h 3664183"/>
              <a:gd name="connsiteX2165" fmla="*/ 5272584 w 9043663"/>
              <a:gd name="connsiteY2165" fmla="*/ 1647069 h 3664183"/>
              <a:gd name="connsiteX2166" fmla="*/ 5271389 w 9043663"/>
              <a:gd name="connsiteY2166" fmla="*/ 1646032 h 3664183"/>
              <a:gd name="connsiteX2167" fmla="*/ 5271389 w 9043663"/>
              <a:gd name="connsiteY2167" fmla="*/ 1646032 h 3664183"/>
              <a:gd name="connsiteX2168" fmla="*/ 5271389 w 9043663"/>
              <a:gd name="connsiteY2168" fmla="*/ 1646032 h 3664183"/>
              <a:gd name="connsiteX2169" fmla="*/ 5271389 w 9043663"/>
              <a:gd name="connsiteY2169" fmla="*/ 1644996 h 3664183"/>
              <a:gd name="connsiteX2170" fmla="*/ 5271389 w 9043663"/>
              <a:gd name="connsiteY2170" fmla="*/ 1646032 h 3664183"/>
              <a:gd name="connsiteX2171" fmla="*/ 5249888 w 9043663"/>
              <a:gd name="connsiteY2171" fmla="*/ 1630484 h 3664183"/>
              <a:gd name="connsiteX2172" fmla="*/ 5243916 w 9043663"/>
              <a:gd name="connsiteY2172" fmla="*/ 1612863 h 3664183"/>
              <a:gd name="connsiteX2173" fmla="*/ 5223609 w 9043663"/>
              <a:gd name="connsiteY2173" fmla="*/ 1540305 h 3664183"/>
              <a:gd name="connsiteX2174" fmla="*/ 5223609 w 9043663"/>
              <a:gd name="connsiteY2174" fmla="*/ 1539268 h 3664183"/>
              <a:gd name="connsiteX2175" fmla="*/ 5190163 w 9043663"/>
              <a:gd name="connsiteY2175" fmla="*/ 1520610 h 3664183"/>
              <a:gd name="connsiteX2176" fmla="*/ 5185385 w 9043663"/>
              <a:gd name="connsiteY2176" fmla="*/ 1511281 h 3664183"/>
              <a:gd name="connsiteX2177" fmla="*/ 5185385 w 9043663"/>
              <a:gd name="connsiteY2177" fmla="*/ 1487441 h 3664183"/>
              <a:gd name="connsiteX2178" fmla="*/ 5095796 w 9043663"/>
              <a:gd name="connsiteY2178" fmla="*/ 1347507 h 3664183"/>
              <a:gd name="connsiteX2179" fmla="*/ 5085045 w 9043663"/>
              <a:gd name="connsiteY2179" fmla="*/ 1328850 h 3664183"/>
              <a:gd name="connsiteX2180" fmla="*/ 5086240 w 9043663"/>
              <a:gd name="connsiteY2180" fmla="*/ 1327813 h 3664183"/>
              <a:gd name="connsiteX2181" fmla="*/ 5111325 w 9043663"/>
              <a:gd name="connsiteY2181" fmla="*/ 1367202 h 3664183"/>
              <a:gd name="connsiteX2182" fmla="*/ 5135215 w 9043663"/>
              <a:gd name="connsiteY2182" fmla="*/ 1391042 h 3664183"/>
              <a:gd name="connsiteX2183" fmla="*/ 5145965 w 9043663"/>
              <a:gd name="connsiteY2183" fmla="*/ 1364092 h 3664183"/>
              <a:gd name="connsiteX2184" fmla="*/ 5143577 w 9043663"/>
              <a:gd name="connsiteY2184" fmla="*/ 1382750 h 3664183"/>
              <a:gd name="connsiteX2185" fmla="*/ 5160300 w 9043663"/>
              <a:gd name="connsiteY2185" fmla="*/ 1382750 h 3664183"/>
              <a:gd name="connsiteX2186" fmla="*/ 5236749 w 9043663"/>
              <a:gd name="connsiteY2186" fmla="*/ 1482258 h 3664183"/>
              <a:gd name="connsiteX2187" fmla="*/ 5260639 w 9043663"/>
              <a:gd name="connsiteY2187" fmla="*/ 1497806 h 3664183"/>
              <a:gd name="connsiteX2188" fmla="*/ 5280946 w 9043663"/>
              <a:gd name="connsiteY2188" fmla="*/ 1522683 h 3664183"/>
              <a:gd name="connsiteX2189" fmla="*/ 5283334 w 9043663"/>
              <a:gd name="connsiteY2189" fmla="*/ 1572438 h 3664183"/>
              <a:gd name="connsiteX2190" fmla="*/ 5301252 w 9043663"/>
              <a:gd name="connsiteY2190" fmla="*/ 1594205 h 3664183"/>
              <a:gd name="connsiteX2191" fmla="*/ 5334699 w 9043663"/>
              <a:gd name="connsiteY2191" fmla="*/ 1612863 h 3664183"/>
              <a:gd name="connsiteX2192" fmla="*/ 5384868 w 9043663"/>
              <a:gd name="connsiteY2192" fmla="*/ 1682311 h 3664183"/>
              <a:gd name="connsiteX2193" fmla="*/ 5390841 w 9043663"/>
              <a:gd name="connsiteY2193" fmla="*/ 1699932 h 3664183"/>
              <a:gd name="connsiteX2194" fmla="*/ 5423093 w 9043663"/>
              <a:gd name="connsiteY2194" fmla="*/ 1800477 h 3664183"/>
              <a:gd name="connsiteX2195" fmla="*/ 5424287 w 9043663"/>
              <a:gd name="connsiteY2195" fmla="*/ 1802550 h 3664183"/>
              <a:gd name="connsiteX2196" fmla="*/ 5468484 w 9043663"/>
              <a:gd name="connsiteY2196" fmla="*/ 1797367 h 3664183"/>
              <a:gd name="connsiteX2197" fmla="*/ 5489986 w 9043663"/>
              <a:gd name="connsiteY2197" fmla="*/ 1784929 h 3664183"/>
              <a:gd name="connsiteX2198" fmla="*/ 5528210 w 9043663"/>
              <a:gd name="connsiteY2198" fmla="*/ 1784929 h 3664183"/>
              <a:gd name="connsiteX2199" fmla="*/ 5603464 w 9043663"/>
              <a:gd name="connsiteY2199" fmla="*/ 1745540 h 3664183"/>
              <a:gd name="connsiteX2200" fmla="*/ 5679913 w 9043663"/>
              <a:gd name="connsiteY2200" fmla="*/ 1721700 h 3664183"/>
              <a:gd name="connsiteX2201" fmla="*/ 5683497 w 9043663"/>
              <a:gd name="connsiteY2201" fmla="*/ 1700969 h 3664183"/>
              <a:gd name="connsiteX2202" fmla="*/ 5690664 w 9043663"/>
              <a:gd name="connsiteY2202" fmla="*/ 1697859 h 3664183"/>
              <a:gd name="connsiteX2203" fmla="*/ 5691858 w 9043663"/>
              <a:gd name="connsiteY2203" fmla="*/ 1699932 h 3664183"/>
              <a:gd name="connsiteX2204" fmla="*/ 5700220 w 9043663"/>
              <a:gd name="connsiteY2204" fmla="*/ 1696823 h 3664183"/>
              <a:gd name="connsiteX2205" fmla="*/ 5703803 w 9043663"/>
              <a:gd name="connsiteY2205" fmla="*/ 1696823 h 3664183"/>
              <a:gd name="connsiteX2206" fmla="*/ 5702609 w 9043663"/>
              <a:gd name="connsiteY2206" fmla="*/ 1695786 h 3664183"/>
              <a:gd name="connsiteX2207" fmla="*/ 5716943 w 9043663"/>
              <a:gd name="connsiteY2207" fmla="*/ 1689567 h 3664183"/>
              <a:gd name="connsiteX2208" fmla="*/ 5748001 w 9043663"/>
              <a:gd name="connsiteY2208" fmla="*/ 1689567 h 3664183"/>
              <a:gd name="connsiteX2209" fmla="*/ 5763529 w 9043663"/>
              <a:gd name="connsiteY2209" fmla="*/ 1668836 h 3664183"/>
              <a:gd name="connsiteX2210" fmla="*/ 5787419 w 9043663"/>
              <a:gd name="connsiteY2210" fmla="*/ 1661580 h 3664183"/>
              <a:gd name="connsiteX2211" fmla="*/ 5807726 w 9043663"/>
              <a:gd name="connsiteY2211" fmla="*/ 1638776 h 3664183"/>
              <a:gd name="connsiteX2212" fmla="*/ 5836395 w 9043663"/>
              <a:gd name="connsiteY2212" fmla="*/ 1633594 h 3664183"/>
              <a:gd name="connsiteX2213" fmla="*/ 5826838 w 9043663"/>
              <a:gd name="connsiteY2213" fmla="*/ 1601461 h 3664183"/>
              <a:gd name="connsiteX2214" fmla="*/ 5867452 w 9043663"/>
              <a:gd name="connsiteY2214" fmla="*/ 1566218 h 3664183"/>
              <a:gd name="connsiteX2215" fmla="*/ 5880591 w 9043663"/>
              <a:gd name="connsiteY2215" fmla="*/ 1540305 h 3664183"/>
              <a:gd name="connsiteX2216" fmla="*/ 5845951 w 9043663"/>
              <a:gd name="connsiteY2216" fmla="*/ 1505062 h 3664183"/>
              <a:gd name="connsiteX2217" fmla="*/ 5798170 w 9043663"/>
              <a:gd name="connsiteY2217" fmla="*/ 1491587 h 3664183"/>
              <a:gd name="connsiteX2218" fmla="*/ 5775474 w 9043663"/>
              <a:gd name="connsiteY2218" fmla="*/ 1471893 h 3664183"/>
              <a:gd name="connsiteX2219" fmla="*/ 5779058 w 9043663"/>
              <a:gd name="connsiteY2219" fmla="*/ 1468783 h 3664183"/>
              <a:gd name="connsiteX2220" fmla="*/ 5775474 w 9043663"/>
              <a:gd name="connsiteY2220" fmla="*/ 1459454 h 3664183"/>
              <a:gd name="connsiteX2221" fmla="*/ 5773085 w 9043663"/>
              <a:gd name="connsiteY2221" fmla="*/ 1456345 h 3664183"/>
              <a:gd name="connsiteX2222" fmla="*/ 5773085 w 9043663"/>
              <a:gd name="connsiteY2222" fmla="*/ 1429394 h 3664183"/>
              <a:gd name="connsiteX2223" fmla="*/ 5757557 w 9043663"/>
              <a:gd name="connsiteY2223" fmla="*/ 1429394 h 3664183"/>
              <a:gd name="connsiteX2224" fmla="*/ 5750389 w 9043663"/>
              <a:gd name="connsiteY2224" fmla="*/ 1435614 h 3664183"/>
              <a:gd name="connsiteX2225" fmla="*/ 5750389 w 9043663"/>
              <a:gd name="connsiteY2225" fmla="*/ 1435614 h 3664183"/>
              <a:gd name="connsiteX2226" fmla="*/ 5748001 w 9043663"/>
              <a:gd name="connsiteY2226" fmla="*/ 1438723 h 3664183"/>
              <a:gd name="connsiteX2227" fmla="*/ 5746806 w 9043663"/>
              <a:gd name="connsiteY2227" fmla="*/ 1439760 h 3664183"/>
              <a:gd name="connsiteX2228" fmla="*/ 5746806 w 9043663"/>
              <a:gd name="connsiteY2228" fmla="*/ 1439760 h 3664183"/>
              <a:gd name="connsiteX2229" fmla="*/ 5709776 w 9043663"/>
              <a:gd name="connsiteY2229" fmla="*/ 1484331 h 3664183"/>
              <a:gd name="connsiteX2230" fmla="*/ 5661995 w 9043663"/>
              <a:gd name="connsiteY2230" fmla="*/ 1484331 h 3664183"/>
              <a:gd name="connsiteX2231" fmla="*/ 5653634 w 9043663"/>
              <a:gd name="connsiteY2231" fmla="*/ 1491587 h 3664183"/>
              <a:gd name="connsiteX2232" fmla="*/ 5627355 w 9043663"/>
              <a:gd name="connsiteY2232" fmla="*/ 1482258 h 3664183"/>
              <a:gd name="connsiteX2233" fmla="*/ 5636911 w 9043663"/>
              <a:gd name="connsiteY2233" fmla="*/ 1466710 h 3664183"/>
              <a:gd name="connsiteX2234" fmla="*/ 5630938 w 9043663"/>
              <a:gd name="connsiteY2234" fmla="*/ 1440796 h 3664183"/>
              <a:gd name="connsiteX2235" fmla="*/ 5615410 w 9043663"/>
              <a:gd name="connsiteY2235" fmla="*/ 1433540 h 3664183"/>
              <a:gd name="connsiteX2236" fmla="*/ 5605853 w 9043663"/>
              <a:gd name="connsiteY2236" fmla="*/ 1450125 h 3664183"/>
              <a:gd name="connsiteX2237" fmla="*/ 5589130 w 9043663"/>
              <a:gd name="connsiteY2237" fmla="*/ 1420066 h 3664183"/>
              <a:gd name="connsiteX2238" fmla="*/ 5532988 w 9043663"/>
              <a:gd name="connsiteY2238" fmla="*/ 1366165 h 3664183"/>
              <a:gd name="connsiteX2239" fmla="*/ 5532988 w 9043663"/>
              <a:gd name="connsiteY2239" fmla="*/ 1365129 h 3664183"/>
              <a:gd name="connsiteX2240" fmla="*/ 5529404 w 9043663"/>
              <a:gd name="connsiteY2240" fmla="*/ 1364092 h 3664183"/>
              <a:gd name="connsiteX2241" fmla="*/ 5516265 w 9043663"/>
              <a:gd name="connsiteY2241" fmla="*/ 1345434 h 3664183"/>
              <a:gd name="connsiteX2242" fmla="*/ 5527016 w 9043663"/>
              <a:gd name="connsiteY2242" fmla="*/ 1343361 h 3664183"/>
              <a:gd name="connsiteX2243" fmla="*/ 5529404 w 9043663"/>
              <a:gd name="connsiteY2243" fmla="*/ 1343361 h 3664183"/>
              <a:gd name="connsiteX2244" fmla="*/ 5529404 w 9043663"/>
              <a:gd name="connsiteY2244" fmla="*/ 1343361 h 3664183"/>
              <a:gd name="connsiteX2245" fmla="*/ 5529404 w 9043663"/>
              <a:gd name="connsiteY2245" fmla="*/ 1343361 h 3664183"/>
              <a:gd name="connsiteX2246" fmla="*/ 5532988 w 9043663"/>
              <a:gd name="connsiteY2246" fmla="*/ 1328850 h 3664183"/>
              <a:gd name="connsiteX2247" fmla="*/ 5532988 w 9043663"/>
              <a:gd name="connsiteY2247" fmla="*/ 1328850 h 3664183"/>
              <a:gd name="connsiteX2248" fmla="*/ 5534182 w 9043663"/>
              <a:gd name="connsiteY2248" fmla="*/ 1327813 h 3664183"/>
              <a:gd name="connsiteX2249" fmla="*/ 5536572 w 9043663"/>
              <a:gd name="connsiteY2249" fmla="*/ 1327813 h 3664183"/>
              <a:gd name="connsiteX2250" fmla="*/ 5535377 w 9043663"/>
              <a:gd name="connsiteY2250" fmla="*/ 1326777 h 3664183"/>
              <a:gd name="connsiteX2251" fmla="*/ 5544933 w 9043663"/>
              <a:gd name="connsiteY2251" fmla="*/ 1315374 h 3664183"/>
              <a:gd name="connsiteX2252" fmla="*/ 5580769 w 9043663"/>
              <a:gd name="connsiteY2252" fmla="*/ 1331959 h 3664183"/>
              <a:gd name="connsiteX2253" fmla="*/ 5616604 w 9043663"/>
              <a:gd name="connsiteY2253" fmla="*/ 1385860 h 3664183"/>
              <a:gd name="connsiteX2254" fmla="*/ 5689469 w 9043663"/>
              <a:gd name="connsiteY2254" fmla="*/ 1422139 h 3664183"/>
              <a:gd name="connsiteX2255" fmla="*/ 5714554 w 9043663"/>
              <a:gd name="connsiteY2255" fmla="*/ 1425248 h 3664183"/>
              <a:gd name="connsiteX2256" fmla="*/ 5771891 w 9043663"/>
              <a:gd name="connsiteY2256" fmla="*/ 1409700 h 3664183"/>
              <a:gd name="connsiteX2257" fmla="*/ 5789809 w 9043663"/>
              <a:gd name="connsiteY2257" fmla="*/ 1442870 h 3664183"/>
              <a:gd name="connsiteX2258" fmla="*/ 5911649 w 9043663"/>
              <a:gd name="connsiteY2258" fmla="*/ 1455308 h 3664183"/>
              <a:gd name="connsiteX2259" fmla="*/ 5911649 w 9043663"/>
              <a:gd name="connsiteY2259" fmla="*/ 1458418 h 3664183"/>
              <a:gd name="connsiteX2260" fmla="*/ 5977347 w 9043663"/>
              <a:gd name="connsiteY2260" fmla="*/ 1455308 h 3664183"/>
              <a:gd name="connsiteX2261" fmla="*/ 6004821 w 9043663"/>
              <a:gd name="connsiteY2261" fmla="*/ 1463600 h 3664183"/>
              <a:gd name="connsiteX2262" fmla="*/ 6057379 w 9043663"/>
              <a:gd name="connsiteY2262" fmla="*/ 1458418 h 3664183"/>
              <a:gd name="connsiteX2263" fmla="*/ 6083659 w 9043663"/>
              <a:gd name="connsiteY2263" fmla="*/ 1496770 h 3664183"/>
              <a:gd name="connsiteX2264" fmla="*/ 6107549 w 9043663"/>
              <a:gd name="connsiteY2264" fmla="*/ 1502989 h 3664183"/>
              <a:gd name="connsiteX2265" fmla="*/ 6108744 w 9043663"/>
              <a:gd name="connsiteY2265" fmla="*/ 1501952 h 3664183"/>
              <a:gd name="connsiteX2266" fmla="*/ 6142190 w 9043663"/>
              <a:gd name="connsiteY2266" fmla="*/ 1525793 h 3664183"/>
              <a:gd name="connsiteX2267" fmla="*/ 6169664 w 9043663"/>
              <a:gd name="connsiteY2267" fmla="*/ 1520610 h 3664183"/>
              <a:gd name="connsiteX2268" fmla="*/ 6167275 w 9043663"/>
              <a:gd name="connsiteY2268" fmla="*/ 1533049 h 3664183"/>
              <a:gd name="connsiteX2269" fmla="*/ 6132634 w 9043663"/>
              <a:gd name="connsiteY2269" fmla="*/ 1536159 h 3664183"/>
              <a:gd name="connsiteX2270" fmla="*/ 6186387 w 9043663"/>
              <a:gd name="connsiteY2270" fmla="*/ 1579693 h 3664183"/>
              <a:gd name="connsiteX2271" fmla="*/ 6215055 w 9043663"/>
              <a:gd name="connsiteY2271" fmla="*/ 1574511 h 3664183"/>
              <a:gd name="connsiteX2272" fmla="*/ 6231779 w 9043663"/>
              <a:gd name="connsiteY2272" fmla="*/ 1566218 h 3664183"/>
              <a:gd name="connsiteX2273" fmla="*/ 6234168 w 9043663"/>
              <a:gd name="connsiteY2273" fmla="*/ 1541341 h 3664183"/>
              <a:gd name="connsiteX2274" fmla="*/ 6237751 w 9043663"/>
              <a:gd name="connsiteY2274" fmla="*/ 1541341 h 3664183"/>
              <a:gd name="connsiteX2275" fmla="*/ 6275976 w 9043663"/>
              <a:gd name="connsiteY2275" fmla="*/ 1694750 h 3664183"/>
              <a:gd name="connsiteX2276" fmla="*/ 6311811 w 9043663"/>
              <a:gd name="connsiteY2276" fmla="*/ 1749686 h 3664183"/>
              <a:gd name="connsiteX2277" fmla="*/ 6381093 w 9043663"/>
              <a:gd name="connsiteY2277" fmla="*/ 1902059 h 3664183"/>
              <a:gd name="connsiteX2278" fmla="*/ 6381093 w 9043663"/>
              <a:gd name="connsiteY2278" fmla="*/ 1903095 h 3664183"/>
              <a:gd name="connsiteX2279" fmla="*/ 6416928 w 9043663"/>
              <a:gd name="connsiteY2279" fmla="*/ 1927972 h 3664183"/>
              <a:gd name="connsiteX2280" fmla="*/ 6439624 w 9043663"/>
              <a:gd name="connsiteY2280" fmla="*/ 1905168 h 3664183"/>
              <a:gd name="connsiteX2281" fmla="*/ 6461125 w 9043663"/>
              <a:gd name="connsiteY2281" fmla="*/ 1894803 h 3664183"/>
              <a:gd name="connsiteX2282" fmla="*/ 6469486 w 9043663"/>
              <a:gd name="connsiteY2282" fmla="*/ 1869926 h 3664183"/>
              <a:gd name="connsiteX2283" fmla="*/ 6488599 w 9043663"/>
              <a:gd name="connsiteY2283" fmla="*/ 1886510 h 3664183"/>
              <a:gd name="connsiteX2284" fmla="*/ 6476654 w 9043663"/>
              <a:gd name="connsiteY2284" fmla="*/ 1921753 h 3664183"/>
              <a:gd name="connsiteX2285" fmla="*/ 6495766 w 9043663"/>
              <a:gd name="connsiteY2285" fmla="*/ 1983945 h 3664183"/>
              <a:gd name="connsiteX2286" fmla="*/ 6529212 w 9043663"/>
              <a:gd name="connsiteY2286" fmla="*/ 1977726 h 3664183"/>
              <a:gd name="connsiteX2287" fmla="*/ 6542352 w 9043663"/>
              <a:gd name="connsiteY2287" fmla="*/ 1966324 h 3664183"/>
              <a:gd name="connsiteX2288" fmla="*/ 6545936 w 9043663"/>
              <a:gd name="connsiteY2288" fmla="*/ 1933155 h 3664183"/>
              <a:gd name="connsiteX2289" fmla="*/ 6502933 w 9043663"/>
              <a:gd name="connsiteY2289" fmla="*/ 1883401 h 3664183"/>
              <a:gd name="connsiteX2290" fmla="*/ 6469486 w 9043663"/>
              <a:gd name="connsiteY2290" fmla="*/ 1868889 h 3664183"/>
              <a:gd name="connsiteX2291" fmla="*/ 6469486 w 9043663"/>
              <a:gd name="connsiteY2291" fmla="*/ 1866816 h 3664183"/>
              <a:gd name="connsiteX2292" fmla="*/ 6482627 w 9043663"/>
              <a:gd name="connsiteY2292" fmla="*/ 1866816 h 3664183"/>
              <a:gd name="connsiteX2293" fmla="*/ 6479043 w 9043663"/>
              <a:gd name="connsiteY2293" fmla="*/ 1823281 h 3664183"/>
              <a:gd name="connsiteX2294" fmla="*/ 6490988 w 9043663"/>
              <a:gd name="connsiteY2294" fmla="*/ 1781819 h 3664183"/>
              <a:gd name="connsiteX2295" fmla="*/ 6479043 w 9043663"/>
              <a:gd name="connsiteY2295" fmla="*/ 1735175 h 3664183"/>
              <a:gd name="connsiteX2296" fmla="*/ 6483821 w 9043663"/>
              <a:gd name="connsiteY2296" fmla="*/ 1714444 h 3664183"/>
              <a:gd name="connsiteX2297" fmla="*/ 6501739 w 9043663"/>
              <a:gd name="connsiteY2297" fmla="*/ 1717554 h 3664183"/>
              <a:gd name="connsiteX2298" fmla="*/ 6505322 w 9043663"/>
              <a:gd name="connsiteY2298" fmla="*/ 1704079 h 3664183"/>
              <a:gd name="connsiteX2299" fmla="*/ 6532796 w 9043663"/>
              <a:gd name="connsiteY2299" fmla="*/ 1700969 h 3664183"/>
              <a:gd name="connsiteX2300" fmla="*/ 6536380 w 9043663"/>
              <a:gd name="connsiteY2300" fmla="*/ 1682311 h 3664183"/>
              <a:gd name="connsiteX2301" fmla="*/ 6592522 w 9043663"/>
              <a:gd name="connsiteY2301" fmla="*/ 1641886 h 3664183"/>
              <a:gd name="connsiteX2302" fmla="*/ 6608051 w 9043663"/>
              <a:gd name="connsiteY2302" fmla="*/ 1619082 h 3664183"/>
              <a:gd name="connsiteX2303" fmla="*/ 6647469 w 9043663"/>
              <a:gd name="connsiteY2303" fmla="*/ 1603534 h 3664183"/>
              <a:gd name="connsiteX2304" fmla="*/ 6659414 w 9043663"/>
              <a:gd name="connsiteY2304" fmla="*/ 1562072 h 3664183"/>
              <a:gd name="connsiteX2305" fmla="*/ 6686888 w 9043663"/>
              <a:gd name="connsiteY2305" fmla="*/ 1553780 h 3664183"/>
              <a:gd name="connsiteX2306" fmla="*/ 6686888 w 9043663"/>
              <a:gd name="connsiteY2306" fmla="*/ 1552743 h 3664183"/>
              <a:gd name="connsiteX2307" fmla="*/ 6691666 w 9043663"/>
              <a:gd name="connsiteY2307" fmla="*/ 1559999 h 3664183"/>
              <a:gd name="connsiteX2308" fmla="*/ 6708389 w 9043663"/>
              <a:gd name="connsiteY2308" fmla="*/ 1556889 h 3664183"/>
              <a:gd name="connsiteX2309" fmla="*/ 6747809 w 9043663"/>
              <a:gd name="connsiteY2309" fmla="*/ 1551707 h 3664183"/>
              <a:gd name="connsiteX2310" fmla="*/ 6772893 w 9043663"/>
              <a:gd name="connsiteY2310" fmla="*/ 1527866 h 3664183"/>
              <a:gd name="connsiteX2311" fmla="*/ 6803950 w 9043663"/>
              <a:gd name="connsiteY2311" fmla="*/ 1576584 h 3664183"/>
              <a:gd name="connsiteX2312" fmla="*/ 6803950 w 9043663"/>
              <a:gd name="connsiteY2312" fmla="*/ 1578657 h 3664183"/>
              <a:gd name="connsiteX2313" fmla="*/ 6807534 w 9043663"/>
              <a:gd name="connsiteY2313" fmla="*/ 1581766 h 3664183"/>
              <a:gd name="connsiteX2314" fmla="*/ 6808729 w 9043663"/>
              <a:gd name="connsiteY2314" fmla="*/ 1582803 h 3664183"/>
              <a:gd name="connsiteX2315" fmla="*/ 6808729 w 9043663"/>
              <a:gd name="connsiteY2315" fmla="*/ 1581766 h 3664183"/>
              <a:gd name="connsiteX2316" fmla="*/ 6838592 w 9043663"/>
              <a:gd name="connsiteY2316" fmla="*/ 1603534 h 3664183"/>
              <a:gd name="connsiteX2317" fmla="*/ 6846953 w 9043663"/>
              <a:gd name="connsiteY2317" fmla="*/ 1603534 h 3664183"/>
              <a:gd name="connsiteX2318" fmla="*/ 6858898 w 9043663"/>
              <a:gd name="connsiteY2318" fmla="*/ 1634630 h 3664183"/>
              <a:gd name="connsiteX2319" fmla="*/ 6870844 w 9043663"/>
              <a:gd name="connsiteY2319" fmla="*/ 1634630 h 3664183"/>
              <a:gd name="connsiteX2320" fmla="*/ 6885178 w 9043663"/>
              <a:gd name="connsiteY2320" fmla="*/ 1676092 h 3664183"/>
              <a:gd name="connsiteX2321" fmla="*/ 6881594 w 9043663"/>
              <a:gd name="connsiteY2321" fmla="*/ 1706152 h 3664183"/>
              <a:gd name="connsiteX2322" fmla="*/ 6921013 w 9043663"/>
              <a:gd name="connsiteY2322" fmla="*/ 1717554 h 3664183"/>
              <a:gd name="connsiteX2323" fmla="*/ 6955654 w 9043663"/>
              <a:gd name="connsiteY2323" fmla="*/ 1687494 h 3664183"/>
              <a:gd name="connsiteX2324" fmla="*/ 6972377 w 9043663"/>
              <a:gd name="connsiteY2324" fmla="*/ 1696823 h 3664183"/>
              <a:gd name="connsiteX2325" fmla="*/ 4831808 w 9043663"/>
              <a:gd name="connsiteY2325" fmla="*/ 274684 h 3664183"/>
              <a:gd name="connsiteX2326" fmla="*/ 4831808 w 9043663"/>
              <a:gd name="connsiteY2326" fmla="*/ 274684 h 3664183"/>
              <a:gd name="connsiteX2327" fmla="*/ 4836586 w 9043663"/>
              <a:gd name="connsiteY2327" fmla="*/ 275721 h 3664183"/>
              <a:gd name="connsiteX2328" fmla="*/ 4831808 w 9043663"/>
              <a:gd name="connsiteY2328" fmla="*/ 274684 h 3664183"/>
              <a:gd name="connsiteX2329" fmla="*/ 4886756 w 9043663"/>
              <a:gd name="connsiteY2329" fmla="*/ 825089 h 3664183"/>
              <a:gd name="connsiteX2330" fmla="*/ 4877200 w 9043663"/>
              <a:gd name="connsiteY2330" fmla="*/ 820943 h 3664183"/>
              <a:gd name="connsiteX2331" fmla="*/ 4892729 w 9043663"/>
              <a:gd name="connsiteY2331" fmla="*/ 818870 h 3664183"/>
              <a:gd name="connsiteX2332" fmla="*/ 4935731 w 9043663"/>
              <a:gd name="connsiteY2332" fmla="*/ 828199 h 3664183"/>
              <a:gd name="connsiteX2333" fmla="*/ 4938120 w 9043663"/>
              <a:gd name="connsiteY2333" fmla="*/ 837528 h 3664183"/>
              <a:gd name="connsiteX2334" fmla="*/ 4962010 w 9043663"/>
              <a:gd name="connsiteY2334" fmla="*/ 861368 h 3664183"/>
              <a:gd name="connsiteX2335" fmla="*/ 4962010 w 9043663"/>
              <a:gd name="connsiteY2335" fmla="*/ 868624 h 3664183"/>
              <a:gd name="connsiteX2336" fmla="*/ 4942898 w 9043663"/>
              <a:gd name="connsiteY2336" fmla="*/ 868624 h 3664183"/>
              <a:gd name="connsiteX2337" fmla="*/ 4927370 w 9043663"/>
              <a:gd name="connsiteY2337" fmla="*/ 884172 h 3664183"/>
              <a:gd name="connsiteX2338" fmla="*/ 4920202 w 9043663"/>
              <a:gd name="connsiteY2338" fmla="*/ 858259 h 3664183"/>
              <a:gd name="connsiteX2339" fmla="*/ 4886756 w 9043663"/>
              <a:gd name="connsiteY2339" fmla="*/ 825089 h 3664183"/>
              <a:gd name="connsiteX2340" fmla="*/ 4957232 w 9043663"/>
              <a:gd name="connsiteY2340" fmla="*/ 1034471 h 3664183"/>
              <a:gd name="connsiteX2341" fmla="*/ 4904674 w 9043663"/>
              <a:gd name="connsiteY2341" fmla="*/ 1034471 h 3664183"/>
              <a:gd name="connsiteX2342" fmla="*/ 4921397 w 9043663"/>
              <a:gd name="connsiteY2342" fmla="*/ 1024106 h 3664183"/>
              <a:gd name="connsiteX2343" fmla="*/ 4954843 w 9043663"/>
              <a:gd name="connsiteY2343" fmla="*/ 1022033 h 3664183"/>
              <a:gd name="connsiteX2344" fmla="*/ 4962010 w 9043663"/>
              <a:gd name="connsiteY2344" fmla="*/ 1027215 h 3664183"/>
              <a:gd name="connsiteX2345" fmla="*/ 4948871 w 9043663"/>
              <a:gd name="connsiteY2345" fmla="*/ 1027215 h 3664183"/>
              <a:gd name="connsiteX2346" fmla="*/ 4957232 w 9043663"/>
              <a:gd name="connsiteY2346" fmla="*/ 1034471 h 3664183"/>
              <a:gd name="connsiteX2347" fmla="*/ 5286918 w 9043663"/>
              <a:gd name="connsiteY2347" fmla="*/ 1000265 h 3664183"/>
              <a:gd name="connsiteX2348" fmla="*/ 5249888 w 9043663"/>
              <a:gd name="connsiteY2348" fmla="*/ 1015813 h 3664183"/>
              <a:gd name="connsiteX2349" fmla="*/ 5179412 w 9043663"/>
              <a:gd name="connsiteY2349" fmla="*/ 1015813 h 3664183"/>
              <a:gd name="connsiteX2350" fmla="*/ 5117297 w 9043663"/>
              <a:gd name="connsiteY2350" fmla="*/ 989900 h 3664183"/>
              <a:gd name="connsiteX2351" fmla="*/ 5067128 w 9043663"/>
              <a:gd name="connsiteY2351" fmla="*/ 989900 h 3664183"/>
              <a:gd name="connsiteX2352" fmla="*/ 5013375 w 9043663"/>
              <a:gd name="connsiteY2352" fmla="*/ 1015813 h 3664183"/>
              <a:gd name="connsiteX2353" fmla="*/ 4982317 w 9043663"/>
              <a:gd name="connsiteY2353" fmla="*/ 1015813 h 3664183"/>
              <a:gd name="connsiteX2354" fmla="*/ 4947676 w 9043663"/>
              <a:gd name="connsiteY2354" fmla="*/ 1005448 h 3664183"/>
              <a:gd name="connsiteX2355" fmla="*/ 4935731 w 9043663"/>
              <a:gd name="connsiteY2355" fmla="*/ 989900 h 3664183"/>
              <a:gd name="connsiteX2356" fmla="*/ 4932148 w 9043663"/>
              <a:gd name="connsiteY2356" fmla="*/ 989900 h 3664183"/>
              <a:gd name="connsiteX2357" fmla="*/ 4916619 w 9043663"/>
              <a:gd name="connsiteY2357" fmla="*/ 976425 h 3664183"/>
              <a:gd name="connsiteX2358" fmla="*/ 4927370 w 9043663"/>
              <a:gd name="connsiteY2358" fmla="*/ 958803 h 3664183"/>
              <a:gd name="connsiteX2359" fmla="*/ 4939315 w 9043663"/>
              <a:gd name="connsiteY2359" fmla="*/ 955694 h 3664183"/>
              <a:gd name="connsiteX2360" fmla="*/ 4944093 w 9043663"/>
              <a:gd name="connsiteY2360" fmla="*/ 944292 h 3664183"/>
              <a:gd name="connsiteX2361" fmla="*/ 4940509 w 9043663"/>
              <a:gd name="connsiteY2361" fmla="*/ 943255 h 3664183"/>
              <a:gd name="connsiteX2362" fmla="*/ 4940509 w 9043663"/>
              <a:gd name="connsiteY2362" fmla="*/ 926670 h 3664183"/>
              <a:gd name="connsiteX2363" fmla="*/ 4960816 w 9043663"/>
              <a:gd name="connsiteY2363" fmla="*/ 916305 h 3664183"/>
              <a:gd name="connsiteX2364" fmla="*/ 4963205 w 9043663"/>
              <a:gd name="connsiteY2364" fmla="*/ 901793 h 3664183"/>
              <a:gd name="connsiteX2365" fmla="*/ 4964400 w 9043663"/>
              <a:gd name="connsiteY2365" fmla="*/ 901793 h 3664183"/>
              <a:gd name="connsiteX2366" fmla="*/ 4963205 w 9043663"/>
              <a:gd name="connsiteY2366" fmla="*/ 898684 h 3664183"/>
              <a:gd name="connsiteX2367" fmla="*/ 4963205 w 9043663"/>
              <a:gd name="connsiteY2367" fmla="*/ 896611 h 3664183"/>
              <a:gd name="connsiteX2368" fmla="*/ 4962010 w 9043663"/>
              <a:gd name="connsiteY2368" fmla="*/ 896611 h 3664183"/>
              <a:gd name="connsiteX2369" fmla="*/ 4960816 w 9043663"/>
              <a:gd name="connsiteY2369" fmla="*/ 890391 h 3664183"/>
              <a:gd name="connsiteX2370" fmla="*/ 4973955 w 9043663"/>
              <a:gd name="connsiteY2370" fmla="*/ 888318 h 3664183"/>
              <a:gd name="connsiteX2371" fmla="*/ 4988290 w 9043663"/>
              <a:gd name="connsiteY2371" fmla="*/ 867587 h 3664183"/>
              <a:gd name="connsiteX2372" fmla="*/ 5015763 w 9043663"/>
              <a:gd name="connsiteY2372" fmla="*/ 867587 h 3664183"/>
              <a:gd name="connsiteX2373" fmla="*/ 5013375 w 9043663"/>
              <a:gd name="connsiteY2373" fmla="*/ 876916 h 3664183"/>
              <a:gd name="connsiteX2374" fmla="*/ 5056377 w 9043663"/>
              <a:gd name="connsiteY2374" fmla="*/ 886245 h 3664183"/>
              <a:gd name="connsiteX2375" fmla="*/ 5031292 w 9043663"/>
              <a:gd name="connsiteY2375" fmla="*/ 897647 h 3664183"/>
              <a:gd name="connsiteX2376" fmla="*/ 5057571 w 9043663"/>
              <a:gd name="connsiteY2376" fmla="*/ 912159 h 3664183"/>
              <a:gd name="connsiteX2377" fmla="*/ 5057571 w 9043663"/>
              <a:gd name="connsiteY2377" fmla="*/ 920451 h 3664183"/>
              <a:gd name="connsiteX2378" fmla="*/ 5071906 w 9043663"/>
              <a:gd name="connsiteY2378" fmla="*/ 926670 h 3664183"/>
              <a:gd name="connsiteX2379" fmla="*/ 5117297 w 9043663"/>
              <a:gd name="connsiteY2379" fmla="*/ 908013 h 3664183"/>
              <a:gd name="connsiteX2380" fmla="*/ 5139993 w 9043663"/>
              <a:gd name="connsiteY2380" fmla="*/ 908013 h 3664183"/>
              <a:gd name="connsiteX2381" fmla="*/ 5139993 w 9043663"/>
              <a:gd name="connsiteY2381" fmla="*/ 897647 h 3664183"/>
              <a:gd name="connsiteX2382" fmla="*/ 5113714 w 9043663"/>
              <a:gd name="connsiteY2382" fmla="*/ 897647 h 3664183"/>
              <a:gd name="connsiteX2383" fmla="*/ 5088629 w 9043663"/>
              <a:gd name="connsiteY2383" fmla="*/ 885209 h 3664183"/>
              <a:gd name="connsiteX2384" fmla="*/ 5157911 w 9043663"/>
              <a:gd name="connsiteY2384" fmla="*/ 854112 h 3664183"/>
              <a:gd name="connsiteX2385" fmla="*/ 5175828 w 9043663"/>
              <a:gd name="connsiteY2385" fmla="*/ 854112 h 3664183"/>
              <a:gd name="connsiteX2386" fmla="*/ 5156716 w 9043663"/>
              <a:gd name="connsiteY2386" fmla="*/ 858259 h 3664183"/>
              <a:gd name="connsiteX2387" fmla="*/ 5171050 w 9043663"/>
              <a:gd name="connsiteY2387" fmla="*/ 870697 h 3664183"/>
              <a:gd name="connsiteX2388" fmla="*/ 5154327 w 9043663"/>
              <a:gd name="connsiteY2388" fmla="*/ 894538 h 3664183"/>
              <a:gd name="connsiteX2389" fmla="*/ 5141187 w 9043663"/>
              <a:gd name="connsiteY2389" fmla="*/ 899720 h 3664183"/>
              <a:gd name="connsiteX2390" fmla="*/ 5141187 w 9043663"/>
              <a:gd name="connsiteY2390" fmla="*/ 906976 h 3664183"/>
              <a:gd name="connsiteX2391" fmla="*/ 5145965 w 9043663"/>
              <a:gd name="connsiteY2391" fmla="*/ 906976 h 3664183"/>
              <a:gd name="connsiteX2392" fmla="*/ 5228387 w 9043663"/>
              <a:gd name="connsiteY2392" fmla="*/ 946365 h 3664183"/>
              <a:gd name="connsiteX2393" fmla="*/ 5260639 w 9043663"/>
              <a:gd name="connsiteY2393" fmla="*/ 968132 h 3664183"/>
              <a:gd name="connsiteX2394" fmla="*/ 5280946 w 9043663"/>
              <a:gd name="connsiteY2394" fmla="*/ 993009 h 3664183"/>
              <a:gd name="connsiteX2395" fmla="*/ 5280946 w 9043663"/>
              <a:gd name="connsiteY2395" fmla="*/ 1000265 h 3664183"/>
              <a:gd name="connsiteX2396" fmla="*/ 5586741 w 9043663"/>
              <a:gd name="connsiteY2396" fmla="*/ 1135016 h 3664183"/>
              <a:gd name="connsiteX2397" fmla="*/ 5517459 w 9043663"/>
              <a:gd name="connsiteY2397" fmla="*/ 1110139 h 3664183"/>
              <a:gd name="connsiteX2398" fmla="*/ 5509098 w 9043663"/>
              <a:gd name="connsiteY2398" fmla="*/ 1087335 h 3664183"/>
              <a:gd name="connsiteX2399" fmla="*/ 5506709 w 9043663"/>
              <a:gd name="connsiteY2399" fmla="*/ 1085262 h 3664183"/>
              <a:gd name="connsiteX2400" fmla="*/ 5501931 w 9043663"/>
              <a:gd name="connsiteY2400" fmla="*/ 1067641 h 3664183"/>
              <a:gd name="connsiteX2401" fmla="*/ 5512681 w 9043663"/>
              <a:gd name="connsiteY2401" fmla="*/ 1067641 h 3664183"/>
              <a:gd name="connsiteX2402" fmla="*/ 5516265 w 9043663"/>
              <a:gd name="connsiteY2402" fmla="*/ 1047946 h 3664183"/>
              <a:gd name="connsiteX2403" fmla="*/ 5536572 w 9043663"/>
              <a:gd name="connsiteY2403" fmla="*/ 1033434 h 3664183"/>
              <a:gd name="connsiteX2404" fmla="*/ 5500736 w 9043663"/>
              <a:gd name="connsiteY2404" fmla="*/ 1013740 h 3664183"/>
              <a:gd name="connsiteX2405" fmla="*/ 5478040 w 9043663"/>
              <a:gd name="connsiteY2405" fmla="*/ 990936 h 3664183"/>
              <a:gd name="connsiteX2406" fmla="*/ 5479235 w 9043663"/>
              <a:gd name="connsiteY2406" fmla="*/ 989900 h 3664183"/>
              <a:gd name="connsiteX2407" fmla="*/ 5442205 w 9043663"/>
              <a:gd name="connsiteY2407" fmla="*/ 957767 h 3664183"/>
              <a:gd name="connsiteX2408" fmla="*/ 5442205 w 9043663"/>
              <a:gd name="connsiteY2408" fmla="*/ 940146 h 3664183"/>
              <a:gd name="connsiteX2409" fmla="*/ 5415926 w 9043663"/>
              <a:gd name="connsiteY2409" fmla="*/ 912159 h 3664183"/>
              <a:gd name="connsiteX2410" fmla="*/ 5429065 w 9043663"/>
              <a:gd name="connsiteY2410" fmla="*/ 884172 h 3664183"/>
              <a:gd name="connsiteX2411" fmla="*/ 5445788 w 9043663"/>
              <a:gd name="connsiteY2411" fmla="*/ 886245 h 3664183"/>
              <a:gd name="connsiteX2412" fmla="*/ 5460123 w 9043663"/>
              <a:gd name="connsiteY2412" fmla="*/ 875880 h 3664183"/>
              <a:gd name="connsiteX2413" fmla="*/ 5468484 w 9043663"/>
              <a:gd name="connsiteY2413" fmla="*/ 881063 h 3664183"/>
              <a:gd name="connsiteX2414" fmla="*/ 5468484 w 9043663"/>
              <a:gd name="connsiteY2414" fmla="*/ 867587 h 3664183"/>
              <a:gd name="connsiteX2415" fmla="*/ 5513876 w 9043663"/>
              <a:gd name="connsiteY2415" fmla="*/ 853076 h 3664183"/>
              <a:gd name="connsiteX2416" fmla="*/ 5554489 w 9043663"/>
              <a:gd name="connsiteY2416" fmla="*/ 855149 h 3664183"/>
              <a:gd name="connsiteX2417" fmla="*/ 5585547 w 9043663"/>
              <a:gd name="connsiteY2417" fmla="*/ 872770 h 3664183"/>
              <a:gd name="connsiteX2418" fmla="*/ 5605853 w 9043663"/>
              <a:gd name="connsiteY2418" fmla="*/ 901793 h 3664183"/>
              <a:gd name="connsiteX2419" fmla="*/ 5541350 w 9043663"/>
              <a:gd name="connsiteY2419" fmla="*/ 899720 h 3664183"/>
              <a:gd name="connsiteX2420" fmla="*/ 5530599 w 9043663"/>
              <a:gd name="connsiteY2420" fmla="*/ 913195 h 3664183"/>
              <a:gd name="connsiteX2421" fmla="*/ 5536572 w 9043663"/>
              <a:gd name="connsiteY2421" fmla="*/ 920451 h 3664183"/>
              <a:gd name="connsiteX2422" fmla="*/ 5510292 w 9043663"/>
              <a:gd name="connsiteY2422" fmla="*/ 918378 h 3664183"/>
              <a:gd name="connsiteX2423" fmla="*/ 5510292 w 9043663"/>
              <a:gd name="connsiteY2423" fmla="*/ 933926 h 3664183"/>
              <a:gd name="connsiteX2424" fmla="*/ 5527016 w 9043663"/>
              <a:gd name="connsiteY2424" fmla="*/ 937036 h 3664183"/>
              <a:gd name="connsiteX2425" fmla="*/ 5560462 w 9043663"/>
              <a:gd name="connsiteY2425" fmla="*/ 971242 h 3664183"/>
              <a:gd name="connsiteX2426" fmla="*/ 5577185 w 9043663"/>
              <a:gd name="connsiteY2426" fmla="*/ 971242 h 3664183"/>
              <a:gd name="connsiteX2427" fmla="*/ 5577185 w 9043663"/>
              <a:gd name="connsiteY2427" fmla="*/ 994046 h 3664183"/>
              <a:gd name="connsiteX2428" fmla="*/ 5586741 w 9043663"/>
              <a:gd name="connsiteY2428" fmla="*/ 998192 h 3664183"/>
              <a:gd name="connsiteX2429" fmla="*/ 5586741 w 9043663"/>
              <a:gd name="connsiteY2429" fmla="*/ 998192 h 3664183"/>
              <a:gd name="connsiteX2430" fmla="*/ 5603464 w 9043663"/>
              <a:gd name="connsiteY2430" fmla="*/ 1027215 h 3664183"/>
              <a:gd name="connsiteX2431" fmla="*/ 5601075 w 9043663"/>
              <a:gd name="connsiteY2431" fmla="*/ 1042763 h 3664183"/>
              <a:gd name="connsiteX2432" fmla="*/ 5604659 w 9043663"/>
              <a:gd name="connsiteY2432" fmla="*/ 1053129 h 3664183"/>
              <a:gd name="connsiteX2433" fmla="*/ 5622577 w 9043663"/>
              <a:gd name="connsiteY2433" fmla="*/ 1053129 h 3664183"/>
              <a:gd name="connsiteX2434" fmla="*/ 5634522 w 9043663"/>
              <a:gd name="connsiteY2434" fmla="*/ 1072823 h 3664183"/>
              <a:gd name="connsiteX2435" fmla="*/ 5645272 w 9043663"/>
              <a:gd name="connsiteY2435" fmla="*/ 1078006 h 3664183"/>
              <a:gd name="connsiteX2436" fmla="*/ 5647661 w 9043663"/>
              <a:gd name="connsiteY2436" fmla="*/ 1119468 h 3664183"/>
              <a:gd name="connsiteX2437" fmla="*/ 5647661 w 9043663"/>
              <a:gd name="connsiteY2437" fmla="*/ 1119468 h 3664183"/>
              <a:gd name="connsiteX2438" fmla="*/ 5647661 w 9043663"/>
              <a:gd name="connsiteY2438" fmla="*/ 1121541 h 3664183"/>
              <a:gd name="connsiteX2439" fmla="*/ 5647661 w 9043663"/>
              <a:gd name="connsiteY2439" fmla="*/ 1125687 h 3664183"/>
              <a:gd name="connsiteX2440" fmla="*/ 5647661 w 9043663"/>
              <a:gd name="connsiteY2440" fmla="*/ 1125687 h 3664183"/>
              <a:gd name="connsiteX2441" fmla="*/ 5648856 w 9043663"/>
              <a:gd name="connsiteY2441" fmla="*/ 1135016 h 3664183"/>
              <a:gd name="connsiteX2442" fmla="*/ 5586741 w 9043663"/>
              <a:gd name="connsiteY2442" fmla="*/ 1135016 h 3664183"/>
              <a:gd name="connsiteX2443" fmla="*/ 5639300 w 9043663"/>
              <a:gd name="connsiteY2443" fmla="*/ 1026179 h 3664183"/>
              <a:gd name="connsiteX2444" fmla="*/ 5602270 w 9043663"/>
              <a:gd name="connsiteY2444" fmla="*/ 1020996 h 3664183"/>
              <a:gd name="connsiteX2445" fmla="*/ 5602270 w 9043663"/>
              <a:gd name="connsiteY2445" fmla="*/ 1024106 h 3664183"/>
              <a:gd name="connsiteX2446" fmla="*/ 5602270 w 9043663"/>
              <a:gd name="connsiteY2446" fmla="*/ 995082 h 3664183"/>
              <a:gd name="connsiteX2447" fmla="*/ 5616604 w 9043663"/>
              <a:gd name="connsiteY2447" fmla="*/ 993009 h 3664183"/>
              <a:gd name="connsiteX2448" fmla="*/ 5651245 w 9043663"/>
              <a:gd name="connsiteY2448" fmla="*/ 1018923 h 3664183"/>
              <a:gd name="connsiteX2449" fmla="*/ 5639300 w 9043663"/>
              <a:gd name="connsiteY2449" fmla="*/ 1026179 h 3664183"/>
              <a:gd name="connsiteX2450" fmla="*/ 6453958 w 9043663"/>
              <a:gd name="connsiteY2450" fmla="*/ 181395 h 3664183"/>
              <a:gd name="connsiteX2451" fmla="*/ 6439624 w 9043663"/>
              <a:gd name="connsiteY2451" fmla="*/ 193834 h 3664183"/>
              <a:gd name="connsiteX2452" fmla="*/ 6450375 w 9043663"/>
              <a:gd name="connsiteY2452" fmla="*/ 194870 h 3664183"/>
              <a:gd name="connsiteX2453" fmla="*/ 6406177 w 9043663"/>
              <a:gd name="connsiteY2453" fmla="*/ 204199 h 3664183"/>
              <a:gd name="connsiteX2454" fmla="*/ 6406177 w 9043663"/>
              <a:gd name="connsiteY2454" fmla="*/ 193834 h 3664183"/>
              <a:gd name="connsiteX2455" fmla="*/ 6453958 w 9043663"/>
              <a:gd name="connsiteY2455" fmla="*/ 174139 h 3664183"/>
              <a:gd name="connsiteX2456" fmla="*/ 6489793 w 9043663"/>
              <a:gd name="connsiteY2456" fmla="*/ 185541 h 3664183"/>
              <a:gd name="connsiteX2457" fmla="*/ 6453958 w 9043663"/>
              <a:gd name="connsiteY2457" fmla="*/ 181395 h 3664183"/>
              <a:gd name="connsiteX2458" fmla="*/ 6958043 w 9043663"/>
              <a:gd name="connsiteY2458" fmla="*/ 2069979 h 3664183"/>
              <a:gd name="connsiteX2459" fmla="*/ 6972377 w 9043663"/>
              <a:gd name="connsiteY2459" fmla="*/ 2078271 h 3664183"/>
              <a:gd name="connsiteX2460" fmla="*/ 6975961 w 9043663"/>
              <a:gd name="connsiteY2460" fmla="*/ 2074125 h 3664183"/>
              <a:gd name="connsiteX2461" fmla="*/ 6961626 w 9043663"/>
              <a:gd name="connsiteY2461" fmla="*/ 2065832 h 3664183"/>
              <a:gd name="connsiteX2462" fmla="*/ 6958043 w 9043663"/>
              <a:gd name="connsiteY2462" fmla="*/ 2069979 h 3664183"/>
              <a:gd name="connsiteX2463" fmla="*/ 6991489 w 9043663"/>
              <a:gd name="connsiteY2463" fmla="*/ 2109367 h 3664183"/>
              <a:gd name="connsiteX2464" fmla="*/ 7016574 w 9043663"/>
              <a:gd name="connsiteY2464" fmla="*/ 2134244 h 3664183"/>
              <a:gd name="connsiteX2465" fmla="*/ 7016574 w 9043663"/>
              <a:gd name="connsiteY2465" fmla="*/ 2115587 h 3664183"/>
              <a:gd name="connsiteX2466" fmla="*/ 7002240 w 9043663"/>
              <a:gd name="connsiteY2466" fmla="*/ 2100039 h 3664183"/>
              <a:gd name="connsiteX2467" fmla="*/ 6991489 w 9043663"/>
              <a:gd name="connsiteY2467" fmla="*/ 2109367 h 3664183"/>
              <a:gd name="connsiteX2468" fmla="*/ 7033297 w 9043663"/>
              <a:gd name="connsiteY2468" fmla="*/ 2170523 h 3664183"/>
              <a:gd name="connsiteX2469" fmla="*/ 7044048 w 9043663"/>
              <a:gd name="connsiteY2469" fmla="*/ 2192291 h 3664183"/>
              <a:gd name="connsiteX2470" fmla="*/ 7061966 w 9043663"/>
              <a:gd name="connsiteY2470" fmla="*/ 2192291 h 3664183"/>
              <a:gd name="connsiteX2471" fmla="*/ 7046437 w 9043663"/>
              <a:gd name="connsiteY2471" fmla="*/ 2162231 h 3664183"/>
              <a:gd name="connsiteX2472" fmla="*/ 7033297 w 9043663"/>
              <a:gd name="connsiteY2472" fmla="*/ 2170523 h 3664183"/>
              <a:gd name="connsiteX2473" fmla="*/ 7304452 w 9043663"/>
              <a:gd name="connsiteY2473" fmla="*/ 1594205 h 3664183"/>
              <a:gd name="connsiteX2474" fmla="*/ 7281756 w 9043663"/>
              <a:gd name="connsiteY2474" fmla="*/ 1611826 h 3664183"/>
              <a:gd name="connsiteX2475" fmla="*/ 7288923 w 9043663"/>
              <a:gd name="connsiteY2475" fmla="*/ 1637740 h 3664183"/>
              <a:gd name="connsiteX2476" fmla="*/ 7318786 w 9043663"/>
              <a:gd name="connsiteY2476" fmla="*/ 1646032 h 3664183"/>
              <a:gd name="connsiteX2477" fmla="*/ 7341482 w 9043663"/>
              <a:gd name="connsiteY2477" fmla="*/ 1629448 h 3664183"/>
              <a:gd name="connsiteX2478" fmla="*/ 7351038 w 9043663"/>
              <a:gd name="connsiteY2478" fmla="*/ 1591095 h 3664183"/>
              <a:gd name="connsiteX2479" fmla="*/ 7304452 w 9043663"/>
              <a:gd name="connsiteY2479" fmla="*/ 1594205 h 3664183"/>
              <a:gd name="connsiteX2480" fmla="*/ 7431070 w 9043663"/>
              <a:gd name="connsiteY2480" fmla="*/ 2371613 h 3664183"/>
              <a:gd name="connsiteX2481" fmla="*/ 7448988 w 9043663"/>
              <a:gd name="connsiteY2481" fmla="*/ 2369540 h 3664183"/>
              <a:gd name="connsiteX2482" fmla="*/ 7494380 w 9043663"/>
              <a:gd name="connsiteY2482" fmla="*/ 2380942 h 3664183"/>
              <a:gd name="connsiteX2483" fmla="*/ 7494380 w 9043663"/>
              <a:gd name="connsiteY2483" fmla="*/ 2372650 h 3664183"/>
              <a:gd name="connsiteX2484" fmla="*/ 7506325 w 9043663"/>
              <a:gd name="connsiteY2484" fmla="*/ 2380942 h 3664183"/>
              <a:gd name="connsiteX2485" fmla="*/ 7507519 w 9043663"/>
              <a:gd name="connsiteY2485" fmla="*/ 2379905 h 3664183"/>
              <a:gd name="connsiteX2486" fmla="*/ 7508713 w 9043663"/>
              <a:gd name="connsiteY2486" fmla="*/ 2380942 h 3664183"/>
              <a:gd name="connsiteX2487" fmla="*/ 7525437 w 9043663"/>
              <a:gd name="connsiteY2487" fmla="*/ 2369540 h 3664183"/>
              <a:gd name="connsiteX2488" fmla="*/ 7529020 w 9043663"/>
              <a:gd name="connsiteY2488" fmla="*/ 2367467 h 3664183"/>
              <a:gd name="connsiteX2489" fmla="*/ 7525437 w 9043663"/>
              <a:gd name="connsiteY2489" fmla="*/ 2365394 h 3664183"/>
              <a:gd name="connsiteX2490" fmla="*/ 7514686 w 9043663"/>
              <a:gd name="connsiteY2490" fmla="*/ 2356065 h 3664183"/>
              <a:gd name="connsiteX2491" fmla="*/ 7512298 w 9043663"/>
              <a:gd name="connsiteY2491" fmla="*/ 2357101 h 3664183"/>
              <a:gd name="connsiteX2492" fmla="*/ 7511103 w 9043663"/>
              <a:gd name="connsiteY2492" fmla="*/ 2356065 h 3664183"/>
              <a:gd name="connsiteX2493" fmla="*/ 7493185 w 9043663"/>
              <a:gd name="connsiteY2493" fmla="*/ 2363321 h 3664183"/>
              <a:gd name="connsiteX2494" fmla="*/ 7493185 w 9043663"/>
              <a:gd name="connsiteY2494" fmla="*/ 2348809 h 3664183"/>
              <a:gd name="connsiteX2495" fmla="*/ 7447794 w 9043663"/>
              <a:gd name="connsiteY2495" fmla="*/ 2345699 h 3664183"/>
              <a:gd name="connsiteX2496" fmla="*/ 7435848 w 9043663"/>
              <a:gd name="connsiteY2496" fmla="*/ 2324968 h 3664183"/>
              <a:gd name="connsiteX2497" fmla="*/ 7384484 w 9043663"/>
              <a:gd name="connsiteY2497" fmla="*/ 2311494 h 3664183"/>
              <a:gd name="connsiteX2498" fmla="*/ 7372539 w 9043663"/>
              <a:gd name="connsiteY2498" fmla="*/ 2324968 h 3664183"/>
              <a:gd name="connsiteX2499" fmla="*/ 7334315 w 9043663"/>
              <a:gd name="connsiteY2499" fmla="*/ 2321859 h 3664183"/>
              <a:gd name="connsiteX2500" fmla="*/ 7290118 w 9043663"/>
              <a:gd name="connsiteY2500" fmla="*/ 2299055 h 3664183"/>
              <a:gd name="connsiteX2501" fmla="*/ 7248310 w 9043663"/>
              <a:gd name="connsiteY2501" fmla="*/ 2295945 h 3664183"/>
              <a:gd name="connsiteX2502" fmla="*/ 7247115 w 9043663"/>
              <a:gd name="connsiteY2502" fmla="*/ 2296982 h 3664183"/>
              <a:gd name="connsiteX2503" fmla="*/ 7265033 w 9043663"/>
              <a:gd name="connsiteY2503" fmla="*/ 2225460 h 3664183"/>
              <a:gd name="connsiteX2504" fmla="*/ 7276978 w 9043663"/>
              <a:gd name="connsiteY2504" fmla="*/ 2228570 h 3664183"/>
              <a:gd name="connsiteX2505" fmla="*/ 7276978 w 9043663"/>
              <a:gd name="connsiteY2505" fmla="*/ 2209912 h 3664183"/>
              <a:gd name="connsiteX2506" fmla="*/ 7269811 w 9043663"/>
              <a:gd name="connsiteY2506" fmla="*/ 2206802 h 3664183"/>
              <a:gd name="connsiteX2507" fmla="*/ 7254282 w 9043663"/>
              <a:gd name="connsiteY2507" fmla="*/ 2181925 h 3664183"/>
              <a:gd name="connsiteX2508" fmla="*/ 7225614 w 9043663"/>
              <a:gd name="connsiteY2508" fmla="*/ 2194364 h 3664183"/>
              <a:gd name="connsiteX2509" fmla="*/ 7210085 w 9043663"/>
              <a:gd name="connsiteY2509" fmla="*/ 2167414 h 3664183"/>
              <a:gd name="connsiteX2510" fmla="*/ 7190973 w 9043663"/>
              <a:gd name="connsiteY2510" fmla="*/ 2167414 h 3664183"/>
              <a:gd name="connsiteX2511" fmla="*/ 7183806 w 9043663"/>
              <a:gd name="connsiteY2511" fmla="*/ 2159121 h 3664183"/>
              <a:gd name="connsiteX2512" fmla="*/ 7193362 w 9043663"/>
              <a:gd name="connsiteY2512" fmla="*/ 2135281 h 3664183"/>
              <a:gd name="connsiteX2513" fmla="*/ 7171861 w 9043663"/>
              <a:gd name="connsiteY2513" fmla="*/ 2124916 h 3664183"/>
              <a:gd name="connsiteX2514" fmla="*/ 7171861 w 9043663"/>
              <a:gd name="connsiteY2514" fmla="*/ 2109367 h 3664183"/>
              <a:gd name="connsiteX2515" fmla="*/ 7115719 w 9043663"/>
              <a:gd name="connsiteY2515" fmla="*/ 2074125 h 3664183"/>
              <a:gd name="connsiteX2516" fmla="*/ 7097801 w 9043663"/>
              <a:gd name="connsiteY2516" fmla="*/ 2079308 h 3664183"/>
              <a:gd name="connsiteX2517" fmla="*/ 7003434 w 9043663"/>
              <a:gd name="connsiteY2517" fmla="*/ 1997421 h 3664183"/>
              <a:gd name="connsiteX2518" fmla="*/ 6930569 w 9043663"/>
              <a:gd name="connsiteY2518" fmla="*/ 1982909 h 3664183"/>
              <a:gd name="connsiteX2519" fmla="*/ 6944904 w 9043663"/>
              <a:gd name="connsiteY2519" fmla="*/ 2010896 h 3664183"/>
              <a:gd name="connsiteX2520" fmla="*/ 6984322 w 9043663"/>
              <a:gd name="connsiteY2520" fmla="*/ 2041992 h 3664183"/>
              <a:gd name="connsiteX2521" fmla="*/ 7010602 w 9043663"/>
              <a:gd name="connsiteY2521" fmla="*/ 2075162 h 3664183"/>
              <a:gd name="connsiteX2522" fmla="*/ 7040465 w 9043663"/>
              <a:gd name="connsiteY2522" fmla="*/ 2093819 h 3664183"/>
              <a:gd name="connsiteX2523" fmla="*/ 7052410 w 9043663"/>
              <a:gd name="connsiteY2523" fmla="*/ 2135281 h 3664183"/>
              <a:gd name="connsiteX2524" fmla="*/ 7088245 w 9043663"/>
              <a:gd name="connsiteY2524" fmla="*/ 2161195 h 3664183"/>
              <a:gd name="connsiteX2525" fmla="*/ 7102579 w 9043663"/>
              <a:gd name="connsiteY2525" fmla="*/ 2199547 h 3664183"/>
              <a:gd name="connsiteX2526" fmla="*/ 7127664 w 9043663"/>
              <a:gd name="connsiteY2526" fmla="*/ 2231679 h 3664183"/>
              <a:gd name="connsiteX2527" fmla="*/ 7202918 w 9043663"/>
              <a:gd name="connsiteY2527" fmla="*/ 2296982 h 3664183"/>
              <a:gd name="connsiteX2528" fmla="*/ 7216058 w 9043663"/>
              <a:gd name="connsiteY2528" fmla="*/ 2300091 h 3664183"/>
              <a:gd name="connsiteX2529" fmla="*/ 7230392 w 9043663"/>
              <a:gd name="connsiteY2529" fmla="*/ 2294909 h 3664183"/>
              <a:gd name="connsiteX2530" fmla="*/ 7242337 w 9043663"/>
              <a:gd name="connsiteY2530" fmla="*/ 2300091 h 3664183"/>
              <a:gd name="connsiteX2531" fmla="*/ 7223225 w 9043663"/>
              <a:gd name="connsiteY2531" fmla="*/ 2321859 h 3664183"/>
              <a:gd name="connsiteX2532" fmla="*/ 7300869 w 9043663"/>
              <a:gd name="connsiteY2532" fmla="*/ 2351919 h 3664183"/>
              <a:gd name="connsiteX2533" fmla="*/ 7300869 w 9043663"/>
              <a:gd name="connsiteY2533" fmla="*/ 2351919 h 3664183"/>
              <a:gd name="connsiteX2534" fmla="*/ 7345066 w 9043663"/>
              <a:gd name="connsiteY2534" fmla="*/ 2351919 h 3664183"/>
              <a:gd name="connsiteX2535" fmla="*/ 7431070 w 9043663"/>
              <a:gd name="connsiteY2535" fmla="*/ 2371613 h 3664183"/>
              <a:gd name="connsiteX2536" fmla="*/ 7230392 w 9043663"/>
              <a:gd name="connsiteY2536" fmla="*/ 2205766 h 3664183"/>
              <a:gd name="connsiteX2537" fmla="*/ 7226809 w 9043663"/>
              <a:gd name="connsiteY2537" fmla="*/ 2200583 h 3664183"/>
              <a:gd name="connsiteX2538" fmla="*/ 7239948 w 9043663"/>
              <a:gd name="connsiteY2538" fmla="*/ 2202656 h 3664183"/>
              <a:gd name="connsiteX2539" fmla="*/ 7239948 w 9043663"/>
              <a:gd name="connsiteY2539" fmla="*/ 2205766 h 3664183"/>
              <a:gd name="connsiteX2540" fmla="*/ 7230392 w 9043663"/>
              <a:gd name="connsiteY2540" fmla="*/ 2205766 h 3664183"/>
              <a:gd name="connsiteX2541" fmla="*/ 7772701 w 9043663"/>
              <a:gd name="connsiteY2541" fmla="*/ 2373686 h 3664183"/>
              <a:gd name="connsiteX2542" fmla="*/ 7735671 w 9043663"/>
              <a:gd name="connsiteY2542" fmla="*/ 2365394 h 3664183"/>
              <a:gd name="connsiteX2543" fmla="*/ 7717753 w 9043663"/>
              <a:gd name="connsiteY2543" fmla="*/ 2377832 h 3664183"/>
              <a:gd name="connsiteX2544" fmla="*/ 7664000 w 9043663"/>
              <a:gd name="connsiteY2544" fmla="*/ 2365394 h 3664183"/>
              <a:gd name="connsiteX2545" fmla="*/ 7634137 w 9043663"/>
              <a:gd name="connsiteY2545" fmla="*/ 2375759 h 3664183"/>
              <a:gd name="connsiteX2546" fmla="*/ 7570828 w 9043663"/>
              <a:gd name="connsiteY2546" fmla="*/ 2360211 h 3664183"/>
              <a:gd name="connsiteX2547" fmla="*/ 7583968 w 9043663"/>
              <a:gd name="connsiteY2547" fmla="*/ 2371613 h 3664183"/>
              <a:gd name="connsiteX2548" fmla="*/ 7544549 w 9043663"/>
              <a:gd name="connsiteY2548" fmla="*/ 2365394 h 3664183"/>
              <a:gd name="connsiteX2549" fmla="*/ 7530215 w 9043663"/>
              <a:gd name="connsiteY2549" fmla="*/ 2371613 h 3664183"/>
              <a:gd name="connsiteX2550" fmla="*/ 7526631 w 9043663"/>
              <a:gd name="connsiteY2550" fmla="*/ 2393380 h 3664183"/>
              <a:gd name="connsiteX2551" fmla="*/ 7563662 w 9043663"/>
              <a:gd name="connsiteY2551" fmla="*/ 2396490 h 3664183"/>
              <a:gd name="connsiteX2552" fmla="*/ 7635332 w 9043663"/>
              <a:gd name="connsiteY2552" fmla="*/ 2380942 h 3664183"/>
              <a:gd name="connsiteX2553" fmla="*/ 7635332 w 9043663"/>
              <a:gd name="connsiteY2553" fmla="*/ 2380942 h 3664183"/>
              <a:gd name="connsiteX2554" fmla="*/ 7635332 w 9043663"/>
              <a:gd name="connsiteY2554" fmla="*/ 2380942 h 3664183"/>
              <a:gd name="connsiteX2555" fmla="*/ 7709392 w 9043663"/>
              <a:gd name="connsiteY2555" fmla="*/ 2386125 h 3664183"/>
              <a:gd name="connsiteX2556" fmla="*/ 7772701 w 9043663"/>
              <a:gd name="connsiteY2556" fmla="*/ 2373686 h 3664183"/>
              <a:gd name="connsiteX2557" fmla="*/ 7821676 w 9043663"/>
              <a:gd name="connsiteY2557" fmla="*/ 2367467 h 3664183"/>
              <a:gd name="connsiteX2558" fmla="*/ 7782257 w 9043663"/>
              <a:gd name="connsiteY2558" fmla="*/ 2362284 h 3664183"/>
              <a:gd name="connsiteX2559" fmla="*/ 7771506 w 9043663"/>
              <a:gd name="connsiteY2559" fmla="*/ 2376796 h 3664183"/>
              <a:gd name="connsiteX2560" fmla="*/ 7821676 w 9043663"/>
              <a:gd name="connsiteY2560" fmla="*/ 2367467 h 3664183"/>
              <a:gd name="connsiteX2561" fmla="*/ 7853928 w 9043663"/>
              <a:gd name="connsiteY2561" fmla="*/ 2347773 h 3664183"/>
              <a:gd name="connsiteX2562" fmla="*/ 7826455 w 9043663"/>
              <a:gd name="connsiteY2562" fmla="*/ 2347773 h 3664183"/>
              <a:gd name="connsiteX2563" fmla="*/ 7821676 w 9043663"/>
              <a:gd name="connsiteY2563" fmla="*/ 2360211 h 3664183"/>
              <a:gd name="connsiteX2564" fmla="*/ 7839594 w 9043663"/>
              <a:gd name="connsiteY2564" fmla="*/ 2360211 h 3664183"/>
              <a:gd name="connsiteX2565" fmla="*/ 7853928 w 9043663"/>
              <a:gd name="connsiteY2565" fmla="*/ 2347773 h 3664183"/>
              <a:gd name="connsiteX2566" fmla="*/ 7619804 w 9043663"/>
              <a:gd name="connsiteY2566" fmla="*/ 2408929 h 3664183"/>
              <a:gd name="connsiteX2567" fmla="*/ 7654444 w 9043663"/>
              <a:gd name="connsiteY2567" fmla="*/ 2428623 h 3664183"/>
              <a:gd name="connsiteX2568" fmla="*/ 7674751 w 9043663"/>
              <a:gd name="connsiteY2568" fmla="*/ 2418257 h 3664183"/>
              <a:gd name="connsiteX2569" fmla="*/ 7646083 w 9043663"/>
              <a:gd name="connsiteY2569" fmla="*/ 2399600 h 3664183"/>
              <a:gd name="connsiteX2570" fmla="*/ 7613831 w 9043663"/>
              <a:gd name="connsiteY2570" fmla="*/ 2399600 h 3664183"/>
              <a:gd name="connsiteX2571" fmla="*/ 7619804 w 9043663"/>
              <a:gd name="connsiteY2571" fmla="*/ 2408929 h 3664183"/>
              <a:gd name="connsiteX2572" fmla="*/ 7996076 w 9043663"/>
              <a:gd name="connsiteY2572" fmla="*/ 2340517 h 3664183"/>
              <a:gd name="connsiteX2573" fmla="*/ 8000853 w 9043663"/>
              <a:gd name="connsiteY2573" fmla="*/ 2328078 h 3664183"/>
              <a:gd name="connsiteX2574" fmla="*/ 7999659 w 9043663"/>
              <a:gd name="connsiteY2574" fmla="*/ 2330151 h 3664183"/>
              <a:gd name="connsiteX2575" fmla="*/ 7999659 w 9043663"/>
              <a:gd name="connsiteY2575" fmla="*/ 2330151 h 3664183"/>
              <a:gd name="connsiteX2576" fmla="*/ 7961434 w 9043663"/>
              <a:gd name="connsiteY2576" fmla="*/ 2368503 h 3664183"/>
              <a:gd name="connsiteX2577" fmla="*/ 7993686 w 9043663"/>
              <a:gd name="connsiteY2577" fmla="*/ 2351919 h 3664183"/>
              <a:gd name="connsiteX2578" fmla="*/ 7996076 w 9043663"/>
              <a:gd name="connsiteY2578" fmla="*/ 2340517 h 3664183"/>
              <a:gd name="connsiteX2579" fmla="*/ 8089248 w 9043663"/>
              <a:gd name="connsiteY2579" fmla="*/ 2304238 h 3664183"/>
              <a:gd name="connsiteX2580" fmla="*/ 8083275 w 9043663"/>
              <a:gd name="connsiteY2580" fmla="*/ 2285580 h 3664183"/>
              <a:gd name="connsiteX2581" fmla="*/ 8051023 w 9043663"/>
              <a:gd name="connsiteY2581" fmla="*/ 2351919 h 3664183"/>
              <a:gd name="connsiteX2582" fmla="*/ 8089248 w 9043663"/>
              <a:gd name="connsiteY2582" fmla="*/ 2304238 h 3664183"/>
              <a:gd name="connsiteX2583" fmla="*/ 7310424 w 9043663"/>
              <a:gd name="connsiteY2583" fmla="*/ 2233753 h 3664183"/>
              <a:gd name="connsiteX2584" fmla="*/ 7318786 w 9043663"/>
              <a:gd name="connsiteY2584" fmla="*/ 2216131 h 3664183"/>
              <a:gd name="connsiteX2585" fmla="*/ 7297285 w 9043663"/>
              <a:gd name="connsiteY2585" fmla="*/ 2211985 h 3664183"/>
              <a:gd name="connsiteX2586" fmla="*/ 7293701 w 9043663"/>
              <a:gd name="connsiteY2586" fmla="*/ 2229607 h 3664183"/>
              <a:gd name="connsiteX2587" fmla="*/ 7310424 w 9043663"/>
              <a:gd name="connsiteY2587" fmla="*/ 2233753 h 3664183"/>
              <a:gd name="connsiteX2588" fmla="*/ 7680724 w 9043663"/>
              <a:gd name="connsiteY2588" fmla="*/ 2133208 h 3664183"/>
              <a:gd name="connsiteX2589" fmla="*/ 7759561 w 9043663"/>
              <a:gd name="connsiteY2589" fmla="*/ 2138391 h 3664183"/>
              <a:gd name="connsiteX2590" fmla="*/ 7759561 w 9043663"/>
              <a:gd name="connsiteY2590" fmla="*/ 2138391 h 3664183"/>
              <a:gd name="connsiteX2591" fmla="*/ 7794203 w 9043663"/>
              <a:gd name="connsiteY2591" fmla="*/ 2130098 h 3664183"/>
              <a:gd name="connsiteX2592" fmla="*/ 7813314 w 9043663"/>
              <a:gd name="connsiteY2592" fmla="*/ 2105221 h 3664183"/>
              <a:gd name="connsiteX2593" fmla="*/ 7808537 w 9043663"/>
              <a:gd name="connsiteY2593" fmla="*/ 2092783 h 3664183"/>
              <a:gd name="connsiteX2594" fmla="*/ 7772701 w 9043663"/>
              <a:gd name="connsiteY2594" fmla="*/ 2117660 h 3664183"/>
              <a:gd name="connsiteX2595" fmla="*/ 7744033 w 9043663"/>
              <a:gd name="connsiteY2595" fmla="*/ 2117660 h 3664183"/>
              <a:gd name="connsiteX2596" fmla="*/ 7681918 w 9043663"/>
              <a:gd name="connsiteY2596" fmla="*/ 2107294 h 3664183"/>
              <a:gd name="connsiteX2597" fmla="*/ 7678335 w 9043663"/>
              <a:gd name="connsiteY2597" fmla="*/ 2106258 h 3664183"/>
              <a:gd name="connsiteX2598" fmla="*/ 7678335 w 9043663"/>
              <a:gd name="connsiteY2598" fmla="*/ 2106258 h 3664183"/>
              <a:gd name="connsiteX2599" fmla="*/ 7678335 w 9043663"/>
              <a:gd name="connsiteY2599" fmla="*/ 2106258 h 3664183"/>
              <a:gd name="connsiteX2600" fmla="*/ 7678335 w 9043663"/>
              <a:gd name="connsiteY2600" fmla="*/ 2108331 h 3664183"/>
              <a:gd name="connsiteX2601" fmla="*/ 7675945 w 9043663"/>
              <a:gd name="connsiteY2601" fmla="*/ 2119733 h 3664183"/>
              <a:gd name="connsiteX2602" fmla="*/ 7654444 w 9043663"/>
              <a:gd name="connsiteY2602" fmla="*/ 2119733 h 3664183"/>
              <a:gd name="connsiteX2603" fmla="*/ 7648472 w 9043663"/>
              <a:gd name="connsiteY2603" fmla="*/ 2158085 h 3664183"/>
              <a:gd name="connsiteX2604" fmla="*/ 7618609 w 9043663"/>
              <a:gd name="connsiteY2604" fmla="*/ 2217168 h 3664183"/>
              <a:gd name="connsiteX2605" fmla="*/ 7618609 w 9043663"/>
              <a:gd name="connsiteY2605" fmla="*/ 2218205 h 3664183"/>
              <a:gd name="connsiteX2606" fmla="*/ 7618609 w 9043663"/>
              <a:gd name="connsiteY2606" fmla="*/ 2218205 h 3664183"/>
              <a:gd name="connsiteX2607" fmla="*/ 7618609 w 9043663"/>
              <a:gd name="connsiteY2607" fmla="*/ 2218205 h 3664183"/>
              <a:gd name="connsiteX2608" fmla="*/ 7618609 w 9043663"/>
              <a:gd name="connsiteY2608" fmla="*/ 2219241 h 3664183"/>
              <a:gd name="connsiteX2609" fmla="*/ 7622192 w 9043663"/>
              <a:gd name="connsiteY2609" fmla="*/ 2242045 h 3664183"/>
              <a:gd name="connsiteX2610" fmla="*/ 7640110 w 9043663"/>
              <a:gd name="connsiteY2610" fmla="*/ 2242045 h 3664183"/>
              <a:gd name="connsiteX2611" fmla="*/ 7642499 w 9043663"/>
              <a:gd name="connsiteY2611" fmla="*/ 2252410 h 3664183"/>
              <a:gd name="connsiteX2612" fmla="*/ 7636527 w 9043663"/>
              <a:gd name="connsiteY2612" fmla="*/ 2295945 h 3664183"/>
              <a:gd name="connsiteX2613" fmla="*/ 7666389 w 9043663"/>
              <a:gd name="connsiteY2613" fmla="*/ 2295945 h 3664183"/>
              <a:gd name="connsiteX2614" fmla="*/ 7666389 w 9043663"/>
              <a:gd name="connsiteY2614" fmla="*/ 2227533 h 3664183"/>
              <a:gd name="connsiteX2615" fmla="*/ 7679530 w 9043663"/>
              <a:gd name="connsiteY2615" fmla="*/ 2218205 h 3664183"/>
              <a:gd name="connsiteX2616" fmla="*/ 7683113 w 9043663"/>
              <a:gd name="connsiteY2616" fmla="*/ 2218205 h 3664183"/>
              <a:gd name="connsiteX2617" fmla="*/ 7677140 w 9043663"/>
              <a:gd name="connsiteY2617" fmla="*/ 2236862 h 3664183"/>
              <a:gd name="connsiteX2618" fmla="*/ 7678335 w 9043663"/>
              <a:gd name="connsiteY2618" fmla="*/ 2236862 h 3664183"/>
              <a:gd name="connsiteX2619" fmla="*/ 7678335 w 9043663"/>
              <a:gd name="connsiteY2619" fmla="*/ 2238935 h 3664183"/>
              <a:gd name="connsiteX2620" fmla="*/ 7699836 w 9043663"/>
              <a:gd name="connsiteY2620" fmla="*/ 2254484 h 3664183"/>
              <a:gd name="connsiteX2621" fmla="*/ 7699836 w 9043663"/>
              <a:gd name="connsiteY2621" fmla="*/ 2270032 h 3664183"/>
              <a:gd name="connsiteX2622" fmla="*/ 7712976 w 9043663"/>
              <a:gd name="connsiteY2622" fmla="*/ 2276251 h 3664183"/>
              <a:gd name="connsiteX2623" fmla="*/ 7715365 w 9043663"/>
              <a:gd name="connsiteY2623" fmla="*/ 2277288 h 3664183"/>
              <a:gd name="connsiteX2624" fmla="*/ 7715365 w 9043663"/>
              <a:gd name="connsiteY2624" fmla="*/ 2277288 h 3664183"/>
              <a:gd name="connsiteX2625" fmla="*/ 7715365 w 9043663"/>
              <a:gd name="connsiteY2625" fmla="*/ 2277288 h 3664183"/>
              <a:gd name="connsiteX2626" fmla="*/ 7717753 w 9043663"/>
              <a:gd name="connsiteY2626" fmla="*/ 2275214 h 3664183"/>
              <a:gd name="connsiteX2627" fmla="*/ 7717753 w 9043663"/>
              <a:gd name="connsiteY2627" fmla="*/ 2288689 h 3664183"/>
              <a:gd name="connsiteX2628" fmla="*/ 7718948 w 9043663"/>
              <a:gd name="connsiteY2628" fmla="*/ 2289726 h 3664183"/>
              <a:gd name="connsiteX2629" fmla="*/ 7726115 w 9043663"/>
              <a:gd name="connsiteY2629" fmla="*/ 2299055 h 3664183"/>
              <a:gd name="connsiteX2630" fmla="*/ 7728504 w 9043663"/>
              <a:gd name="connsiteY2630" fmla="*/ 2298019 h 3664183"/>
              <a:gd name="connsiteX2631" fmla="*/ 7729699 w 9043663"/>
              <a:gd name="connsiteY2631" fmla="*/ 2299055 h 3664183"/>
              <a:gd name="connsiteX2632" fmla="*/ 7751200 w 9043663"/>
              <a:gd name="connsiteY2632" fmla="*/ 2289726 h 3664183"/>
              <a:gd name="connsiteX2633" fmla="*/ 7751200 w 9043663"/>
              <a:gd name="connsiteY2633" fmla="*/ 2272105 h 3664183"/>
              <a:gd name="connsiteX2634" fmla="*/ 7742839 w 9043663"/>
              <a:gd name="connsiteY2634" fmla="*/ 2263812 h 3664183"/>
              <a:gd name="connsiteX2635" fmla="*/ 7721338 w 9043663"/>
              <a:gd name="connsiteY2635" fmla="*/ 2238935 h 3664183"/>
              <a:gd name="connsiteX2636" fmla="*/ 7734477 w 9043663"/>
              <a:gd name="connsiteY2636" fmla="*/ 2231679 h 3664183"/>
              <a:gd name="connsiteX2637" fmla="*/ 7707003 w 9043663"/>
              <a:gd name="connsiteY2637" fmla="*/ 2195400 h 3664183"/>
              <a:gd name="connsiteX2638" fmla="*/ 7746422 w 9043663"/>
              <a:gd name="connsiteY2638" fmla="*/ 2168451 h 3664183"/>
              <a:gd name="connsiteX2639" fmla="*/ 7770312 w 9043663"/>
              <a:gd name="connsiteY2639" fmla="*/ 2168451 h 3664183"/>
              <a:gd name="connsiteX2640" fmla="*/ 7765534 w 9043663"/>
              <a:gd name="connsiteY2640" fmla="*/ 2166377 h 3664183"/>
              <a:gd name="connsiteX2641" fmla="*/ 7770312 w 9043663"/>
              <a:gd name="connsiteY2641" fmla="*/ 2166377 h 3664183"/>
              <a:gd name="connsiteX2642" fmla="*/ 7752395 w 9043663"/>
              <a:gd name="connsiteY2642" fmla="*/ 2156012 h 3664183"/>
              <a:gd name="connsiteX2643" fmla="*/ 7683113 w 9043663"/>
              <a:gd name="connsiteY2643" fmla="*/ 2175706 h 3664183"/>
              <a:gd name="connsiteX2644" fmla="*/ 7680724 w 9043663"/>
              <a:gd name="connsiteY2644" fmla="*/ 2161195 h 3664183"/>
              <a:gd name="connsiteX2645" fmla="*/ 7666389 w 9043663"/>
              <a:gd name="connsiteY2645" fmla="*/ 2159121 h 3664183"/>
              <a:gd name="connsiteX2646" fmla="*/ 7666389 w 9043663"/>
              <a:gd name="connsiteY2646" fmla="*/ 2146683 h 3664183"/>
              <a:gd name="connsiteX2647" fmla="*/ 7680724 w 9043663"/>
              <a:gd name="connsiteY2647" fmla="*/ 2133208 h 3664183"/>
              <a:gd name="connsiteX2648" fmla="*/ 7917237 w 9043663"/>
              <a:gd name="connsiteY2648" fmla="*/ 2177779 h 3664183"/>
              <a:gd name="connsiteX2649" fmla="*/ 7894542 w 9043663"/>
              <a:gd name="connsiteY2649" fmla="*/ 2142537 h 3664183"/>
              <a:gd name="connsiteX2650" fmla="*/ 7894542 w 9043663"/>
              <a:gd name="connsiteY2650" fmla="*/ 2133208 h 3664183"/>
              <a:gd name="connsiteX2651" fmla="*/ 7917237 w 9043663"/>
              <a:gd name="connsiteY2651" fmla="*/ 2133208 h 3664183"/>
              <a:gd name="connsiteX2652" fmla="*/ 7902903 w 9043663"/>
              <a:gd name="connsiteY2652" fmla="*/ 2120769 h 3664183"/>
              <a:gd name="connsiteX2653" fmla="*/ 7913654 w 9043663"/>
              <a:gd name="connsiteY2653" fmla="*/ 2111441 h 3664183"/>
              <a:gd name="connsiteX2654" fmla="*/ 7913654 w 9043663"/>
              <a:gd name="connsiteY2654" fmla="*/ 2093819 h 3664183"/>
              <a:gd name="connsiteX2655" fmla="*/ 7898125 w 9043663"/>
              <a:gd name="connsiteY2655" fmla="*/ 2104185 h 3664183"/>
              <a:gd name="connsiteX2656" fmla="*/ 7894542 w 9043663"/>
              <a:gd name="connsiteY2656" fmla="*/ 2077234 h 3664183"/>
              <a:gd name="connsiteX2657" fmla="*/ 7881402 w 9043663"/>
              <a:gd name="connsiteY2657" fmla="*/ 2088636 h 3664183"/>
              <a:gd name="connsiteX2658" fmla="*/ 7871846 w 9043663"/>
              <a:gd name="connsiteY2658" fmla="*/ 2108331 h 3664183"/>
              <a:gd name="connsiteX2659" fmla="*/ 7881402 w 9043663"/>
              <a:gd name="connsiteY2659" fmla="*/ 2148756 h 3664183"/>
              <a:gd name="connsiteX2660" fmla="*/ 7917237 w 9043663"/>
              <a:gd name="connsiteY2660" fmla="*/ 2177779 h 3664183"/>
              <a:gd name="connsiteX2661" fmla="*/ 7865873 w 9043663"/>
              <a:gd name="connsiteY2661" fmla="*/ 2228570 h 3664183"/>
              <a:gd name="connsiteX2662" fmla="*/ 7821676 w 9043663"/>
              <a:gd name="connsiteY2662" fmla="*/ 2231679 h 3664183"/>
              <a:gd name="connsiteX2663" fmla="*/ 7858707 w 9043663"/>
              <a:gd name="connsiteY2663" fmla="*/ 2249301 h 3664183"/>
              <a:gd name="connsiteX2664" fmla="*/ 7874235 w 9043663"/>
              <a:gd name="connsiteY2664" fmla="*/ 2238935 h 3664183"/>
              <a:gd name="connsiteX2665" fmla="*/ 7865873 w 9043663"/>
              <a:gd name="connsiteY2665" fmla="*/ 2228570 h 3664183"/>
              <a:gd name="connsiteX2666" fmla="*/ 7965018 w 9043663"/>
              <a:gd name="connsiteY2666" fmla="*/ 2221314 h 3664183"/>
              <a:gd name="connsiteX2667" fmla="*/ 7938738 w 9043663"/>
              <a:gd name="connsiteY2667" fmla="*/ 2216131 h 3664183"/>
              <a:gd name="connsiteX2668" fmla="*/ 7898125 w 9043663"/>
              <a:gd name="connsiteY2668" fmla="*/ 2216131 h 3664183"/>
              <a:gd name="connsiteX2669" fmla="*/ 7886180 w 9043663"/>
              <a:gd name="connsiteY2669" fmla="*/ 2230643 h 3664183"/>
              <a:gd name="connsiteX2670" fmla="*/ 7976963 w 9043663"/>
              <a:gd name="connsiteY2670" fmla="*/ 2251374 h 3664183"/>
              <a:gd name="connsiteX2671" fmla="*/ 7965018 w 9043663"/>
              <a:gd name="connsiteY2671" fmla="*/ 2221314 h 3664183"/>
              <a:gd name="connsiteX2672" fmla="*/ 7884985 w 9043663"/>
              <a:gd name="connsiteY2672" fmla="*/ 2178816 h 3664183"/>
              <a:gd name="connsiteX2673" fmla="*/ 7861095 w 9043663"/>
              <a:gd name="connsiteY2673" fmla="*/ 2189181 h 3664183"/>
              <a:gd name="connsiteX2674" fmla="*/ 7916043 w 9043663"/>
              <a:gd name="connsiteY2674" fmla="*/ 2189181 h 3664183"/>
              <a:gd name="connsiteX2675" fmla="*/ 7884985 w 9043663"/>
              <a:gd name="connsiteY2675" fmla="*/ 2178816 h 3664183"/>
              <a:gd name="connsiteX2676" fmla="*/ 7970990 w 9043663"/>
              <a:gd name="connsiteY2676" fmla="*/ 2158085 h 3664183"/>
              <a:gd name="connsiteX2677" fmla="*/ 7970990 w 9043663"/>
              <a:gd name="connsiteY2677" fmla="*/ 2158085 h 3664183"/>
              <a:gd name="connsiteX2678" fmla="*/ 7973380 w 9043663"/>
              <a:gd name="connsiteY2678" fmla="*/ 2158085 h 3664183"/>
              <a:gd name="connsiteX2679" fmla="*/ 7999659 w 9043663"/>
              <a:gd name="connsiteY2679" fmla="*/ 2153939 h 3664183"/>
              <a:gd name="connsiteX2680" fmla="*/ 7994881 w 9043663"/>
              <a:gd name="connsiteY2680" fmla="*/ 2151866 h 3664183"/>
              <a:gd name="connsiteX2681" fmla="*/ 7999659 w 9043663"/>
              <a:gd name="connsiteY2681" fmla="*/ 2150829 h 3664183"/>
              <a:gd name="connsiteX2682" fmla="*/ 7973380 w 9043663"/>
              <a:gd name="connsiteY2682" fmla="*/ 2143573 h 3664183"/>
              <a:gd name="connsiteX2683" fmla="*/ 7972185 w 9043663"/>
              <a:gd name="connsiteY2683" fmla="*/ 2143573 h 3664183"/>
              <a:gd name="connsiteX2684" fmla="*/ 7970990 w 9043663"/>
              <a:gd name="connsiteY2684" fmla="*/ 2143573 h 3664183"/>
              <a:gd name="connsiteX2685" fmla="*/ 7953073 w 9043663"/>
              <a:gd name="connsiteY2685" fmla="*/ 2147720 h 3664183"/>
              <a:gd name="connsiteX2686" fmla="*/ 7956656 w 9043663"/>
              <a:gd name="connsiteY2686" fmla="*/ 2149793 h 3664183"/>
              <a:gd name="connsiteX2687" fmla="*/ 7953073 w 9043663"/>
              <a:gd name="connsiteY2687" fmla="*/ 2150829 h 3664183"/>
              <a:gd name="connsiteX2688" fmla="*/ 7970990 w 9043663"/>
              <a:gd name="connsiteY2688" fmla="*/ 2158085 h 3664183"/>
              <a:gd name="connsiteX2689" fmla="*/ 8122694 w 9043663"/>
              <a:gd name="connsiteY2689" fmla="*/ 2176743 h 3664183"/>
              <a:gd name="connsiteX2690" fmla="*/ 8141806 w 9043663"/>
              <a:gd name="connsiteY2690" fmla="*/ 2176743 h 3664183"/>
              <a:gd name="connsiteX2691" fmla="*/ 8139417 w 9043663"/>
              <a:gd name="connsiteY2691" fmla="*/ 2172597 h 3664183"/>
              <a:gd name="connsiteX2692" fmla="*/ 8132250 w 9043663"/>
              <a:gd name="connsiteY2692" fmla="*/ 2158085 h 3664183"/>
              <a:gd name="connsiteX2693" fmla="*/ 8105970 w 9043663"/>
              <a:gd name="connsiteY2693" fmla="*/ 2158085 h 3664183"/>
              <a:gd name="connsiteX2694" fmla="*/ 8122694 w 9043663"/>
              <a:gd name="connsiteY2694" fmla="*/ 2176743 h 3664183"/>
              <a:gd name="connsiteX2695" fmla="*/ 7666389 w 9043663"/>
              <a:gd name="connsiteY2695" fmla="*/ 1642922 h 3664183"/>
              <a:gd name="connsiteX2696" fmla="*/ 7631749 w 9043663"/>
              <a:gd name="connsiteY2696" fmla="*/ 1634630 h 3664183"/>
              <a:gd name="connsiteX2697" fmla="*/ 7631749 w 9043663"/>
              <a:gd name="connsiteY2697" fmla="*/ 1700969 h 3664183"/>
              <a:gd name="connsiteX2698" fmla="*/ 7615025 w 9043663"/>
              <a:gd name="connsiteY2698" fmla="*/ 1691640 h 3664183"/>
              <a:gd name="connsiteX2699" fmla="*/ 7632943 w 9043663"/>
              <a:gd name="connsiteY2699" fmla="*/ 1743467 h 3664183"/>
              <a:gd name="connsiteX2700" fmla="*/ 7658028 w 9043663"/>
              <a:gd name="connsiteY2700" fmla="*/ 1748650 h 3664183"/>
              <a:gd name="connsiteX2701" fmla="*/ 7649667 w 9043663"/>
              <a:gd name="connsiteY2701" fmla="*/ 1769381 h 3664183"/>
              <a:gd name="connsiteX2702" fmla="*/ 7668779 w 9043663"/>
              <a:gd name="connsiteY2702" fmla="*/ 1774564 h 3664183"/>
              <a:gd name="connsiteX2703" fmla="*/ 7648472 w 9043663"/>
              <a:gd name="connsiteY2703" fmla="*/ 1772491 h 3664183"/>
              <a:gd name="connsiteX2704" fmla="*/ 7678335 w 9043663"/>
              <a:gd name="connsiteY2704" fmla="*/ 1813952 h 3664183"/>
              <a:gd name="connsiteX2705" fmla="*/ 7690280 w 9043663"/>
              <a:gd name="connsiteY2705" fmla="*/ 1799441 h 3664183"/>
              <a:gd name="connsiteX2706" fmla="*/ 7686696 w 9043663"/>
              <a:gd name="connsiteY2706" fmla="*/ 1784929 h 3664183"/>
              <a:gd name="connsiteX2707" fmla="*/ 7675945 w 9043663"/>
              <a:gd name="connsiteY2707" fmla="*/ 1775600 h 3664183"/>
              <a:gd name="connsiteX2708" fmla="*/ 7672362 w 9043663"/>
              <a:gd name="connsiteY2708" fmla="*/ 1775600 h 3664183"/>
              <a:gd name="connsiteX2709" fmla="*/ 7685502 w 9043663"/>
              <a:gd name="connsiteY2709" fmla="*/ 1768344 h 3664183"/>
              <a:gd name="connsiteX2710" fmla="*/ 7726115 w 9043663"/>
              <a:gd name="connsiteY2710" fmla="*/ 1793221 h 3664183"/>
              <a:gd name="connsiteX2711" fmla="*/ 7717753 w 9043663"/>
              <a:gd name="connsiteY2711" fmla="*/ 1776637 h 3664183"/>
              <a:gd name="connsiteX2712" fmla="*/ 7734477 w 9043663"/>
              <a:gd name="connsiteY2712" fmla="*/ 1790112 h 3664183"/>
              <a:gd name="connsiteX2713" fmla="*/ 7767923 w 9043663"/>
              <a:gd name="connsiteY2713" fmla="*/ 1797367 h 3664183"/>
              <a:gd name="connsiteX2714" fmla="*/ 7745228 w 9043663"/>
              <a:gd name="connsiteY2714" fmla="*/ 1769381 h 3664183"/>
              <a:gd name="connsiteX2715" fmla="*/ 7767923 w 9043663"/>
              <a:gd name="connsiteY2715" fmla="*/ 1769381 h 3664183"/>
              <a:gd name="connsiteX2716" fmla="*/ 7717753 w 9043663"/>
              <a:gd name="connsiteY2716" fmla="*/ 1753833 h 3664183"/>
              <a:gd name="connsiteX2717" fmla="*/ 7703420 w 9043663"/>
              <a:gd name="connsiteY2717" fmla="*/ 1759016 h 3664183"/>
              <a:gd name="connsiteX2718" fmla="*/ 7701031 w 9043663"/>
              <a:gd name="connsiteY2718" fmla="*/ 1756942 h 3664183"/>
              <a:gd name="connsiteX2719" fmla="*/ 7702225 w 9043663"/>
              <a:gd name="connsiteY2719" fmla="*/ 1759016 h 3664183"/>
              <a:gd name="connsiteX2720" fmla="*/ 7697447 w 9043663"/>
              <a:gd name="connsiteY2720" fmla="*/ 1761088 h 3664183"/>
              <a:gd name="connsiteX2721" fmla="*/ 7687891 w 9043663"/>
              <a:gd name="connsiteY2721" fmla="*/ 1756942 h 3664183"/>
              <a:gd name="connsiteX2722" fmla="*/ 7671168 w 9043663"/>
              <a:gd name="connsiteY2722" fmla="*/ 1724809 h 3664183"/>
              <a:gd name="connsiteX2723" fmla="*/ 7695058 w 9043663"/>
              <a:gd name="connsiteY2723" fmla="*/ 1677128 h 3664183"/>
              <a:gd name="connsiteX2724" fmla="*/ 7683113 w 9043663"/>
              <a:gd name="connsiteY2724" fmla="*/ 1666763 h 3664183"/>
              <a:gd name="connsiteX2725" fmla="*/ 7683113 w 9043663"/>
              <a:gd name="connsiteY2725" fmla="*/ 1631520 h 3664183"/>
              <a:gd name="connsiteX2726" fmla="*/ 7666389 w 9043663"/>
              <a:gd name="connsiteY2726" fmla="*/ 1642922 h 3664183"/>
              <a:gd name="connsiteX2727" fmla="*/ 7574412 w 9043663"/>
              <a:gd name="connsiteY2727" fmla="*/ 1916570 h 3664183"/>
              <a:gd name="connsiteX2728" fmla="*/ 7641305 w 9043663"/>
              <a:gd name="connsiteY2728" fmla="*/ 1855414 h 3664183"/>
              <a:gd name="connsiteX2729" fmla="*/ 7628165 w 9043663"/>
              <a:gd name="connsiteY2729" fmla="*/ 1825354 h 3664183"/>
              <a:gd name="connsiteX2730" fmla="*/ 7619804 w 9043663"/>
              <a:gd name="connsiteY2730" fmla="*/ 1853341 h 3664183"/>
              <a:gd name="connsiteX2731" fmla="*/ 7569634 w 9043663"/>
              <a:gd name="connsiteY2731" fmla="*/ 1912424 h 3664183"/>
              <a:gd name="connsiteX2732" fmla="*/ 7574412 w 9043663"/>
              <a:gd name="connsiteY2732" fmla="*/ 1916570 h 3664183"/>
              <a:gd name="connsiteX2733" fmla="*/ 7693863 w 9043663"/>
              <a:gd name="connsiteY2733" fmla="*/ 1816025 h 3664183"/>
              <a:gd name="connsiteX2734" fmla="*/ 7701031 w 9043663"/>
              <a:gd name="connsiteY2734" fmla="*/ 1857487 h 3664183"/>
              <a:gd name="connsiteX2735" fmla="*/ 7724921 w 9043663"/>
              <a:gd name="connsiteY2735" fmla="*/ 1859560 h 3664183"/>
              <a:gd name="connsiteX2736" fmla="*/ 7724921 w 9043663"/>
              <a:gd name="connsiteY2736" fmla="*/ 1870962 h 3664183"/>
              <a:gd name="connsiteX2737" fmla="*/ 7714170 w 9043663"/>
              <a:gd name="connsiteY2737" fmla="*/ 1874072 h 3664183"/>
              <a:gd name="connsiteX2738" fmla="*/ 7736866 w 9043663"/>
              <a:gd name="connsiteY2738" fmla="*/ 1903095 h 3664183"/>
              <a:gd name="connsiteX2739" fmla="*/ 7750005 w 9043663"/>
              <a:gd name="connsiteY2739" fmla="*/ 1891693 h 3664183"/>
              <a:gd name="connsiteX2740" fmla="*/ 7746422 w 9043663"/>
              <a:gd name="connsiteY2740" fmla="*/ 1881328 h 3664183"/>
              <a:gd name="connsiteX2741" fmla="*/ 7750005 w 9043663"/>
              <a:gd name="connsiteY2741" fmla="*/ 1883401 h 3664183"/>
              <a:gd name="connsiteX2742" fmla="*/ 7757173 w 9043663"/>
              <a:gd name="connsiteY2742" fmla="*/ 1877182 h 3664183"/>
              <a:gd name="connsiteX2743" fmla="*/ 7759561 w 9043663"/>
              <a:gd name="connsiteY2743" fmla="*/ 1882364 h 3664183"/>
              <a:gd name="connsiteX2744" fmla="*/ 7782257 w 9043663"/>
              <a:gd name="connsiteY2744" fmla="*/ 1882364 h 3664183"/>
              <a:gd name="connsiteX2745" fmla="*/ 7782257 w 9043663"/>
              <a:gd name="connsiteY2745" fmla="*/ 1866816 h 3664183"/>
              <a:gd name="connsiteX2746" fmla="*/ 7804953 w 9043663"/>
              <a:gd name="connsiteY2746" fmla="*/ 1863706 h 3664183"/>
              <a:gd name="connsiteX2747" fmla="*/ 7793008 w 9043663"/>
              <a:gd name="connsiteY2747" fmla="*/ 1840902 h 3664183"/>
              <a:gd name="connsiteX2748" fmla="*/ 7816899 w 9043663"/>
              <a:gd name="connsiteY2748" fmla="*/ 1840902 h 3664183"/>
              <a:gd name="connsiteX2749" fmla="*/ 7802564 w 9043663"/>
              <a:gd name="connsiteY2749" fmla="*/ 1810843 h 3664183"/>
              <a:gd name="connsiteX2750" fmla="*/ 7793008 w 9043663"/>
              <a:gd name="connsiteY2750" fmla="*/ 1796331 h 3664183"/>
              <a:gd name="connsiteX2751" fmla="*/ 7757173 w 9043663"/>
              <a:gd name="connsiteY2751" fmla="*/ 1796331 h 3664183"/>
              <a:gd name="connsiteX2752" fmla="*/ 7784647 w 9043663"/>
              <a:gd name="connsiteY2752" fmla="*/ 1820172 h 3664183"/>
              <a:gd name="connsiteX2753" fmla="*/ 7781063 w 9043663"/>
              <a:gd name="connsiteY2753" fmla="*/ 1827427 h 3664183"/>
              <a:gd name="connsiteX2754" fmla="*/ 7767923 w 9043663"/>
              <a:gd name="connsiteY2754" fmla="*/ 1824318 h 3664183"/>
              <a:gd name="connsiteX2755" fmla="*/ 7767923 w 9043663"/>
              <a:gd name="connsiteY2755" fmla="*/ 1846085 h 3664183"/>
              <a:gd name="connsiteX2756" fmla="*/ 7779868 w 9043663"/>
              <a:gd name="connsiteY2756" fmla="*/ 1846085 h 3664183"/>
              <a:gd name="connsiteX2757" fmla="*/ 7779868 w 9043663"/>
              <a:gd name="connsiteY2757" fmla="*/ 1866816 h 3664183"/>
              <a:gd name="connsiteX2758" fmla="*/ 7764340 w 9043663"/>
              <a:gd name="connsiteY2758" fmla="*/ 1866816 h 3664183"/>
              <a:gd name="connsiteX2759" fmla="*/ 7760756 w 9043663"/>
              <a:gd name="connsiteY2759" fmla="*/ 1829500 h 3664183"/>
              <a:gd name="connsiteX2760" fmla="*/ 7746422 w 9043663"/>
              <a:gd name="connsiteY2760" fmla="*/ 1850231 h 3664183"/>
              <a:gd name="connsiteX2761" fmla="*/ 7733283 w 9043663"/>
              <a:gd name="connsiteY2761" fmla="*/ 1824318 h 3664183"/>
              <a:gd name="connsiteX2762" fmla="*/ 7718948 w 9043663"/>
              <a:gd name="connsiteY2762" fmla="*/ 1824318 h 3664183"/>
              <a:gd name="connsiteX2763" fmla="*/ 7718948 w 9043663"/>
              <a:gd name="connsiteY2763" fmla="*/ 1817062 h 3664183"/>
              <a:gd name="connsiteX2764" fmla="*/ 7693863 w 9043663"/>
              <a:gd name="connsiteY2764" fmla="*/ 1816025 h 3664183"/>
              <a:gd name="connsiteX2765" fmla="*/ 7819287 w 9043663"/>
              <a:gd name="connsiteY2765" fmla="*/ 1946630 h 3664183"/>
              <a:gd name="connsiteX2766" fmla="*/ 7837205 w 9043663"/>
              <a:gd name="connsiteY2766" fmla="*/ 1975653 h 3664183"/>
              <a:gd name="connsiteX2767" fmla="*/ 7849150 w 9043663"/>
              <a:gd name="connsiteY2767" fmla="*/ 1945593 h 3664183"/>
              <a:gd name="connsiteX2768" fmla="*/ 7837205 w 9043663"/>
              <a:gd name="connsiteY2768" fmla="*/ 1895839 h 3664183"/>
              <a:gd name="connsiteX2769" fmla="*/ 7837205 w 9043663"/>
              <a:gd name="connsiteY2769" fmla="*/ 1894803 h 3664183"/>
              <a:gd name="connsiteX2770" fmla="*/ 7800175 w 9043663"/>
              <a:gd name="connsiteY2770" fmla="*/ 1865779 h 3664183"/>
              <a:gd name="connsiteX2771" fmla="*/ 7803759 w 9043663"/>
              <a:gd name="connsiteY2771" fmla="*/ 1891693 h 3664183"/>
              <a:gd name="connsiteX2772" fmla="*/ 7797786 w 9043663"/>
              <a:gd name="connsiteY2772" fmla="*/ 1893766 h 3664183"/>
              <a:gd name="connsiteX2773" fmla="*/ 7787036 w 9043663"/>
              <a:gd name="connsiteY2773" fmla="*/ 1890656 h 3664183"/>
              <a:gd name="connsiteX2774" fmla="*/ 7783452 w 9043663"/>
              <a:gd name="connsiteY2774" fmla="*/ 1905168 h 3664183"/>
              <a:gd name="connsiteX2775" fmla="*/ 7764340 w 9043663"/>
              <a:gd name="connsiteY2775" fmla="*/ 1915533 h 3664183"/>
              <a:gd name="connsiteX2776" fmla="*/ 7761951 w 9043663"/>
              <a:gd name="connsiteY2776" fmla="*/ 1904132 h 3664183"/>
              <a:gd name="connsiteX2777" fmla="*/ 7738060 w 9043663"/>
              <a:gd name="connsiteY2777" fmla="*/ 1904132 h 3664183"/>
              <a:gd name="connsiteX2778" fmla="*/ 7705808 w 9043663"/>
              <a:gd name="connsiteY2778" fmla="*/ 1925899 h 3664183"/>
              <a:gd name="connsiteX2779" fmla="*/ 7705808 w 9043663"/>
              <a:gd name="connsiteY2779" fmla="*/ 1945593 h 3664183"/>
              <a:gd name="connsiteX2780" fmla="*/ 7715365 w 9043663"/>
              <a:gd name="connsiteY2780" fmla="*/ 1958032 h 3664183"/>
              <a:gd name="connsiteX2781" fmla="*/ 7726115 w 9043663"/>
              <a:gd name="connsiteY2781" fmla="*/ 1931082 h 3664183"/>
              <a:gd name="connsiteX2782" fmla="*/ 7727310 w 9043663"/>
              <a:gd name="connsiteY2782" fmla="*/ 1930045 h 3664183"/>
              <a:gd name="connsiteX2783" fmla="*/ 7730893 w 9043663"/>
              <a:gd name="connsiteY2783" fmla="*/ 1943520 h 3664183"/>
              <a:gd name="connsiteX2784" fmla="*/ 7757173 w 9043663"/>
              <a:gd name="connsiteY2784" fmla="*/ 1929009 h 3664183"/>
              <a:gd name="connsiteX2785" fmla="*/ 7764340 w 9043663"/>
              <a:gd name="connsiteY2785" fmla="*/ 1933155 h 3664183"/>
              <a:gd name="connsiteX2786" fmla="*/ 7772701 w 9043663"/>
              <a:gd name="connsiteY2786" fmla="*/ 1940411 h 3664183"/>
              <a:gd name="connsiteX2787" fmla="*/ 7766729 w 9043663"/>
              <a:gd name="connsiteY2787" fmla="*/ 1964251 h 3664183"/>
              <a:gd name="connsiteX2788" fmla="*/ 7815704 w 9043663"/>
              <a:gd name="connsiteY2788" fmla="*/ 1990165 h 3664183"/>
              <a:gd name="connsiteX2789" fmla="*/ 7827649 w 9043663"/>
              <a:gd name="connsiteY2789" fmla="*/ 1973580 h 3664183"/>
              <a:gd name="connsiteX2790" fmla="*/ 7813314 w 9043663"/>
              <a:gd name="connsiteY2790" fmla="*/ 1955959 h 3664183"/>
              <a:gd name="connsiteX2791" fmla="*/ 7818093 w 9043663"/>
              <a:gd name="connsiteY2791" fmla="*/ 1951813 h 3664183"/>
              <a:gd name="connsiteX2792" fmla="*/ 7819287 w 9043663"/>
              <a:gd name="connsiteY2792" fmla="*/ 1946630 h 3664183"/>
              <a:gd name="connsiteX2793" fmla="*/ 8504938 w 9043663"/>
              <a:gd name="connsiteY2793" fmla="*/ 2316676 h 3664183"/>
              <a:gd name="connsiteX2794" fmla="*/ 8545552 w 9043663"/>
              <a:gd name="connsiteY2794" fmla="*/ 2316676 h 3664183"/>
              <a:gd name="connsiteX2795" fmla="*/ 8588554 w 9043663"/>
              <a:gd name="connsiteY2795" fmla="*/ 2298019 h 3664183"/>
              <a:gd name="connsiteX2796" fmla="*/ 8604082 w 9043663"/>
              <a:gd name="connsiteY2796" fmla="*/ 2270032 h 3664183"/>
              <a:gd name="connsiteX2797" fmla="*/ 8596916 w 9043663"/>
              <a:gd name="connsiteY2797" fmla="*/ 2257593 h 3664183"/>
              <a:gd name="connsiteX2798" fmla="*/ 8570636 w 9043663"/>
              <a:gd name="connsiteY2798" fmla="*/ 2257593 h 3664183"/>
              <a:gd name="connsiteX2799" fmla="*/ 8573025 w 9043663"/>
              <a:gd name="connsiteY2799" fmla="*/ 2276251 h 3664183"/>
              <a:gd name="connsiteX2800" fmla="*/ 8564664 w 9043663"/>
              <a:gd name="connsiteY2800" fmla="*/ 2276251 h 3664183"/>
              <a:gd name="connsiteX2801" fmla="*/ 8550329 w 9043663"/>
              <a:gd name="connsiteY2801" fmla="*/ 2291799 h 3664183"/>
              <a:gd name="connsiteX2802" fmla="*/ 8469103 w 9043663"/>
              <a:gd name="connsiteY2802" fmla="*/ 2291799 h 3664183"/>
              <a:gd name="connsiteX2803" fmla="*/ 8504938 w 9043663"/>
              <a:gd name="connsiteY2803" fmla="*/ 2316676 h 3664183"/>
              <a:gd name="connsiteX2804" fmla="*/ 8593332 w 9043663"/>
              <a:gd name="connsiteY2804" fmla="*/ 2243082 h 3664183"/>
              <a:gd name="connsiteX2805" fmla="*/ 8622000 w 9043663"/>
              <a:gd name="connsiteY2805" fmla="*/ 2285580 h 3664183"/>
              <a:gd name="connsiteX2806" fmla="*/ 8625584 w 9043663"/>
              <a:gd name="connsiteY2806" fmla="*/ 2250337 h 3664183"/>
              <a:gd name="connsiteX2807" fmla="*/ 8578998 w 9043663"/>
              <a:gd name="connsiteY2807" fmla="*/ 2218205 h 3664183"/>
              <a:gd name="connsiteX2808" fmla="*/ 8541968 w 9043663"/>
              <a:gd name="connsiteY2808" fmla="*/ 2208876 h 3664183"/>
              <a:gd name="connsiteX2809" fmla="*/ 8593332 w 9043663"/>
              <a:gd name="connsiteY2809" fmla="*/ 2243082 h 3664183"/>
              <a:gd name="connsiteX2810" fmla="*/ 8708005 w 9043663"/>
              <a:gd name="connsiteY2810" fmla="*/ 2326005 h 3664183"/>
              <a:gd name="connsiteX2811" fmla="*/ 8681726 w 9043663"/>
              <a:gd name="connsiteY2811" fmla="*/ 2290763 h 3664183"/>
              <a:gd name="connsiteX2812" fmla="*/ 8663808 w 9043663"/>
              <a:gd name="connsiteY2812" fmla="*/ 2290763 h 3664183"/>
              <a:gd name="connsiteX2813" fmla="*/ 8687698 w 9043663"/>
              <a:gd name="connsiteY2813" fmla="*/ 2333261 h 3664183"/>
              <a:gd name="connsiteX2814" fmla="*/ 8708005 w 9043663"/>
              <a:gd name="connsiteY2814" fmla="*/ 2326005 h 3664183"/>
              <a:gd name="connsiteX2815" fmla="*/ 8737868 w 9043663"/>
              <a:gd name="connsiteY2815" fmla="*/ 2344663 h 3664183"/>
              <a:gd name="connsiteX2816" fmla="*/ 8741452 w 9043663"/>
              <a:gd name="connsiteY2816" fmla="*/ 2340517 h 3664183"/>
              <a:gd name="connsiteX2817" fmla="*/ 8711589 w 9043663"/>
              <a:gd name="connsiteY2817" fmla="*/ 2321859 h 3664183"/>
              <a:gd name="connsiteX2818" fmla="*/ 8708005 w 9043663"/>
              <a:gd name="connsiteY2818" fmla="*/ 2326005 h 3664183"/>
              <a:gd name="connsiteX2819" fmla="*/ 8737868 w 9043663"/>
              <a:gd name="connsiteY2819" fmla="*/ 2344663 h 3664183"/>
              <a:gd name="connsiteX2820" fmla="*/ 8748619 w 9043663"/>
              <a:gd name="connsiteY2820" fmla="*/ 2374723 h 3664183"/>
              <a:gd name="connsiteX2821" fmla="*/ 8753397 w 9043663"/>
              <a:gd name="connsiteY2821" fmla="*/ 2371613 h 3664183"/>
              <a:gd name="connsiteX2822" fmla="*/ 8741452 w 9043663"/>
              <a:gd name="connsiteY2822" fmla="*/ 2356065 h 3664183"/>
              <a:gd name="connsiteX2823" fmla="*/ 8736674 w 9043663"/>
              <a:gd name="connsiteY2823" fmla="*/ 2359175 h 3664183"/>
              <a:gd name="connsiteX2824" fmla="*/ 8748619 w 9043663"/>
              <a:gd name="connsiteY2824" fmla="*/ 2374723 h 3664183"/>
              <a:gd name="connsiteX2825" fmla="*/ 8807150 w 9043663"/>
              <a:gd name="connsiteY2825" fmla="*/ 2369540 h 3664183"/>
              <a:gd name="connsiteX2826" fmla="*/ 8780870 w 9043663"/>
              <a:gd name="connsiteY2826" fmla="*/ 2348809 h 3664183"/>
              <a:gd name="connsiteX2827" fmla="*/ 8777287 w 9043663"/>
              <a:gd name="connsiteY2827" fmla="*/ 2352955 h 3664183"/>
              <a:gd name="connsiteX2828" fmla="*/ 8803566 w 9043663"/>
              <a:gd name="connsiteY2828" fmla="*/ 2373686 h 3664183"/>
              <a:gd name="connsiteX2829" fmla="*/ 8807150 w 9043663"/>
              <a:gd name="connsiteY2829" fmla="*/ 2369540 h 3664183"/>
              <a:gd name="connsiteX2830" fmla="*/ 8834623 w 9043663"/>
              <a:gd name="connsiteY2830" fmla="*/ 2371613 h 3664183"/>
              <a:gd name="connsiteX2831" fmla="*/ 8848958 w 9043663"/>
              <a:gd name="connsiteY2831" fmla="*/ 2407892 h 3664183"/>
              <a:gd name="connsiteX2832" fmla="*/ 8854930 w 9043663"/>
              <a:gd name="connsiteY2832" fmla="*/ 2405819 h 3664183"/>
              <a:gd name="connsiteX2833" fmla="*/ 8840596 w 9043663"/>
              <a:gd name="connsiteY2833" fmla="*/ 2369540 h 3664183"/>
              <a:gd name="connsiteX2834" fmla="*/ 8834623 w 9043663"/>
              <a:gd name="connsiteY2834" fmla="*/ 2371613 h 3664183"/>
              <a:gd name="connsiteX2835" fmla="*/ 8796400 w 9043663"/>
              <a:gd name="connsiteY2835" fmla="*/ 2420331 h 3664183"/>
              <a:gd name="connsiteX2836" fmla="*/ 8826262 w 9043663"/>
              <a:gd name="connsiteY2836" fmla="*/ 2423440 h 3664183"/>
              <a:gd name="connsiteX2837" fmla="*/ 8826262 w 9043663"/>
              <a:gd name="connsiteY2837" fmla="*/ 2423440 h 3664183"/>
              <a:gd name="connsiteX2838" fmla="*/ 8826262 w 9043663"/>
              <a:gd name="connsiteY2838" fmla="*/ 2423440 h 3664183"/>
              <a:gd name="connsiteX2839" fmla="*/ 8827457 w 9043663"/>
              <a:gd name="connsiteY2839" fmla="*/ 2422404 h 3664183"/>
              <a:gd name="connsiteX2840" fmla="*/ 8844180 w 9043663"/>
              <a:gd name="connsiteY2840" fmla="*/ 2412038 h 3664183"/>
              <a:gd name="connsiteX2841" fmla="*/ 8840596 w 9043663"/>
              <a:gd name="connsiteY2841" fmla="*/ 2411002 h 3664183"/>
              <a:gd name="connsiteX2842" fmla="*/ 8842985 w 9043663"/>
              <a:gd name="connsiteY2842" fmla="*/ 2408929 h 3664183"/>
              <a:gd name="connsiteX2843" fmla="*/ 8796400 w 9043663"/>
              <a:gd name="connsiteY2843" fmla="*/ 2397527 h 3664183"/>
              <a:gd name="connsiteX2844" fmla="*/ 8791621 w 9043663"/>
              <a:gd name="connsiteY2844" fmla="*/ 2396490 h 3664183"/>
              <a:gd name="connsiteX2845" fmla="*/ 8791621 w 9043663"/>
              <a:gd name="connsiteY2845" fmla="*/ 2396490 h 3664183"/>
              <a:gd name="connsiteX2846" fmla="*/ 8791621 w 9043663"/>
              <a:gd name="connsiteY2846" fmla="*/ 2396490 h 3664183"/>
              <a:gd name="connsiteX2847" fmla="*/ 8796400 w 9043663"/>
              <a:gd name="connsiteY2847" fmla="*/ 2420331 h 3664183"/>
              <a:gd name="connsiteX2848" fmla="*/ 7978158 w 9043663"/>
              <a:gd name="connsiteY2848" fmla="*/ 2462829 h 3664183"/>
              <a:gd name="connsiteX2849" fmla="*/ 7969796 w 9043663"/>
              <a:gd name="connsiteY2849" fmla="*/ 2449354 h 3664183"/>
              <a:gd name="connsiteX2850" fmla="*/ 7938738 w 9043663"/>
              <a:gd name="connsiteY2850" fmla="*/ 2449354 h 3664183"/>
              <a:gd name="connsiteX2851" fmla="*/ 7931572 w 9043663"/>
              <a:gd name="connsiteY2851" fmla="*/ 2472158 h 3664183"/>
              <a:gd name="connsiteX2852" fmla="*/ 7960240 w 9043663"/>
              <a:gd name="connsiteY2852" fmla="*/ 2475267 h 3664183"/>
              <a:gd name="connsiteX2853" fmla="*/ 7978158 w 9043663"/>
              <a:gd name="connsiteY2853" fmla="*/ 2462829 h 3664183"/>
              <a:gd name="connsiteX2854" fmla="*/ 7806148 w 9043663"/>
              <a:gd name="connsiteY2854" fmla="*/ 2396490 h 3664183"/>
              <a:gd name="connsiteX2855" fmla="*/ 7871846 w 9043663"/>
              <a:gd name="connsiteY2855" fmla="*/ 2369540 h 3664183"/>
              <a:gd name="connsiteX2856" fmla="*/ 7827649 w 9043663"/>
              <a:gd name="connsiteY2856" fmla="*/ 2366430 h 3664183"/>
              <a:gd name="connsiteX2857" fmla="*/ 7796592 w 9043663"/>
              <a:gd name="connsiteY2857" fmla="*/ 2375759 h 3664183"/>
              <a:gd name="connsiteX2858" fmla="*/ 7796592 w 9043663"/>
              <a:gd name="connsiteY2858" fmla="*/ 2374723 h 3664183"/>
              <a:gd name="connsiteX2859" fmla="*/ 7794203 w 9043663"/>
              <a:gd name="connsiteY2859" fmla="*/ 2375759 h 3664183"/>
              <a:gd name="connsiteX2860" fmla="*/ 7791813 w 9043663"/>
              <a:gd name="connsiteY2860" fmla="*/ 2376796 h 3664183"/>
              <a:gd name="connsiteX2861" fmla="*/ 7791813 w 9043663"/>
              <a:gd name="connsiteY2861" fmla="*/ 2377832 h 3664183"/>
              <a:gd name="connsiteX2862" fmla="*/ 7757173 w 9043663"/>
              <a:gd name="connsiteY2862" fmla="*/ 2397527 h 3664183"/>
              <a:gd name="connsiteX2863" fmla="*/ 7739255 w 9043663"/>
              <a:gd name="connsiteY2863" fmla="*/ 2431733 h 3664183"/>
              <a:gd name="connsiteX2864" fmla="*/ 7775091 w 9043663"/>
              <a:gd name="connsiteY2864" fmla="*/ 2422404 h 3664183"/>
              <a:gd name="connsiteX2865" fmla="*/ 7806148 w 9043663"/>
              <a:gd name="connsiteY2865" fmla="*/ 2396490 h 3664183"/>
              <a:gd name="connsiteX2866" fmla="*/ 3888142 w 9043663"/>
              <a:gd name="connsiteY2866" fmla="*/ 165847 h 3664183"/>
              <a:gd name="connsiteX2867" fmla="*/ 3920394 w 9043663"/>
              <a:gd name="connsiteY2867" fmla="*/ 165847 h 3664183"/>
              <a:gd name="connsiteX2868" fmla="*/ 3894115 w 9043663"/>
              <a:gd name="connsiteY2868" fmla="*/ 154445 h 3664183"/>
              <a:gd name="connsiteX2869" fmla="*/ 3888142 w 9043663"/>
              <a:gd name="connsiteY2869" fmla="*/ 165847 h 3664183"/>
              <a:gd name="connsiteX2870" fmla="*/ 4893923 w 9043663"/>
              <a:gd name="connsiteY2870" fmla="*/ 1071787 h 3664183"/>
              <a:gd name="connsiteX2871" fmla="*/ 4883172 w 9043663"/>
              <a:gd name="connsiteY2871" fmla="*/ 1066604 h 3664183"/>
              <a:gd name="connsiteX2872" fmla="*/ 4880784 w 9043663"/>
              <a:gd name="connsiteY2872" fmla="*/ 1070750 h 3664183"/>
              <a:gd name="connsiteX2873" fmla="*/ 4891534 w 9043663"/>
              <a:gd name="connsiteY2873" fmla="*/ 1075933 h 3664183"/>
              <a:gd name="connsiteX2874" fmla="*/ 4893923 w 9043663"/>
              <a:gd name="connsiteY2874" fmla="*/ 1071787 h 3664183"/>
              <a:gd name="connsiteX2875" fmla="*/ 3759135 w 9043663"/>
              <a:gd name="connsiteY2875" fmla="*/ 281940 h 3664183"/>
              <a:gd name="connsiteX2876" fmla="*/ 3784220 w 9043663"/>
              <a:gd name="connsiteY2876" fmla="*/ 270538 h 3664183"/>
              <a:gd name="connsiteX2877" fmla="*/ 3750773 w 9043663"/>
              <a:gd name="connsiteY2877" fmla="*/ 263282 h 3664183"/>
              <a:gd name="connsiteX2878" fmla="*/ 3792581 w 9043663"/>
              <a:gd name="connsiteY2878" fmla="*/ 263282 h 3664183"/>
              <a:gd name="connsiteX2879" fmla="*/ 3803332 w 9043663"/>
              <a:gd name="connsiteY2879" fmla="*/ 241515 h 3664183"/>
              <a:gd name="connsiteX2880" fmla="*/ 3769886 w 9043663"/>
              <a:gd name="connsiteY2880" fmla="*/ 222857 h 3664183"/>
              <a:gd name="connsiteX2881" fmla="*/ 3802137 w 9043663"/>
              <a:gd name="connsiteY2881" fmla="*/ 230113 h 3664183"/>
              <a:gd name="connsiteX2882" fmla="*/ 3816472 w 9043663"/>
              <a:gd name="connsiteY2882" fmla="*/ 204199 h 3664183"/>
              <a:gd name="connsiteX2883" fmla="*/ 3849918 w 9043663"/>
              <a:gd name="connsiteY2883" fmla="*/ 197980 h 3664183"/>
              <a:gd name="connsiteX2884" fmla="*/ 3859474 w 9043663"/>
              <a:gd name="connsiteY2884" fmla="*/ 186578 h 3664183"/>
              <a:gd name="connsiteX2885" fmla="*/ 3845140 w 9043663"/>
              <a:gd name="connsiteY2885" fmla="*/ 183468 h 3664183"/>
              <a:gd name="connsiteX2886" fmla="*/ 3879781 w 9043663"/>
              <a:gd name="connsiteY2886" fmla="*/ 180359 h 3664183"/>
              <a:gd name="connsiteX2887" fmla="*/ 3900088 w 9043663"/>
              <a:gd name="connsiteY2887" fmla="*/ 167920 h 3664183"/>
              <a:gd name="connsiteX2888" fmla="*/ 3870225 w 9043663"/>
              <a:gd name="connsiteY2888" fmla="*/ 167920 h 3664183"/>
              <a:gd name="connsiteX2889" fmla="*/ 3890532 w 9043663"/>
              <a:gd name="connsiteY2889" fmla="*/ 150299 h 3664183"/>
              <a:gd name="connsiteX2890" fmla="*/ 3879781 w 9043663"/>
              <a:gd name="connsiteY2890" fmla="*/ 134751 h 3664183"/>
              <a:gd name="connsiteX2891" fmla="*/ 3855890 w 9043663"/>
              <a:gd name="connsiteY2891" fmla="*/ 134751 h 3664183"/>
              <a:gd name="connsiteX2892" fmla="*/ 3857085 w 9043663"/>
              <a:gd name="connsiteY2892" fmla="*/ 131641 h 3664183"/>
              <a:gd name="connsiteX2893" fmla="*/ 3919200 w 9043663"/>
              <a:gd name="connsiteY2893" fmla="*/ 129568 h 3664183"/>
              <a:gd name="connsiteX2894" fmla="*/ 3927561 w 9043663"/>
              <a:gd name="connsiteY2894" fmla="*/ 122312 h 3664183"/>
              <a:gd name="connsiteX2895" fmla="*/ 3906060 w 9043663"/>
              <a:gd name="connsiteY2895" fmla="*/ 103654 h 3664183"/>
              <a:gd name="connsiteX2896" fmla="*/ 3920394 w 9043663"/>
              <a:gd name="connsiteY2896" fmla="*/ 94326 h 3664183"/>
              <a:gd name="connsiteX2897" fmla="*/ 3918005 w 9043663"/>
              <a:gd name="connsiteY2897" fmla="*/ 84997 h 3664183"/>
              <a:gd name="connsiteX2898" fmla="*/ 3995649 w 9043663"/>
              <a:gd name="connsiteY2898" fmla="*/ 60120 h 3664183"/>
              <a:gd name="connsiteX2899" fmla="*/ 4092404 w 9043663"/>
              <a:gd name="connsiteY2899" fmla="*/ 38352 h 3664183"/>
              <a:gd name="connsiteX2900" fmla="*/ 3994454 w 9043663"/>
              <a:gd name="connsiteY2900" fmla="*/ 29023 h 3664183"/>
              <a:gd name="connsiteX2901" fmla="*/ 3875003 w 9043663"/>
              <a:gd name="connsiteY2901" fmla="*/ 42498 h 3664183"/>
              <a:gd name="connsiteX2902" fmla="*/ 3914422 w 9043663"/>
              <a:gd name="connsiteY2902" fmla="*/ 32133 h 3664183"/>
              <a:gd name="connsiteX2903" fmla="*/ 3907255 w 9043663"/>
              <a:gd name="connsiteY2903" fmla="*/ 25914 h 3664183"/>
              <a:gd name="connsiteX2904" fmla="*/ 3858280 w 9043663"/>
              <a:gd name="connsiteY2904" fmla="*/ 30060 h 3664183"/>
              <a:gd name="connsiteX2905" fmla="*/ 3961008 w 9043663"/>
              <a:gd name="connsiteY2905" fmla="*/ 18658 h 3664183"/>
              <a:gd name="connsiteX2906" fmla="*/ 3822444 w 9043663"/>
              <a:gd name="connsiteY2906" fmla="*/ 0 h 3664183"/>
              <a:gd name="connsiteX2907" fmla="*/ 3529788 w 9043663"/>
              <a:gd name="connsiteY2907" fmla="*/ 5183 h 3664183"/>
              <a:gd name="connsiteX2908" fmla="*/ 3386447 w 9043663"/>
              <a:gd name="connsiteY2908" fmla="*/ 25914 h 3664183"/>
              <a:gd name="connsiteX2909" fmla="*/ 3335083 w 9043663"/>
              <a:gd name="connsiteY2909" fmla="*/ 20731 h 3664183"/>
              <a:gd name="connsiteX2910" fmla="*/ 3182185 w 9043663"/>
              <a:gd name="connsiteY2910" fmla="*/ 31096 h 3664183"/>
              <a:gd name="connsiteX2911" fmla="*/ 3189352 w 9043663"/>
              <a:gd name="connsiteY2911" fmla="*/ 37316 h 3664183"/>
              <a:gd name="connsiteX2912" fmla="*/ 3180990 w 9043663"/>
              <a:gd name="connsiteY2912" fmla="*/ 39389 h 3664183"/>
              <a:gd name="connsiteX2913" fmla="*/ 3143960 w 9043663"/>
              <a:gd name="connsiteY2913" fmla="*/ 39389 h 3664183"/>
              <a:gd name="connsiteX2914" fmla="*/ 3025703 w 9043663"/>
              <a:gd name="connsiteY2914" fmla="*/ 62193 h 3664183"/>
              <a:gd name="connsiteX2915" fmla="*/ 3097374 w 9043663"/>
              <a:gd name="connsiteY2915" fmla="*/ 62193 h 3664183"/>
              <a:gd name="connsiteX2916" fmla="*/ 3097374 w 9043663"/>
              <a:gd name="connsiteY2916" fmla="*/ 65302 h 3664183"/>
              <a:gd name="connsiteX2917" fmla="*/ 3063928 w 9043663"/>
              <a:gd name="connsiteY2917" fmla="*/ 74631 h 3664183"/>
              <a:gd name="connsiteX2918" fmla="*/ 2926559 w 9043663"/>
              <a:gd name="connsiteY2918" fmla="*/ 84997 h 3664183"/>
              <a:gd name="connsiteX2919" fmla="*/ 2889529 w 9043663"/>
              <a:gd name="connsiteY2919" fmla="*/ 102618 h 3664183"/>
              <a:gd name="connsiteX2920" fmla="*/ 2944477 w 9043663"/>
              <a:gd name="connsiteY2920" fmla="*/ 105727 h 3664183"/>
              <a:gd name="connsiteX2921" fmla="*/ 2944477 w 9043663"/>
              <a:gd name="connsiteY2921" fmla="*/ 110910 h 3664183"/>
              <a:gd name="connsiteX2922" fmla="*/ 2954033 w 9043663"/>
              <a:gd name="connsiteY2922" fmla="*/ 112983 h 3664183"/>
              <a:gd name="connsiteX2923" fmla="*/ 2895501 w 9043663"/>
              <a:gd name="connsiteY2923" fmla="*/ 120239 h 3664183"/>
              <a:gd name="connsiteX2924" fmla="*/ 2927753 w 9043663"/>
              <a:gd name="connsiteY2924" fmla="*/ 128531 h 3664183"/>
              <a:gd name="connsiteX2925" fmla="*/ 2919392 w 9043663"/>
              <a:gd name="connsiteY2925" fmla="*/ 128531 h 3664183"/>
              <a:gd name="connsiteX2926" fmla="*/ 2934921 w 9043663"/>
              <a:gd name="connsiteY2926" fmla="*/ 142007 h 3664183"/>
              <a:gd name="connsiteX2927" fmla="*/ 3069900 w 9043663"/>
              <a:gd name="connsiteY2927" fmla="*/ 138897 h 3664183"/>
              <a:gd name="connsiteX2928" fmla="*/ 3118876 w 9043663"/>
              <a:gd name="connsiteY2928" fmla="*/ 150299 h 3664183"/>
              <a:gd name="connsiteX2929" fmla="*/ 3114098 w 9043663"/>
              <a:gd name="connsiteY2929" fmla="*/ 156518 h 3664183"/>
              <a:gd name="connsiteX2930" fmla="*/ 3135599 w 9043663"/>
              <a:gd name="connsiteY2930" fmla="*/ 175176 h 3664183"/>
              <a:gd name="connsiteX2931" fmla="*/ 3129626 w 9043663"/>
              <a:gd name="connsiteY2931" fmla="*/ 182432 h 3664183"/>
              <a:gd name="connsiteX2932" fmla="*/ 3135599 w 9043663"/>
              <a:gd name="connsiteY2932" fmla="*/ 189688 h 3664183"/>
              <a:gd name="connsiteX2933" fmla="*/ 3115292 w 9043663"/>
              <a:gd name="connsiteY2933" fmla="*/ 212492 h 3664183"/>
              <a:gd name="connsiteX2934" fmla="*/ 3117681 w 9043663"/>
              <a:gd name="connsiteY2934" fmla="*/ 224930 h 3664183"/>
              <a:gd name="connsiteX2935" fmla="*/ 3094985 w 9043663"/>
              <a:gd name="connsiteY2935" fmla="*/ 235295 h 3664183"/>
              <a:gd name="connsiteX2936" fmla="*/ 3140377 w 9043663"/>
              <a:gd name="connsiteY2936" fmla="*/ 244624 h 3664183"/>
              <a:gd name="connsiteX2937" fmla="*/ 3152322 w 9043663"/>
              <a:gd name="connsiteY2937" fmla="*/ 238405 h 3664183"/>
              <a:gd name="connsiteX2938" fmla="*/ 3154711 w 9043663"/>
              <a:gd name="connsiteY2938" fmla="*/ 246698 h 3664183"/>
              <a:gd name="connsiteX2939" fmla="*/ 3178601 w 9043663"/>
              <a:gd name="connsiteY2939" fmla="*/ 251880 h 3664183"/>
              <a:gd name="connsiteX2940" fmla="*/ 3178601 w 9043663"/>
              <a:gd name="connsiteY2940" fmla="*/ 257063 h 3664183"/>
              <a:gd name="connsiteX2941" fmla="*/ 3121264 w 9043663"/>
              <a:gd name="connsiteY2941" fmla="*/ 251880 h 3664183"/>
              <a:gd name="connsiteX2942" fmla="*/ 3084235 w 9043663"/>
              <a:gd name="connsiteY2942" fmla="*/ 277794 h 3664183"/>
              <a:gd name="connsiteX2943" fmla="*/ 3110514 w 9043663"/>
              <a:gd name="connsiteY2943" fmla="*/ 290232 h 3664183"/>
              <a:gd name="connsiteX2944" fmla="*/ 3167851 w 9043663"/>
              <a:gd name="connsiteY2944" fmla="*/ 277794 h 3664183"/>
              <a:gd name="connsiteX2945" fmla="*/ 3170240 w 9043663"/>
              <a:gd name="connsiteY2945" fmla="*/ 287123 h 3664183"/>
              <a:gd name="connsiteX2946" fmla="*/ 3154711 w 9043663"/>
              <a:gd name="connsiteY2946" fmla="*/ 300598 h 3664183"/>
              <a:gd name="connsiteX2947" fmla="*/ 3118876 w 9043663"/>
              <a:gd name="connsiteY2947" fmla="*/ 300598 h 3664183"/>
              <a:gd name="connsiteX2948" fmla="*/ 3099763 w 9043663"/>
              <a:gd name="connsiteY2948" fmla="*/ 315109 h 3664183"/>
              <a:gd name="connsiteX2949" fmla="*/ 3055566 w 9043663"/>
              <a:gd name="connsiteY2949" fmla="*/ 366937 h 3664183"/>
              <a:gd name="connsiteX2950" fmla="*/ 3077068 w 9043663"/>
              <a:gd name="connsiteY2950" fmla="*/ 377302 h 3664183"/>
              <a:gd name="connsiteX2951" fmla="*/ 3068706 w 9043663"/>
              <a:gd name="connsiteY2951" fmla="*/ 408398 h 3664183"/>
              <a:gd name="connsiteX2952" fmla="*/ 3078262 w 9043663"/>
              <a:gd name="connsiteY2952" fmla="*/ 413581 h 3664183"/>
              <a:gd name="connsiteX2953" fmla="*/ 3078262 w 9043663"/>
              <a:gd name="connsiteY2953" fmla="*/ 422910 h 3664183"/>
              <a:gd name="connsiteX2954" fmla="*/ 3096180 w 9043663"/>
              <a:gd name="connsiteY2954" fmla="*/ 477847 h 3664183"/>
              <a:gd name="connsiteX2955" fmla="*/ 3109319 w 9043663"/>
              <a:gd name="connsiteY2955" fmla="*/ 495468 h 3664183"/>
              <a:gd name="connsiteX2956" fmla="*/ 3160684 w 9043663"/>
              <a:gd name="connsiteY2956" fmla="*/ 503761 h 3664183"/>
              <a:gd name="connsiteX2957" fmla="*/ 3196519 w 9043663"/>
              <a:gd name="connsiteY2957" fmla="*/ 519309 h 3664183"/>
              <a:gd name="connsiteX2958" fmla="*/ 3216826 w 9043663"/>
              <a:gd name="connsiteY2958" fmla="*/ 516199 h 3664183"/>
              <a:gd name="connsiteX2959" fmla="*/ 3269384 w 9043663"/>
              <a:gd name="connsiteY2959" fmla="*/ 463335 h 3664183"/>
              <a:gd name="connsiteX2960" fmla="*/ 3269384 w 9043663"/>
              <a:gd name="connsiteY2960" fmla="*/ 448824 h 3664183"/>
              <a:gd name="connsiteX2961" fmla="*/ 3315970 w 9043663"/>
              <a:gd name="connsiteY2961" fmla="*/ 431202 h 3664183"/>
              <a:gd name="connsiteX2962" fmla="*/ 3335083 w 9043663"/>
              <a:gd name="connsiteY2962" fmla="*/ 403216 h 3664183"/>
              <a:gd name="connsiteX2963" fmla="*/ 3330304 w 9043663"/>
              <a:gd name="connsiteY2963" fmla="*/ 390777 h 3664183"/>
              <a:gd name="connsiteX2964" fmla="*/ 3350611 w 9043663"/>
              <a:gd name="connsiteY2964" fmla="*/ 392850 h 3664183"/>
              <a:gd name="connsiteX2965" fmla="*/ 3362556 w 9043663"/>
              <a:gd name="connsiteY2965" fmla="*/ 379375 h 3664183"/>
              <a:gd name="connsiteX2966" fmla="*/ 3456923 w 9043663"/>
              <a:gd name="connsiteY2966" fmla="*/ 369010 h 3664183"/>
              <a:gd name="connsiteX2967" fmla="*/ 3553679 w 9043663"/>
              <a:gd name="connsiteY2967" fmla="*/ 322365 h 3664183"/>
              <a:gd name="connsiteX2968" fmla="*/ 3691048 w 9043663"/>
              <a:gd name="connsiteY2968" fmla="*/ 303707 h 3664183"/>
              <a:gd name="connsiteX2969" fmla="*/ 3759135 w 9043663"/>
              <a:gd name="connsiteY2969" fmla="*/ 281940 h 3664183"/>
              <a:gd name="connsiteX2970" fmla="*/ 3722105 w 9043663"/>
              <a:gd name="connsiteY2970" fmla="*/ 248771 h 3664183"/>
              <a:gd name="connsiteX2971" fmla="*/ 3740023 w 9043663"/>
              <a:gd name="connsiteY2971" fmla="*/ 248771 h 3664183"/>
              <a:gd name="connsiteX2972" fmla="*/ 3742412 w 9043663"/>
              <a:gd name="connsiteY2972" fmla="*/ 262246 h 3664183"/>
              <a:gd name="connsiteX2973" fmla="*/ 3724494 w 9043663"/>
              <a:gd name="connsiteY2973" fmla="*/ 258099 h 3664183"/>
              <a:gd name="connsiteX2974" fmla="*/ 3722105 w 9043663"/>
              <a:gd name="connsiteY2974" fmla="*/ 259136 h 3664183"/>
              <a:gd name="connsiteX2975" fmla="*/ 3722105 w 9043663"/>
              <a:gd name="connsiteY2975" fmla="*/ 248771 h 3664183"/>
              <a:gd name="connsiteX2976" fmla="*/ 5603464 w 9043663"/>
              <a:gd name="connsiteY2976" fmla="*/ 2500145 h 3664183"/>
              <a:gd name="connsiteX2977" fmla="*/ 5581963 w 9043663"/>
              <a:gd name="connsiteY2977" fmla="*/ 2466975 h 3664183"/>
              <a:gd name="connsiteX2978" fmla="*/ 5570018 w 9043663"/>
              <a:gd name="connsiteY2978" fmla="*/ 2487706 h 3664183"/>
              <a:gd name="connsiteX2979" fmla="*/ 5564045 w 9043663"/>
              <a:gd name="connsiteY2979" fmla="*/ 2509473 h 3664183"/>
              <a:gd name="connsiteX2980" fmla="*/ 5540155 w 9043663"/>
              <a:gd name="connsiteY2980" fmla="*/ 2514656 h 3664183"/>
              <a:gd name="connsiteX2981" fmla="*/ 5540155 w 9043663"/>
              <a:gd name="connsiteY2981" fmla="*/ 2514656 h 3664183"/>
              <a:gd name="connsiteX2982" fmla="*/ 5540155 w 9043663"/>
              <a:gd name="connsiteY2982" fmla="*/ 2514656 h 3664183"/>
              <a:gd name="connsiteX2983" fmla="*/ 5540155 w 9043663"/>
              <a:gd name="connsiteY2983" fmla="*/ 2515693 h 3664183"/>
              <a:gd name="connsiteX2984" fmla="*/ 5531794 w 9043663"/>
              <a:gd name="connsiteY2984" fmla="*/ 2545753 h 3664183"/>
              <a:gd name="connsiteX2985" fmla="*/ 5441010 w 9043663"/>
              <a:gd name="connsiteY2985" fmla="*/ 2584104 h 3664183"/>
              <a:gd name="connsiteX2986" fmla="*/ 5441010 w 9043663"/>
              <a:gd name="connsiteY2986" fmla="*/ 2584104 h 3664183"/>
              <a:gd name="connsiteX2987" fmla="*/ 5439816 w 9043663"/>
              <a:gd name="connsiteY2987" fmla="*/ 2584104 h 3664183"/>
              <a:gd name="connsiteX2988" fmla="*/ 5439816 w 9043663"/>
              <a:gd name="connsiteY2988" fmla="*/ 2584104 h 3664183"/>
              <a:gd name="connsiteX2989" fmla="*/ 5439816 w 9043663"/>
              <a:gd name="connsiteY2989" fmla="*/ 2584104 h 3664183"/>
              <a:gd name="connsiteX2990" fmla="*/ 5420704 w 9043663"/>
              <a:gd name="connsiteY2990" fmla="*/ 2621420 h 3664183"/>
              <a:gd name="connsiteX2991" fmla="*/ 5429065 w 9043663"/>
              <a:gd name="connsiteY2991" fmla="*/ 2690869 h 3664183"/>
              <a:gd name="connsiteX2992" fmla="*/ 5396813 w 9043663"/>
              <a:gd name="connsiteY2992" fmla="*/ 2741659 h 3664183"/>
              <a:gd name="connsiteX2993" fmla="*/ 5396813 w 9043663"/>
              <a:gd name="connsiteY2993" fmla="*/ 2742696 h 3664183"/>
              <a:gd name="connsiteX2994" fmla="*/ 5396813 w 9043663"/>
              <a:gd name="connsiteY2994" fmla="*/ 2742696 h 3664183"/>
              <a:gd name="connsiteX2995" fmla="*/ 5396813 w 9043663"/>
              <a:gd name="connsiteY2995" fmla="*/ 2742696 h 3664183"/>
              <a:gd name="connsiteX2996" fmla="*/ 5396813 w 9043663"/>
              <a:gd name="connsiteY2996" fmla="*/ 2743733 h 3664183"/>
              <a:gd name="connsiteX2997" fmla="*/ 5402786 w 9043663"/>
              <a:gd name="connsiteY2997" fmla="*/ 2814217 h 3664183"/>
              <a:gd name="connsiteX2998" fmla="*/ 5424287 w 9043663"/>
              <a:gd name="connsiteY2998" fmla="*/ 2835985 h 3664183"/>
              <a:gd name="connsiteX2999" fmla="*/ 5436232 w 9043663"/>
              <a:gd name="connsiteY2999" fmla="*/ 2843241 h 3664183"/>
              <a:gd name="connsiteX3000" fmla="*/ 5437427 w 9043663"/>
              <a:gd name="connsiteY3000" fmla="*/ 2844277 h 3664183"/>
              <a:gd name="connsiteX3001" fmla="*/ 5437427 w 9043663"/>
              <a:gd name="connsiteY3001" fmla="*/ 2844277 h 3664183"/>
              <a:gd name="connsiteX3002" fmla="*/ 5437427 w 9043663"/>
              <a:gd name="connsiteY3002" fmla="*/ 2844277 h 3664183"/>
              <a:gd name="connsiteX3003" fmla="*/ 5493569 w 9043663"/>
              <a:gd name="connsiteY3003" fmla="*/ 2833912 h 3664183"/>
              <a:gd name="connsiteX3004" fmla="*/ 5493569 w 9043663"/>
              <a:gd name="connsiteY3004" fmla="*/ 2832875 h 3664183"/>
              <a:gd name="connsiteX3005" fmla="*/ 5505514 w 9043663"/>
              <a:gd name="connsiteY3005" fmla="*/ 2820437 h 3664183"/>
              <a:gd name="connsiteX3006" fmla="*/ 5577185 w 9043663"/>
              <a:gd name="connsiteY3006" fmla="*/ 2650444 h 3664183"/>
              <a:gd name="connsiteX3007" fmla="*/ 5593908 w 9043663"/>
              <a:gd name="connsiteY3007" fmla="*/ 2575812 h 3664183"/>
              <a:gd name="connsiteX3008" fmla="*/ 5601075 w 9043663"/>
              <a:gd name="connsiteY3008" fmla="*/ 2584104 h 3664183"/>
              <a:gd name="connsiteX3009" fmla="*/ 5616604 w 9043663"/>
              <a:gd name="connsiteY3009" fmla="*/ 2567520 h 3664183"/>
              <a:gd name="connsiteX3010" fmla="*/ 5616604 w 9043663"/>
              <a:gd name="connsiteY3010" fmla="*/ 2565447 h 3664183"/>
              <a:gd name="connsiteX3011" fmla="*/ 5616604 w 9043663"/>
              <a:gd name="connsiteY3011" fmla="*/ 2565447 h 3664183"/>
              <a:gd name="connsiteX3012" fmla="*/ 5603464 w 9043663"/>
              <a:gd name="connsiteY3012" fmla="*/ 2500145 h 3664183"/>
              <a:gd name="connsiteX3013" fmla="*/ 5738444 w 9043663"/>
              <a:gd name="connsiteY3013" fmla="*/ 2732330 h 3664183"/>
              <a:gd name="connsiteX3014" fmla="*/ 5776669 w 9043663"/>
              <a:gd name="connsiteY3014" fmla="*/ 2723002 h 3664183"/>
              <a:gd name="connsiteX3015" fmla="*/ 5738444 w 9043663"/>
              <a:gd name="connsiteY3015" fmla="*/ 2717819 h 3664183"/>
              <a:gd name="connsiteX3016" fmla="*/ 5738444 w 9043663"/>
              <a:gd name="connsiteY3016" fmla="*/ 2732330 h 3664183"/>
              <a:gd name="connsiteX3017" fmla="*/ 5742028 w 9043663"/>
              <a:gd name="connsiteY3017" fmla="*/ 1798404 h 3664183"/>
              <a:gd name="connsiteX3018" fmla="*/ 5713359 w 9043663"/>
              <a:gd name="connsiteY3018" fmla="*/ 1793221 h 3664183"/>
              <a:gd name="connsiteX3019" fmla="*/ 5713359 w 9043663"/>
              <a:gd name="connsiteY3019" fmla="*/ 1793221 h 3664183"/>
              <a:gd name="connsiteX3020" fmla="*/ 5710971 w 9043663"/>
              <a:gd name="connsiteY3020" fmla="*/ 1793221 h 3664183"/>
              <a:gd name="connsiteX3021" fmla="*/ 5703803 w 9043663"/>
              <a:gd name="connsiteY3021" fmla="*/ 1802550 h 3664183"/>
              <a:gd name="connsiteX3022" fmla="*/ 5700220 w 9043663"/>
              <a:gd name="connsiteY3022" fmla="*/ 1805660 h 3664183"/>
              <a:gd name="connsiteX3023" fmla="*/ 5701414 w 9043663"/>
              <a:gd name="connsiteY3023" fmla="*/ 1805660 h 3664183"/>
              <a:gd name="connsiteX3024" fmla="*/ 5701414 w 9043663"/>
              <a:gd name="connsiteY3024" fmla="*/ 1805660 h 3664183"/>
              <a:gd name="connsiteX3025" fmla="*/ 5727694 w 9043663"/>
              <a:gd name="connsiteY3025" fmla="*/ 1811879 h 3664183"/>
              <a:gd name="connsiteX3026" fmla="*/ 5750389 w 9043663"/>
              <a:gd name="connsiteY3026" fmla="*/ 1800477 h 3664183"/>
              <a:gd name="connsiteX3027" fmla="*/ 5742028 w 9043663"/>
              <a:gd name="connsiteY3027" fmla="*/ 1798404 h 3664183"/>
              <a:gd name="connsiteX3028" fmla="*/ 4407756 w 9043663"/>
              <a:gd name="connsiteY3028" fmla="*/ 2039919 h 3664183"/>
              <a:gd name="connsiteX3029" fmla="*/ 4405367 w 9043663"/>
              <a:gd name="connsiteY3029" fmla="*/ 2038882 h 3664183"/>
              <a:gd name="connsiteX3030" fmla="*/ 4405367 w 9043663"/>
              <a:gd name="connsiteY3030" fmla="*/ 2038882 h 3664183"/>
              <a:gd name="connsiteX3031" fmla="*/ 4405367 w 9043663"/>
              <a:gd name="connsiteY3031" fmla="*/ 2038882 h 3664183"/>
              <a:gd name="connsiteX3032" fmla="*/ 4397005 w 9043663"/>
              <a:gd name="connsiteY3032" fmla="*/ 2050284 h 3664183"/>
              <a:gd name="connsiteX3033" fmla="*/ 4411339 w 9043663"/>
              <a:gd name="connsiteY3033" fmla="*/ 2058577 h 3664183"/>
              <a:gd name="connsiteX3034" fmla="*/ 4412534 w 9043663"/>
              <a:gd name="connsiteY3034" fmla="*/ 2056504 h 3664183"/>
              <a:gd name="connsiteX3035" fmla="*/ 4419701 w 9043663"/>
              <a:gd name="connsiteY3035" fmla="*/ 2047175 h 3664183"/>
              <a:gd name="connsiteX3036" fmla="*/ 4418507 w 9043663"/>
              <a:gd name="connsiteY3036" fmla="*/ 2046138 h 3664183"/>
              <a:gd name="connsiteX3037" fmla="*/ 4419701 w 9043663"/>
              <a:gd name="connsiteY3037" fmla="*/ 2044065 h 3664183"/>
              <a:gd name="connsiteX3038" fmla="*/ 4407756 w 9043663"/>
              <a:gd name="connsiteY3038" fmla="*/ 2039919 h 3664183"/>
              <a:gd name="connsiteX3039" fmla="*/ 6132634 w 9043663"/>
              <a:gd name="connsiteY3039" fmla="*/ 88106 h 3664183"/>
              <a:gd name="connsiteX3040" fmla="*/ 6132634 w 9043663"/>
              <a:gd name="connsiteY3040" fmla="*/ 106764 h 3664183"/>
              <a:gd name="connsiteX3041" fmla="*/ 6237751 w 9043663"/>
              <a:gd name="connsiteY3041" fmla="*/ 98472 h 3664183"/>
              <a:gd name="connsiteX3042" fmla="*/ 6217444 w 9043663"/>
              <a:gd name="connsiteY3042" fmla="*/ 80850 h 3664183"/>
              <a:gd name="connsiteX3043" fmla="*/ 6149357 w 9043663"/>
              <a:gd name="connsiteY3043" fmla="*/ 67375 h 3664183"/>
              <a:gd name="connsiteX3044" fmla="*/ 6131439 w 9043663"/>
              <a:gd name="connsiteY3044" fmla="*/ 76704 h 3664183"/>
              <a:gd name="connsiteX3045" fmla="*/ 6131439 w 9043663"/>
              <a:gd name="connsiteY3045" fmla="*/ 86033 h 3664183"/>
              <a:gd name="connsiteX3046" fmla="*/ 6107549 w 9043663"/>
              <a:gd name="connsiteY3046" fmla="*/ 78777 h 3664183"/>
              <a:gd name="connsiteX3047" fmla="*/ 6107549 w 9043663"/>
              <a:gd name="connsiteY3047" fmla="*/ 68412 h 3664183"/>
              <a:gd name="connsiteX3048" fmla="*/ 5979736 w 9043663"/>
              <a:gd name="connsiteY3048" fmla="*/ 36279 h 3664183"/>
              <a:gd name="connsiteX3049" fmla="*/ 5978542 w 9043663"/>
              <a:gd name="connsiteY3049" fmla="*/ 36279 h 3664183"/>
              <a:gd name="connsiteX3050" fmla="*/ 5940317 w 9043663"/>
              <a:gd name="connsiteY3050" fmla="*/ 47681 h 3664183"/>
              <a:gd name="connsiteX3051" fmla="*/ 5940317 w 9043663"/>
              <a:gd name="connsiteY3051" fmla="*/ 50791 h 3664183"/>
              <a:gd name="connsiteX3052" fmla="*/ 5921205 w 9043663"/>
              <a:gd name="connsiteY3052" fmla="*/ 61156 h 3664183"/>
              <a:gd name="connsiteX3053" fmla="*/ 6020350 w 9043663"/>
              <a:gd name="connsiteY3053" fmla="*/ 86033 h 3664183"/>
              <a:gd name="connsiteX3054" fmla="*/ 6132634 w 9043663"/>
              <a:gd name="connsiteY3054" fmla="*/ 88106 h 3664183"/>
              <a:gd name="connsiteX3055" fmla="*/ 5350227 w 9043663"/>
              <a:gd name="connsiteY3055" fmla="*/ 163774 h 3664183"/>
              <a:gd name="connsiteX3056" fmla="*/ 5346644 w 9043663"/>
              <a:gd name="connsiteY3056" fmla="*/ 182432 h 3664183"/>
              <a:gd name="connsiteX3057" fmla="*/ 5325142 w 9043663"/>
              <a:gd name="connsiteY3057" fmla="*/ 191761 h 3664183"/>
              <a:gd name="connsiteX3058" fmla="*/ 5340671 w 9043663"/>
              <a:gd name="connsiteY3058" fmla="*/ 200053 h 3664183"/>
              <a:gd name="connsiteX3059" fmla="*/ 5315586 w 9043663"/>
              <a:gd name="connsiteY3059" fmla="*/ 214565 h 3664183"/>
              <a:gd name="connsiteX3060" fmla="*/ 5323948 w 9043663"/>
              <a:gd name="connsiteY3060" fmla="*/ 223894 h 3664183"/>
              <a:gd name="connsiteX3061" fmla="*/ 5308419 w 9043663"/>
              <a:gd name="connsiteY3061" fmla="*/ 225967 h 3664183"/>
              <a:gd name="connsiteX3062" fmla="*/ 5308419 w 9043663"/>
              <a:gd name="connsiteY3062" fmla="*/ 240478 h 3664183"/>
              <a:gd name="connsiteX3063" fmla="*/ 5363367 w 9043663"/>
              <a:gd name="connsiteY3063" fmla="*/ 262246 h 3664183"/>
              <a:gd name="connsiteX3064" fmla="*/ 5460123 w 9043663"/>
              <a:gd name="connsiteY3064" fmla="*/ 262246 h 3664183"/>
              <a:gd name="connsiteX3065" fmla="*/ 5401592 w 9043663"/>
              <a:gd name="connsiteY3065" fmla="*/ 241515 h 3664183"/>
              <a:gd name="connsiteX3066" fmla="*/ 5384868 w 9043663"/>
              <a:gd name="connsiteY3066" fmla="*/ 220784 h 3664183"/>
              <a:gd name="connsiteX3067" fmla="*/ 5392035 w 9043663"/>
              <a:gd name="connsiteY3067" fmla="*/ 212492 h 3664183"/>
              <a:gd name="connsiteX3068" fmla="*/ 5451761 w 9043663"/>
              <a:gd name="connsiteY3068" fmla="*/ 168957 h 3664183"/>
              <a:gd name="connsiteX3069" fmla="*/ 5587935 w 9043663"/>
              <a:gd name="connsiteY3069" fmla="*/ 139933 h 3664183"/>
              <a:gd name="connsiteX3070" fmla="*/ 5587935 w 9043663"/>
              <a:gd name="connsiteY3070" fmla="*/ 127495 h 3664183"/>
              <a:gd name="connsiteX3071" fmla="*/ 5552100 w 9043663"/>
              <a:gd name="connsiteY3071" fmla="*/ 122312 h 3664183"/>
              <a:gd name="connsiteX3072" fmla="*/ 5516265 w 9043663"/>
              <a:gd name="connsiteY3072" fmla="*/ 132678 h 3664183"/>
              <a:gd name="connsiteX3073" fmla="*/ 5441010 w 9043663"/>
              <a:gd name="connsiteY3073" fmla="*/ 137860 h 3664183"/>
              <a:gd name="connsiteX3074" fmla="*/ 5350227 w 9043663"/>
              <a:gd name="connsiteY3074" fmla="*/ 163774 h 3664183"/>
              <a:gd name="connsiteX3075" fmla="*/ 5261833 w 9043663"/>
              <a:gd name="connsiteY3075" fmla="*/ 289196 h 3664183"/>
              <a:gd name="connsiteX3076" fmla="*/ 5277362 w 9043663"/>
              <a:gd name="connsiteY3076" fmla="*/ 305781 h 3664183"/>
              <a:gd name="connsiteX3077" fmla="*/ 5307225 w 9043663"/>
              <a:gd name="connsiteY3077" fmla="*/ 302671 h 3664183"/>
              <a:gd name="connsiteX3078" fmla="*/ 5315586 w 9043663"/>
              <a:gd name="connsiteY3078" fmla="*/ 288159 h 3664183"/>
              <a:gd name="connsiteX3079" fmla="*/ 5280946 w 9043663"/>
              <a:gd name="connsiteY3079" fmla="*/ 281940 h 3664183"/>
              <a:gd name="connsiteX3080" fmla="*/ 5261833 w 9043663"/>
              <a:gd name="connsiteY3080" fmla="*/ 289196 h 3664183"/>
              <a:gd name="connsiteX3081" fmla="*/ 5290502 w 9043663"/>
              <a:gd name="connsiteY3081" fmla="*/ 62193 h 3664183"/>
              <a:gd name="connsiteX3082" fmla="*/ 5386063 w 9043663"/>
              <a:gd name="connsiteY3082" fmla="*/ 60120 h 3664183"/>
              <a:gd name="connsiteX3083" fmla="*/ 5408758 w 9043663"/>
              <a:gd name="connsiteY3083" fmla="*/ 52864 h 3664183"/>
              <a:gd name="connsiteX3084" fmla="*/ 5405175 w 9043663"/>
              <a:gd name="connsiteY3084" fmla="*/ 51827 h 3664183"/>
              <a:gd name="connsiteX3085" fmla="*/ 5454150 w 9043663"/>
              <a:gd name="connsiteY3085" fmla="*/ 46644 h 3664183"/>
              <a:gd name="connsiteX3086" fmla="*/ 5427871 w 9043663"/>
              <a:gd name="connsiteY3086" fmla="*/ 37316 h 3664183"/>
              <a:gd name="connsiteX3087" fmla="*/ 5289307 w 9043663"/>
              <a:gd name="connsiteY3087" fmla="*/ 58047 h 3664183"/>
              <a:gd name="connsiteX3088" fmla="*/ 5290502 w 9043663"/>
              <a:gd name="connsiteY3088" fmla="*/ 62193 h 3664183"/>
              <a:gd name="connsiteX3089" fmla="*/ 5248694 w 9043663"/>
              <a:gd name="connsiteY3089" fmla="*/ 49754 h 3664183"/>
              <a:gd name="connsiteX3090" fmla="*/ 5329921 w 9043663"/>
              <a:gd name="connsiteY3090" fmla="*/ 49754 h 3664183"/>
              <a:gd name="connsiteX3091" fmla="*/ 5329921 w 9043663"/>
              <a:gd name="connsiteY3091" fmla="*/ 44571 h 3664183"/>
              <a:gd name="connsiteX3092" fmla="*/ 5322754 w 9043663"/>
              <a:gd name="connsiteY3092" fmla="*/ 43535 h 3664183"/>
              <a:gd name="connsiteX3093" fmla="*/ 5334699 w 9043663"/>
              <a:gd name="connsiteY3093" fmla="*/ 39389 h 3664183"/>
              <a:gd name="connsiteX3094" fmla="*/ 5312003 w 9043663"/>
              <a:gd name="connsiteY3094" fmla="*/ 31096 h 3664183"/>
              <a:gd name="connsiteX3095" fmla="*/ 5269001 w 9043663"/>
              <a:gd name="connsiteY3095" fmla="*/ 37316 h 3664183"/>
              <a:gd name="connsiteX3096" fmla="*/ 5274973 w 9043663"/>
              <a:gd name="connsiteY3096" fmla="*/ 39389 h 3664183"/>
              <a:gd name="connsiteX3097" fmla="*/ 5248694 w 9043663"/>
              <a:gd name="connsiteY3097" fmla="*/ 43535 h 3664183"/>
              <a:gd name="connsiteX3098" fmla="*/ 5248694 w 9043663"/>
              <a:gd name="connsiteY3098" fmla="*/ 49754 h 3664183"/>
              <a:gd name="connsiteX3099" fmla="*/ 5269001 w 9043663"/>
              <a:gd name="connsiteY3099" fmla="*/ 57010 h 3664183"/>
              <a:gd name="connsiteX3100" fmla="*/ 5233165 w 9043663"/>
              <a:gd name="connsiteY3100" fmla="*/ 57010 h 3664183"/>
              <a:gd name="connsiteX3101" fmla="*/ 5233165 w 9043663"/>
              <a:gd name="connsiteY3101" fmla="*/ 62193 h 3664183"/>
              <a:gd name="connsiteX3102" fmla="*/ 5269001 w 9043663"/>
              <a:gd name="connsiteY3102" fmla="*/ 62193 h 3664183"/>
              <a:gd name="connsiteX3103" fmla="*/ 5269001 w 9043663"/>
              <a:gd name="connsiteY3103" fmla="*/ 57010 h 3664183"/>
              <a:gd name="connsiteX3104" fmla="*/ 5190163 w 9043663"/>
              <a:gd name="connsiteY3104" fmla="*/ 62193 h 3664183"/>
              <a:gd name="connsiteX3105" fmla="*/ 5185385 w 9043663"/>
              <a:gd name="connsiteY3105" fmla="*/ 58047 h 3664183"/>
              <a:gd name="connsiteX3106" fmla="*/ 5212858 w 9043663"/>
              <a:gd name="connsiteY3106" fmla="*/ 49754 h 3664183"/>
              <a:gd name="connsiteX3107" fmla="*/ 5119686 w 9043663"/>
              <a:gd name="connsiteY3107" fmla="*/ 43535 h 3664183"/>
              <a:gd name="connsiteX3108" fmla="*/ 5055183 w 9043663"/>
              <a:gd name="connsiteY3108" fmla="*/ 51827 h 3664183"/>
              <a:gd name="connsiteX3109" fmla="*/ 5153133 w 9043663"/>
              <a:gd name="connsiteY3109" fmla="*/ 62193 h 3664183"/>
              <a:gd name="connsiteX3110" fmla="*/ 5190163 w 9043663"/>
              <a:gd name="connsiteY3110" fmla="*/ 62193 h 3664183"/>
              <a:gd name="connsiteX3111" fmla="*/ 4822252 w 9043663"/>
              <a:gd name="connsiteY3111" fmla="*/ 1166112 h 3664183"/>
              <a:gd name="connsiteX3112" fmla="*/ 4822252 w 9043663"/>
              <a:gd name="connsiteY3112" fmla="*/ 1166112 h 3664183"/>
              <a:gd name="connsiteX3113" fmla="*/ 4822252 w 9043663"/>
              <a:gd name="connsiteY3113" fmla="*/ 1166112 h 3664183"/>
              <a:gd name="connsiteX3114" fmla="*/ 4821058 w 9043663"/>
              <a:gd name="connsiteY3114" fmla="*/ 1168185 h 3664183"/>
              <a:gd name="connsiteX3115" fmla="*/ 4817474 w 9043663"/>
              <a:gd name="connsiteY3115" fmla="*/ 1178551 h 3664183"/>
              <a:gd name="connsiteX3116" fmla="*/ 4818669 w 9043663"/>
              <a:gd name="connsiteY3116" fmla="*/ 1178551 h 3664183"/>
              <a:gd name="connsiteX3117" fmla="*/ 4817474 w 9043663"/>
              <a:gd name="connsiteY3117" fmla="*/ 1181660 h 3664183"/>
              <a:gd name="connsiteX3118" fmla="*/ 4858088 w 9043663"/>
              <a:gd name="connsiteY3118" fmla="*/ 1186843 h 3664183"/>
              <a:gd name="connsiteX3119" fmla="*/ 4859282 w 9043663"/>
              <a:gd name="connsiteY3119" fmla="*/ 1186843 h 3664183"/>
              <a:gd name="connsiteX3120" fmla="*/ 4880784 w 9043663"/>
              <a:gd name="connsiteY3120" fmla="*/ 1185806 h 3664183"/>
              <a:gd name="connsiteX3121" fmla="*/ 4880784 w 9043663"/>
              <a:gd name="connsiteY3121" fmla="*/ 1185806 h 3664183"/>
              <a:gd name="connsiteX3122" fmla="*/ 4881978 w 9043663"/>
              <a:gd name="connsiteY3122" fmla="*/ 1184770 h 3664183"/>
              <a:gd name="connsiteX3123" fmla="*/ 4898701 w 9043663"/>
              <a:gd name="connsiteY3123" fmla="*/ 1183733 h 3664183"/>
              <a:gd name="connsiteX3124" fmla="*/ 4898701 w 9043663"/>
              <a:gd name="connsiteY3124" fmla="*/ 1172332 h 3664183"/>
              <a:gd name="connsiteX3125" fmla="*/ 4895118 w 9043663"/>
              <a:gd name="connsiteY3125" fmla="*/ 1174405 h 3664183"/>
              <a:gd name="connsiteX3126" fmla="*/ 4886756 w 9043663"/>
              <a:gd name="connsiteY3126" fmla="*/ 1176478 h 3664183"/>
              <a:gd name="connsiteX3127" fmla="*/ 4886756 w 9043663"/>
              <a:gd name="connsiteY3127" fmla="*/ 1171295 h 3664183"/>
              <a:gd name="connsiteX3128" fmla="*/ 4822252 w 9043663"/>
              <a:gd name="connsiteY3128" fmla="*/ 1166112 h 3664183"/>
              <a:gd name="connsiteX3129" fmla="*/ 5056377 w 9043663"/>
              <a:gd name="connsiteY3129" fmla="*/ 1186843 h 3664183"/>
              <a:gd name="connsiteX3130" fmla="*/ 5058766 w 9043663"/>
              <a:gd name="connsiteY3130" fmla="*/ 1192026 h 3664183"/>
              <a:gd name="connsiteX3131" fmla="*/ 5096991 w 9043663"/>
              <a:gd name="connsiteY3131" fmla="*/ 1192026 h 3664183"/>
              <a:gd name="connsiteX3132" fmla="*/ 5096991 w 9043663"/>
              <a:gd name="connsiteY3132" fmla="*/ 1192026 h 3664183"/>
              <a:gd name="connsiteX3133" fmla="*/ 5119686 w 9043663"/>
              <a:gd name="connsiteY3133" fmla="*/ 1188916 h 3664183"/>
              <a:gd name="connsiteX3134" fmla="*/ 5112519 w 9043663"/>
              <a:gd name="connsiteY3134" fmla="*/ 1179587 h 3664183"/>
              <a:gd name="connsiteX3135" fmla="*/ 5122075 w 9043663"/>
              <a:gd name="connsiteY3135" fmla="*/ 1174405 h 3664183"/>
              <a:gd name="connsiteX3136" fmla="*/ 5141187 w 9043663"/>
              <a:gd name="connsiteY3136" fmla="*/ 1163003 h 3664183"/>
              <a:gd name="connsiteX3137" fmla="*/ 5141187 w 9043663"/>
              <a:gd name="connsiteY3137" fmla="*/ 1163003 h 3664183"/>
              <a:gd name="connsiteX3138" fmla="*/ 5142382 w 9043663"/>
              <a:gd name="connsiteY3138" fmla="*/ 1161966 h 3664183"/>
              <a:gd name="connsiteX3139" fmla="*/ 5125659 w 9043663"/>
              <a:gd name="connsiteY3139" fmla="*/ 1166112 h 3664183"/>
              <a:gd name="connsiteX3140" fmla="*/ 5053988 w 9043663"/>
              <a:gd name="connsiteY3140" fmla="*/ 1179587 h 3664183"/>
              <a:gd name="connsiteX3141" fmla="*/ 5055183 w 9043663"/>
              <a:gd name="connsiteY3141" fmla="*/ 1181660 h 3664183"/>
              <a:gd name="connsiteX3142" fmla="*/ 5052793 w 9043663"/>
              <a:gd name="connsiteY3142" fmla="*/ 1182697 h 3664183"/>
              <a:gd name="connsiteX3143" fmla="*/ 5056377 w 9043663"/>
              <a:gd name="connsiteY3143" fmla="*/ 1186843 h 3664183"/>
              <a:gd name="connsiteX3144" fmla="*/ 3695826 w 9043663"/>
              <a:gd name="connsiteY3144" fmla="*/ 1375494 h 3664183"/>
              <a:gd name="connsiteX3145" fmla="*/ 3698215 w 9043663"/>
              <a:gd name="connsiteY3145" fmla="*/ 1378604 h 3664183"/>
              <a:gd name="connsiteX3146" fmla="*/ 3699409 w 9043663"/>
              <a:gd name="connsiteY3146" fmla="*/ 1377567 h 3664183"/>
              <a:gd name="connsiteX3147" fmla="*/ 3720910 w 9043663"/>
              <a:gd name="connsiteY3147" fmla="*/ 1353727 h 3664183"/>
              <a:gd name="connsiteX3148" fmla="*/ 3708965 w 9043663"/>
              <a:gd name="connsiteY3148" fmla="*/ 1358909 h 3664183"/>
              <a:gd name="connsiteX3149" fmla="*/ 3687464 w 9043663"/>
              <a:gd name="connsiteY3149" fmla="*/ 1365129 h 3664183"/>
              <a:gd name="connsiteX3150" fmla="*/ 3688658 w 9043663"/>
              <a:gd name="connsiteY3150" fmla="*/ 1367202 h 3664183"/>
              <a:gd name="connsiteX3151" fmla="*/ 3686270 w 9043663"/>
              <a:gd name="connsiteY3151" fmla="*/ 1368238 h 3664183"/>
              <a:gd name="connsiteX3152" fmla="*/ 3695826 w 9043663"/>
              <a:gd name="connsiteY3152" fmla="*/ 1375494 h 3664183"/>
              <a:gd name="connsiteX3153" fmla="*/ 3737634 w 9043663"/>
              <a:gd name="connsiteY3153" fmla="*/ 1380677 h 3664183"/>
              <a:gd name="connsiteX3154" fmla="*/ 3732856 w 9043663"/>
              <a:gd name="connsiteY3154" fmla="*/ 1368238 h 3664183"/>
              <a:gd name="connsiteX3155" fmla="*/ 3713743 w 9043663"/>
              <a:gd name="connsiteY3155" fmla="*/ 1372384 h 3664183"/>
              <a:gd name="connsiteX3156" fmla="*/ 3723300 w 9043663"/>
              <a:gd name="connsiteY3156" fmla="*/ 1384823 h 3664183"/>
              <a:gd name="connsiteX3157" fmla="*/ 3737634 w 9043663"/>
              <a:gd name="connsiteY3157" fmla="*/ 1380677 h 3664183"/>
              <a:gd name="connsiteX3158" fmla="*/ 3756746 w 9043663"/>
              <a:gd name="connsiteY3158" fmla="*/ 1378604 h 3664183"/>
              <a:gd name="connsiteX3159" fmla="*/ 3768691 w 9043663"/>
              <a:gd name="connsiteY3159" fmla="*/ 1373421 h 3664183"/>
              <a:gd name="connsiteX3160" fmla="*/ 3783025 w 9043663"/>
              <a:gd name="connsiteY3160" fmla="*/ 1370312 h 3664183"/>
              <a:gd name="connsiteX3161" fmla="*/ 3783025 w 9043663"/>
              <a:gd name="connsiteY3161" fmla="*/ 1358909 h 3664183"/>
              <a:gd name="connsiteX3162" fmla="*/ 3803332 w 9043663"/>
              <a:gd name="connsiteY3162" fmla="*/ 1337142 h 3664183"/>
              <a:gd name="connsiteX3163" fmla="*/ 3777053 w 9043663"/>
              <a:gd name="connsiteY3163" fmla="*/ 1348544 h 3664183"/>
              <a:gd name="connsiteX3164" fmla="*/ 3777053 w 9043663"/>
              <a:gd name="connsiteY3164" fmla="*/ 1356836 h 3664183"/>
              <a:gd name="connsiteX3165" fmla="*/ 3756746 w 9043663"/>
              <a:gd name="connsiteY3165" fmla="*/ 1378604 h 3664183"/>
              <a:gd name="connsiteX3166" fmla="*/ 3908449 w 9043663"/>
              <a:gd name="connsiteY3166" fmla="*/ 409435 h 3664183"/>
              <a:gd name="connsiteX3167" fmla="*/ 3931145 w 9043663"/>
              <a:gd name="connsiteY3167" fmla="*/ 395960 h 3664183"/>
              <a:gd name="connsiteX3168" fmla="*/ 3934728 w 9043663"/>
              <a:gd name="connsiteY3168" fmla="*/ 377302 h 3664183"/>
              <a:gd name="connsiteX3169" fmla="*/ 3916811 w 9043663"/>
              <a:gd name="connsiteY3169" fmla="*/ 372119 h 3664183"/>
              <a:gd name="connsiteX3170" fmla="*/ 3916811 w 9043663"/>
              <a:gd name="connsiteY3170" fmla="*/ 358644 h 3664183"/>
              <a:gd name="connsiteX3171" fmla="*/ 3883364 w 9043663"/>
              <a:gd name="connsiteY3171" fmla="*/ 355535 h 3664183"/>
              <a:gd name="connsiteX3172" fmla="*/ 3851112 w 9043663"/>
              <a:gd name="connsiteY3172" fmla="*/ 365900 h 3664183"/>
              <a:gd name="connsiteX3173" fmla="*/ 3802137 w 9043663"/>
              <a:gd name="connsiteY3173" fmla="*/ 371083 h 3664183"/>
              <a:gd name="connsiteX3174" fmla="*/ 3793776 w 9043663"/>
              <a:gd name="connsiteY3174" fmla="*/ 360717 h 3664183"/>
              <a:gd name="connsiteX3175" fmla="*/ 3786609 w 9043663"/>
              <a:gd name="connsiteY3175" fmla="*/ 377302 h 3664183"/>
              <a:gd name="connsiteX3176" fmla="*/ 3766302 w 9043663"/>
              <a:gd name="connsiteY3176" fmla="*/ 379375 h 3664183"/>
              <a:gd name="connsiteX3177" fmla="*/ 3771080 w 9043663"/>
              <a:gd name="connsiteY3177" fmla="*/ 367973 h 3664183"/>
              <a:gd name="connsiteX3178" fmla="*/ 3737634 w 9043663"/>
              <a:gd name="connsiteY3178" fmla="*/ 356571 h 3664183"/>
              <a:gd name="connsiteX3179" fmla="*/ 3689853 w 9043663"/>
              <a:gd name="connsiteY3179" fmla="*/ 382485 h 3664183"/>
              <a:gd name="connsiteX3180" fmla="*/ 3736439 w 9043663"/>
              <a:gd name="connsiteY3180" fmla="*/ 384558 h 3664183"/>
              <a:gd name="connsiteX3181" fmla="*/ 3683880 w 9043663"/>
              <a:gd name="connsiteY3181" fmla="*/ 403216 h 3664183"/>
              <a:gd name="connsiteX3182" fmla="*/ 3730466 w 9043663"/>
              <a:gd name="connsiteY3182" fmla="*/ 403216 h 3664183"/>
              <a:gd name="connsiteX3183" fmla="*/ 3736439 w 9043663"/>
              <a:gd name="connsiteY3183" fmla="*/ 412545 h 3664183"/>
              <a:gd name="connsiteX3184" fmla="*/ 3708965 w 9043663"/>
              <a:gd name="connsiteY3184" fmla="*/ 422910 h 3664183"/>
              <a:gd name="connsiteX3185" fmla="*/ 3809304 w 9043663"/>
              <a:gd name="connsiteY3185" fmla="*/ 437422 h 3664183"/>
              <a:gd name="connsiteX3186" fmla="*/ 3908449 w 9043663"/>
              <a:gd name="connsiteY3186" fmla="*/ 409435 h 3664183"/>
              <a:gd name="connsiteX3187" fmla="*/ 4515262 w 9043663"/>
              <a:gd name="connsiteY3187" fmla="*/ 100545 h 3664183"/>
              <a:gd name="connsiteX3188" fmla="*/ 4528402 w 9043663"/>
              <a:gd name="connsiteY3188" fmla="*/ 100545 h 3664183"/>
              <a:gd name="connsiteX3189" fmla="*/ 4524818 w 9043663"/>
              <a:gd name="connsiteY3189" fmla="*/ 101581 h 3664183"/>
              <a:gd name="connsiteX3190" fmla="*/ 4528402 w 9043663"/>
              <a:gd name="connsiteY3190" fmla="*/ 116093 h 3664183"/>
              <a:gd name="connsiteX3191" fmla="*/ 4591711 w 9043663"/>
              <a:gd name="connsiteY3191" fmla="*/ 135787 h 3664183"/>
              <a:gd name="connsiteX3192" fmla="*/ 4625158 w 9043663"/>
              <a:gd name="connsiteY3192" fmla="*/ 96399 h 3664183"/>
              <a:gd name="connsiteX3193" fmla="*/ 4650242 w 9043663"/>
              <a:gd name="connsiteY3193" fmla="*/ 91216 h 3664183"/>
              <a:gd name="connsiteX3194" fmla="*/ 4672938 w 9043663"/>
              <a:gd name="connsiteY3194" fmla="*/ 104691 h 3664183"/>
              <a:gd name="connsiteX3195" fmla="*/ 4656215 w 9043663"/>
              <a:gd name="connsiteY3195" fmla="*/ 116093 h 3664183"/>
              <a:gd name="connsiteX3196" fmla="*/ 4699217 w 9043663"/>
              <a:gd name="connsiteY3196" fmla="*/ 122312 h 3664183"/>
              <a:gd name="connsiteX3197" fmla="*/ 4750582 w 9043663"/>
              <a:gd name="connsiteY3197" fmla="*/ 106764 h 3664183"/>
              <a:gd name="connsiteX3198" fmla="*/ 4626352 w 9043663"/>
              <a:gd name="connsiteY3198" fmla="*/ 76704 h 3664183"/>
              <a:gd name="connsiteX3199" fmla="*/ 4625158 w 9043663"/>
              <a:gd name="connsiteY3199" fmla="*/ 73595 h 3664183"/>
              <a:gd name="connsiteX3200" fmla="*/ 4713552 w 9043663"/>
              <a:gd name="connsiteY3200" fmla="*/ 80850 h 3664183"/>
              <a:gd name="connsiteX3201" fmla="*/ 4713552 w 9043663"/>
              <a:gd name="connsiteY3201" fmla="*/ 80850 h 3664183"/>
              <a:gd name="connsiteX3202" fmla="*/ 4769694 w 9043663"/>
              <a:gd name="connsiteY3202" fmla="*/ 69448 h 3664183"/>
              <a:gd name="connsiteX3203" fmla="*/ 4769694 w 9043663"/>
              <a:gd name="connsiteY3203" fmla="*/ 57010 h 3664183"/>
              <a:gd name="connsiteX3204" fmla="*/ 4638297 w 9043663"/>
              <a:gd name="connsiteY3204" fmla="*/ 48718 h 3664183"/>
              <a:gd name="connsiteX3205" fmla="*/ 4560654 w 9043663"/>
              <a:gd name="connsiteY3205" fmla="*/ 67375 h 3664183"/>
              <a:gd name="connsiteX3206" fmla="*/ 4472260 w 9043663"/>
              <a:gd name="connsiteY3206" fmla="*/ 64266 h 3664183"/>
              <a:gd name="connsiteX3207" fmla="*/ 4486594 w 9043663"/>
              <a:gd name="connsiteY3207" fmla="*/ 90179 h 3664183"/>
              <a:gd name="connsiteX3208" fmla="*/ 4515262 w 9043663"/>
              <a:gd name="connsiteY3208" fmla="*/ 100545 h 3664183"/>
              <a:gd name="connsiteX3209" fmla="*/ 4193938 w 9043663"/>
              <a:gd name="connsiteY3209" fmla="*/ 505834 h 3664183"/>
              <a:gd name="connsiteX3210" fmla="*/ 4178409 w 9043663"/>
              <a:gd name="connsiteY3210" fmla="*/ 513089 h 3664183"/>
              <a:gd name="connsiteX3211" fmla="*/ 4193938 w 9043663"/>
              <a:gd name="connsiteY3211" fmla="*/ 520345 h 3664183"/>
              <a:gd name="connsiteX3212" fmla="*/ 4193938 w 9043663"/>
              <a:gd name="connsiteY3212" fmla="*/ 505834 h 3664183"/>
              <a:gd name="connsiteX3213" fmla="*/ 4149741 w 9043663"/>
              <a:gd name="connsiteY3213" fmla="*/ 548332 h 3664183"/>
              <a:gd name="connsiteX3214" fmla="*/ 4149741 w 9043663"/>
              <a:gd name="connsiteY3214" fmla="*/ 548332 h 3664183"/>
              <a:gd name="connsiteX3215" fmla="*/ 4152130 w 9043663"/>
              <a:gd name="connsiteY3215" fmla="*/ 550405 h 3664183"/>
              <a:gd name="connsiteX3216" fmla="*/ 4156908 w 9043663"/>
              <a:gd name="connsiteY3216" fmla="*/ 547295 h 3664183"/>
              <a:gd name="connsiteX3217" fmla="*/ 4152130 w 9043663"/>
              <a:gd name="connsiteY3217" fmla="*/ 542113 h 3664183"/>
              <a:gd name="connsiteX3218" fmla="*/ 4146157 w 9043663"/>
              <a:gd name="connsiteY3218" fmla="*/ 534857 h 3664183"/>
              <a:gd name="connsiteX3219" fmla="*/ 4146157 w 9043663"/>
              <a:gd name="connsiteY3219" fmla="*/ 534857 h 3664183"/>
              <a:gd name="connsiteX3220" fmla="*/ 4143768 w 9043663"/>
              <a:gd name="connsiteY3220" fmla="*/ 532784 h 3664183"/>
              <a:gd name="connsiteX3221" fmla="*/ 4138990 w 9043663"/>
              <a:gd name="connsiteY3221" fmla="*/ 535893 h 3664183"/>
              <a:gd name="connsiteX3222" fmla="*/ 4143768 w 9043663"/>
              <a:gd name="connsiteY3222" fmla="*/ 541076 h 3664183"/>
              <a:gd name="connsiteX3223" fmla="*/ 4149741 w 9043663"/>
              <a:gd name="connsiteY3223" fmla="*/ 548332 h 3664183"/>
              <a:gd name="connsiteX3224" fmla="*/ 4049402 w 9043663"/>
              <a:gd name="connsiteY3224" fmla="*/ 560770 h 3664183"/>
              <a:gd name="connsiteX3225" fmla="*/ 4036262 w 9043663"/>
              <a:gd name="connsiteY3225" fmla="*/ 579428 h 3664183"/>
              <a:gd name="connsiteX3226" fmla="*/ 4056569 w 9043663"/>
              <a:gd name="connsiteY3226" fmla="*/ 575282 h 3664183"/>
              <a:gd name="connsiteX3227" fmla="*/ 4084043 w 9043663"/>
              <a:gd name="connsiteY3227" fmla="*/ 548332 h 3664183"/>
              <a:gd name="connsiteX3228" fmla="*/ 4049402 w 9043663"/>
              <a:gd name="connsiteY3228" fmla="*/ 560770 h 3664183"/>
              <a:gd name="connsiteX3229" fmla="*/ 4650242 w 9043663"/>
              <a:gd name="connsiteY3229" fmla="*/ 594976 h 3664183"/>
              <a:gd name="connsiteX3230" fmla="*/ 4652631 w 9043663"/>
              <a:gd name="connsiteY3230" fmla="*/ 593940 h 3664183"/>
              <a:gd name="connsiteX3231" fmla="*/ 4668160 w 9043663"/>
              <a:gd name="connsiteY3231" fmla="*/ 588757 h 3664183"/>
              <a:gd name="connsiteX3232" fmla="*/ 4677716 w 9043663"/>
              <a:gd name="connsiteY3232" fmla="*/ 574245 h 3664183"/>
              <a:gd name="connsiteX3233" fmla="*/ 4682494 w 9043663"/>
              <a:gd name="connsiteY3233" fmla="*/ 569063 h 3664183"/>
              <a:gd name="connsiteX3234" fmla="*/ 4681300 w 9043663"/>
              <a:gd name="connsiteY3234" fmla="*/ 569063 h 3664183"/>
              <a:gd name="connsiteX3235" fmla="*/ 4641881 w 9043663"/>
              <a:gd name="connsiteY3235" fmla="*/ 576319 h 3664183"/>
              <a:gd name="connsiteX3236" fmla="*/ 4650242 w 9043663"/>
              <a:gd name="connsiteY3236" fmla="*/ 594976 h 3664183"/>
              <a:gd name="connsiteX3237" fmla="*/ 4650242 w 9043663"/>
              <a:gd name="connsiteY3237" fmla="*/ 594976 h 3664183"/>
              <a:gd name="connsiteX3238" fmla="*/ 4650242 w 9043663"/>
              <a:gd name="connsiteY3238" fmla="*/ 594976 h 3664183"/>
              <a:gd name="connsiteX3239" fmla="*/ 4743414 w 9043663"/>
              <a:gd name="connsiteY3239" fmla="*/ 549368 h 3664183"/>
              <a:gd name="connsiteX3240" fmla="*/ 4725497 w 9043663"/>
              <a:gd name="connsiteY3240" fmla="*/ 560770 h 3664183"/>
              <a:gd name="connsiteX3241" fmla="*/ 4731469 w 9043663"/>
              <a:gd name="connsiteY3241" fmla="*/ 561807 h 3664183"/>
              <a:gd name="connsiteX3242" fmla="*/ 4741025 w 9043663"/>
              <a:gd name="connsiteY3242" fmla="*/ 564917 h 3664183"/>
              <a:gd name="connsiteX3243" fmla="*/ 4742220 w 9043663"/>
              <a:gd name="connsiteY3243" fmla="*/ 564917 h 3664183"/>
              <a:gd name="connsiteX3244" fmla="*/ 4744609 w 9043663"/>
              <a:gd name="connsiteY3244" fmla="*/ 564917 h 3664183"/>
              <a:gd name="connsiteX3245" fmla="*/ 4766110 w 9043663"/>
              <a:gd name="connsiteY3245" fmla="*/ 556624 h 3664183"/>
              <a:gd name="connsiteX3246" fmla="*/ 4776861 w 9043663"/>
              <a:gd name="connsiteY3246" fmla="*/ 553515 h 3664183"/>
              <a:gd name="connsiteX3247" fmla="*/ 4775666 w 9043663"/>
              <a:gd name="connsiteY3247" fmla="*/ 553515 h 3664183"/>
              <a:gd name="connsiteX3248" fmla="*/ 4775666 w 9043663"/>
              <a:gd name="connsiteY3248" fmla="*/ 553515 h 3664183"/>
              <a:gd name="connsiteX3249" fmla="*/ 4743414 w 9043663"/>
              <a:gd name="connsiteY3249" fmla="*/ 549368 h 3664183"/>
              <a:gd name="connsiteX3250" fmla="*/ 4074487 w 9043663"/>
              <a:gd name="connsiteY3250" fmla="*/ 588757 h 3664183"/>
              <a:gd name="connsiteX3251" fmla="*/ 4056569 w 9043663"/>
              <a:gd name="connsiteY3251" fmla="*/ 612598 h 3664183"/>
              <a:gd name="connsiteX3252" fmla="*/ 4076875 w 9043663"/>
              <a:gd name="connsiteY3252" fmla="*/ 609488 h 3664183"/>
              <a:gd name="connsiteX3253" fmla="*/ 4075681 w 9043663"/>
              <a:gd name="connsiteY3253" fmla="*/ 614671 h 3664183"/>
              <a:gd name="connsiteX3254" fmla="*/ 4036262 w 9043663"/>
              <a:gd name="connsiteY3254" fmla="*/ 625036 h 3664183"/>
              <a:gd name="connsiteX3255" fmla="*/ 4069709 w 9043663"/>
              <a:gd name="connsiteY3255" fmla="*/ 625036 h 3664183"/>
              <a:gd name="connsiteX3256" fmla="*/ 4069709 w 9043663"/>
              <a:gd name="connsiteY3256" fmla="*/ 638511 h 3664183"/>
              <a:gd name="connsiteX3257" fmla="*/ 4086432 w 9043663"/>
              <a:gd name="connsiteY3257" fmla="*/ 627109 h 3664183"/>
              <a:gd name="connsiteX3258" fmla="*/ 4090015 w 9043663"/>
              <a:gd name="connsiteY3258" fmla="*/ 633329 h 3664183"/>
              <a:gd name="connsiteX3259" fmla="*/ 4078070 w 9043663"/>
              <a:gd name="connsiteY3259" fmla="*/ 648877 h 3664183"/>
              <a:gd name="connsiteX3260" fmla="*/ 4086432 w 9043663"/>
              <a:gd name="connsiteY3260" fmla="*/ 656132 h 3664183"/>
              <a:gd name="connsiteX3261" fmla="*/ 4121073 w 9043663"/>
              <a:gd name="connsiteY3261" fmla="*/ 651986 h 3664183"/>
              <a:gd name="connsiteX3262" fmla="*/ 4116295 w 9043663"/>
              <a:gd name="connsiteY3262" fmla="*/ 660279 h 3664183"/>
              <a:gd name="connsiteX3263" fmla="*/ 4137796 w 9043663"/>
              <a:gd name="connsiteY3263" fmla="*/ 668571 h 3664183"/>
              <a:gd name="connsiteX3264" fmla="*/ 4130629 w 9043663"/>
              <a:gd name="connsiteY3264" fmla="*/ 685156 h 3664183"/>
              <a:gd name="connsiteX3265" fmla="*/ 4091210 w 9043663"/>
              <a:gd name="connsiteY3265" fmla="*/ 685156 h 3664183"/>
              <a:gd name="connsiteX3266" fmla="*/ 4082848 w 9043663"/>
              <a:gd name="connsiteY3266" fmla="*/ 705887 h 3664183"/>
              <a:gd name="connsiteX3267" fmla="*/ 4098377 w 9043663"/>
              <a:gd name="connsiteY3267" fmla="*/ 705887 h 3664183"/>
              <a:gd name="connsiteX3268" fmla="*/ 4098377 w 9043663"/>
              <a:gd name="connsiteY3268" fmla="*/ 717289 h 3664183"/>
              <a:gd name="connsiteX3269" fmla="*/ 4062542 w 9043663"/>
              <a:gd name="connsiteY3269" fmla="*/ 728691 h 3664183"/>
              <a:gd name="connsiteX3270" fmla="*/ 4072097 w 9043663"/>
              <a:gd name="connsiteY3270" fmla="*/ 736983 h 3664183"/>
              <a:gd name="connsiteX3271" fmla="*/ 4115100 w 9043663"/>
              <a:gd name="connsiteY3271" fmla="*/ 745275 h 3664183"/>
              <a:gd name="connsiteX3272" fmla="*/ 4093599 w 9043663"/>
              <a:gd name="connsiteY3272" fmla="*/ 745275 h 3664183"/>
              <a:gd name="connsiteX3273" fmla="*/ 4037457 w 9043663"/>
              <a:gd name="connsiteY3273" fmla="*/ 783627 h 3664183"/>
              <a:gd name="connsiteX3274" fmla="*/ 4079265 w 9043663"/>
              <a:gd name="connsiteY3274" fmla="*/ 771189 h 3664183"/>
              <a:gd name="connsiteX3275" fmla="*/ 4101960 w 9043663"/>
              <a:gd name="connsiteY3275" fmla="*/ 776372 h 3664183"/>
              <a:gd name="connsiteX3276" fmla="*/ 4107933 w 9043663"/>
              <a:gd name="connsiteY3276" fmla="*/ 764970 h 3664183"/>
              <a:gd name="connsiteX3277" fmla="*/ 4123462 w 9043663"/>
              <a:gd name="connsiteY3277" fmla="*/ 760823 h 3664183"/>
              <a:gd name="connsiteX3278" fmla="*/ 4143768 w 9043663"/>
              <a:gd name="connsiteY3278" fmla="*/ 766006 h 3664183"/>
              <a:gd name="connsiteX3279" fmla="*/ 4222606 w 9043663"/>
              <a:gd name="connsiteY3279" fmla="*/ 757714 h 3664183"/>
              <a:gd name="connsiteX3280" fmla="*/ 4239330 w 9043663"/>
              <a:gd name="connsiteY3280" fmla="*/ 743202 h 3664183"/>
              <a:gd name="connsiteX3281" fmla="*/ 4216634 w 9043663"/>
              <a:gd name="connsiteY3281" fmla="*/ 741129 h 3664183"/>
              <a:gd name="connsiteX3282" fmla="*/ 4253664 w 9043663"/>
              <a:gd name="connsiteY3282" fmla="*/ 714179 h 3664183"/>
              <a:gd name="connsiteX3283" fmla="*/ 4228579 w 9043663"/>
              <a:gd name="connsiteY3283" fmla="*/ 698631 h 3664183"/>
              <a:gd name="connsiteX3284" fmla="*/ 4209467 w 9043663"/>
              <a:gd name="connsiteY3284" fmla="*/ 700704 h 3664183"/>
              <a:gd name="connsiteX3285" fmla="*/ 4214245 w 9043663"/>
              <a:gd name="connsiteY3285" fmla="*/ 696558 h 3664183"/>
              <a:gd name="connsiteX3286" fmla="*/ 4195133 w 9043663"/>
              <a:gd name="connsiteY3286" fmla="*/ 657169 h 3664183"/>
              <a:gd name="connsiteX3287" fmla="*/ 4177215 w 9043663"/>
              <a:gd name="connsiteY3287" fmla="*/ 651986 h 3664183"/>
              <a:gd name="connsiteX3288" fmla="*/ 4161686 w 9043663"/>
              <a:gd name="connsiteY3288" fmla="*/ 620890 h 3664183"/>
              <a:gd name="connsiteX3289" fmla="*/ 4135407 w 9043663"/>
              <a:gd name="connsiteY3289" fmla="*/ 616744 h 3664183"/>
              <a:gd name="connsiteX3290" fmla="*/ 4168853 w 9043663"/>
              <a:gd name="connsiteY3290" fmla="*/ 583574 h 3664183"/>
              <a:gd name="connsiteX3291" fmla="*/ 4168853 w 9043663"/>
              <a:gd name="connsiteY3291" fmla="*/ 570099 h 3664183"/>
              <a:gd name="connsiteX3292" fmla="*/ 4123462 w 9043663"/>
              <a:gd name="connsiteY3292" fmla="*/ 574245 h 3664183"/>
              <a:gd name="connsiteX3293" fmla="*/ 4146157 w 9043663"/>
              <a:gd name="connsiteY3293" fmla="*/ 560770 h 3664183"/>
              <a:gd name="connsiteX3294" fmla="*/ 4141379 w 9043663"/>
              <a:gd name="connsiteY3294" fmla="*/ 549368 h 3664183"/>
              <a:gd name="connsiteX3295" fmla="*/ 4092404 w 9043663"/>
              <a:gd name="connsiteY3295" fmla="*/ 552478 h 3664183"/>
              <a:gd name="connsiteX3296" fmla="*/ 4066125 w 9043663"/>
              <a:gd name="connsiteY3296" fmla="*/ 580465 h 3664183"/>
              <a:gd name="connsiteX3297" fmla="*/ 4074487 w 9043663"/>
              <a:gd name="connsiteY3297" fmla="*/ 588757 h 3664183"/>
              <a:gd name="connsiteX3298" fmla="*/ 4121073 w 9043663"/>
              <a:gd name="connsiteY3298" fmla="*/ 744239 h 3664183"/>
              <a:gd name="connsiteX3299" fmla="*/ 4117489 w 9043663"/>
              <a:gd name="connsiteY3299" fmla="*/ 744239 h 3664183"/>
              <a:gd name="connsiteX3300" fmla="*/ 4123462 w 9043663"/>
              <a:gd name="connsiteY3300" fmla="*/ 741129 h 3664183"/>
              <a:gd name="connsiteX3301" fmla="*/ 4121073 w 9043663"/>
              <a:gd name="connsiteY3301" fmla="*/ 744239 h 3664183"/>
              <a:gd name="connsiteX3302" fmla="*/ 4402978 w 9043663"/>
              <a:gd name="connsiteY3302" fmla="*/ 1066604 h 3664183"/>
              <a:gd name="connsiteX3303" fmla="*/ 4417312 w 9043663"/>
              <a:gd name="connsiteY3303" fmla="*/ 1082152 h 3664183"/>
              <a:gd name="connsiteX3304" fmla="*/ 4444786 w 9043663"/>
              <a:gd name="connsiteY3304" fmla="*/ 1067641 h 3664183"/>
              <a:gd name="connsiteX3305" fmla="*/ 4448369 w 9043663"/>
              <a:gd name="connsiteY3305" fmla="*/ 1017886 h 3664183"/>
              <a:gd name="connsiteX3306" fmla="*/ 4430452 w 9043663"/>
              <a:gd name="connsiteY3306" fmla="*/ 1005448 h 3664183"/>
              <a:gd name="connsiteX3307" fmla="*/ 4440008 w 9043663"/>
              <a:gd name="connsiteY3307" fmla="*/ 959840 h 3664183"/>
              <a:gd name="connsiteX3308" fmla="*/ 4406561 w 9043663"/>
              <a:gd name="connsiteY3308" fmla="*/ 976425 h 3664183"/>
              <a:gd name="connsiteX3309" fmla="*/ 4406561 w 9043663"/>
              <a:gd name="connsiteY3309" fmla="*/ 997155 h 3664183"/>
              <a:gd name="connsiteX3310" fmla="*/ 4422090 w 9043663"/>
              <a:gd name="connsiteY3310" fmla="*/ 1008557 h 3664183"/>
              <a:gd name="connsiteX3311" fmla="*/ 4397005 w 9043663"/>
              <a:gd name="connsiteY3311" fmla="*/ 1016850 h 3664183"/>
              <a:gd name="connsiteX3312" fmla="*/ 4402978 w 9043663"/>
              <a:gd name="connsiteY3312" fmla="*/ 1066604 h 3664183"/>
              <a:gd name="connsiteX3313" fmla="*/ 4259636 w 9043663"/>
              <a:gd name="connsiteY3313" fmla="*/ 1043800 h 3664183"/>
              <a:gd name="connsiteX3314" fmla="*/ 4232162 w 9043663"/>
              <a:gd name="connsiteY3314" fmla="*/ 1057275 h 3664183"/>
              <a:gd name="connsiteX3315" fmla="*/ 4266804 w 9043663"/>
              <a:gd name="connsiteY3315" fmla="*/ 1073860 h 3664183"/>
              <a:gd name="connsiteX3316" fmla="*/ 4278749 w 9043663"/>
              <a:gd name="connsiteY3316" fmla="*/ 1054165 h 3664183"/>
              <a:gd name="connsiteX3317" fmla="*/ 4259636 w 9043663"/>
              <a:gd name="connsiteY3317" fmla="*/ 1043800 h 3664183"/>
              <a:gd name="connsiteX3318" fmla="*/ 4478232 w 9043663"/>
              <a:gd name="connsiteY3318" fmla="*/ 650950 h 3664183"/>
              <a:gd name="connsiteX3319" fmla="*/ 4478232 w 9043663"/>
              <a:gd name="connsiteY3319" fmla="*/ 656132 h 3664183"/>
              <a:gd name="connsiteX3320" fmla="*/ 4499734 w 9043663"/>
              <a:gd name="connsiteY3320" fmla="*/ 656132 h 3664183"/>
              <a:gd name="connsiteX3321" fmla="*/ 4499734 w 9043663"/>
              <a:gd name="connsiteY3321" fmla="*/ 650950 h 3664183"/>
              <a:gd name="connsiteX3322" fmla="*/ 4478232 w 9043663"/>
              <a:gd name="connsiteY3322" fmla="*/ 650950 h 3664183"/>
              <a:gd name="connsiteX3323" fmla="*/ 3941896 w 9043663"/>
              <a:gd name="connsiteY3323" fmla="*/ 713142 h 3664183"/>
              <a:gd name="connsiteX3324" fmla="*/ 3957424 w 9043663"/>
              <a:gd name="connsiteY3324" fmla="*/ 736983 h 3664183"/>
              <a:gd name="connsiteX3325" fmla="*/ 4044624 w 9043663"/>
              <a:gd name="connsiteY3325" fmla="*/ 718325 h 3664183"/>
              <a:gd name="connsiteX3326" fmla="*/ 4057764 w 9043663"/>
              <a:gd name="connsiteY3326" fmla="*/ 696558 h 3664183"/>
              <a:gd name="connsiteX3327" fmla="*/ 4057764 w 9043663"/>
              <a:gd name="connsiteY3327" fmla="*/ 669608 h 3664183"/>
              <a:gd name="connsiteX3328" fmla="*/ 4057764 w 9043663"/>
              <a:gd name="connsiteY3328" fmla="*/ 669608 h 3664183"/>
              <a:gd name="connsiteX3329" fmla="*/ 4058958 w 9043663"/>
              <a:gd name="connsiteY3329" fmla="*/ 672717 h 3664183"/>
              <a:gd name="connsiteX3330" fmla="*/ 4058958 w 9043663"/>
              <a:gd name="connsiteY3330" fmla="*/ 672717 h 3664183"/>
              <a:gd name="connsiteX3331" fmla="*/ 4058958 w 9043663"/>
              <a:gd name="connsiteY3331" fmla="*/ 672717 h 3664183"/>
              <a:gd name="connsiteX3332" fmla="*/ 4075681 w 9043663"/>
              <a:gd name="connsiteY3332" fmla="*/ 662352 h 3664183"/>
              <a:gd name="connsiteX3333" fmla="*/ 4075681 w 9043663"/>
              <a:gd name="connsiteY3333" fmla="*/ 662352 h 3664183"/>
              <a:gd name="connsiteX3334" fmla="*/ 4075681 w 9043663"/>
              <a:gd name="connsiteY3334" fmla="*/ 662352 h 3664183"/>
              <a:gd name="connsiteX3335" fmla="*/ 4074487 w 9043663"/>
              <a:gd name="connsiteY3335" fmla="*/ 660279 h 3664183"/>
              <a:gd name="connsiteX3336" fmla="*/ 4068514 w 9043663"/>
              <a:gd name="connsiteY3336" fmla="*/ 637475 h 3664183"/>
              <a:gd name="connsiteX3337" fmla="*/ 4005205 w 9043663"/>
              <a:gd name="connsiteY3337" fmla="*/ 637475 h 3664183"/>
              <a:gd name="connsiteX3338" fmla="*/ 3989676 w 9043663"/>
              <a:gd name="connsiteY3338" fmla="*/ 650950 h 3664183"/>
              <a:gd name="connsiteX3339" fmla="*/ 4000427 w 9043663"/>
              <a:gd name="connsiteY3339" fmla="*/ 655096 h 3664183"/>
              <a:gd name="connsiteX3340" fmla="*/ 3994454 w 9043663"/>
              <a:gd name="connsiteY3340" fmla="*/ 657169 h 3664183"/>
              <a:gd name="connsiteX3341" fmla="*/ 3965786 w 9043663"/>
              <a:gd name="connsiteY3341" fmla="*/ 657169 h 3664183"/>
              <a:gd name="connsiteX3342" fmla="*/ 3953841 w 9043663"/>
              <a:gd name="connsiteY3342" fmla="*/ 671681 h 3664183"/>
              <a:gd name="connsiteX3343" fmla="*/ 3964591 w 9043663"/>
              <a:gd name="connsiteY3343" fmla="*/ 675827 h 3664183"/>
              <a:gd name="connsiteX3344" fmla="*/ 3946674 w 9043663"/>
              <a:gd name="connsiteY3344" fmla="*/ 681009 h 3664183"/>
              <a:gd name="connsiteX3345" fmla="*/ 3976536 w 9043663"/>
              <a:gd name="connsiteY3345" fmla="*/ 692412 h 3664183"/>
              <a:gd name="connsiteX3346" fmla="*/ 3956230 w 9043663"/>
              <a:gd name="connsiteY3346" fmla="*/ 712106 h 3664183"/>
              <a:gd name="connsiteX3347" fmla="*/ 3941896 w 9043663"/>
              <a:gd name="connsiteY3347" fmla="*/ 712106 h 3664183"/>
              <a:gd name="connsiteX3348" fmla="*/ 3075873 w 9043663"/>
              <a:gd name="connsiteY3348" fmla="*/ 2278324 h 3664183"/>
              <a:gd name="connsiteX3349" fmla="*/ 2986285 w 9043663"/>
              <a:gd name="connsiteY3349" fmla="*/ 2216131 h 3664183"/>
              <a:gd name="connsiteX3350" fmla="*/ 2940893 w 9043663"/>
              <a:gd name="connsiteY3350" fmla="*/ 2221314 h 3664183"/>
              <a:gd name="connsiteX3351" fmla="*/ 2883556 w 9043663"/>
              <a:gd name="connsiteY3351" fmla="*/ 2205766 h 3664183"/>
              <a:gd name="connsiteX3352" fmla="*/ 2858471 w 9043663"/>
              <a:gd name="connsiteY3352" fmla="*/ 2215095 h 3664183"/>
              <a:gd name="connsiteX3353" fmla="*/ 2860861 w 9043663"/>
              <a:gd name="connsiteY3353" fmla="*/ 2208876 h 3664183"/>
              <a:gd name="connsiteX3354" fmla="*/ 2847721 w 9043663"/>
              <a:gd name="connsiteY3354" fmla="*/ 2182962 h 3664183"/>
              <a:gd name="connsiteX3355" fmla="*/ 2833387 w 9043663"/>
              <a:gd name="connsiteY3355" fmla="*/ 2188145 h 3664183"/>
              <a:gd name="connsiteX3356" fmla="*/ 2830998 w 9043663"/>
              <a:gd name="connsiteY3356" fmla="*/ 2179852 h 3664183"/>
              <a:gd name="connsiteX3357" fmla="*/ 2778439 w 9043663"/>
              <a:gd name="connsiteY3357" fmla="*/ 2161195 h 3664183"/>
              <a:gd name="connsiteX3358" fmla="*/ 2748576 w 9043663"/>
              <a:gd name="connsiteY3358" fmla="*/ 2164304 h 3664183"/>
              <a:gd name="connsiteX3359" fmla="*/ 2737826 w 9043663"/>
              <a:gd name="connsiteY3359" fmla="*/ 2185035 h 3664183"/>
              <a:gd name="connsiteX3360" fmla="*/ 2735437 w 9043663"/>
              <a:gd name="connsiteY3360" fmla="*/ 2181925 h 3664183"/>
              <a:gd name="connsiteX3361" fmla="*/ 2741409 w 9043663"/>
              <a:gd name="connsiteY3361" fmla="*/ 2151866 h 3664183"/>
              <a:gd name="connsiteX3362" fmla="*/ 2723492 w 9043663"/>
              <a:gd name="connsiteY3362" fmla="*/ 2148756 h 3664183"/>
              <a:gd name="connsiteX3363" fmla="*/ 2678100 w 9043663"/>
              <a:gd name="connsiteY3363" fmla="*/ 2153939 h 3664183"/>
              <a:gd name="connsiteX3364" fmla="*/ 2678100 w 9043663"/>
              <a:gd name="connsiteY3364" fmla="*/ 2181925 h 3664183"/>
              <a:gd name="connsiteX3365" fmla="*/ 2670933 w 9043663"/>
              <a:gd name="connsiteY3365" fmla="*/ 2168451 h 3664183"/>
              <a:gd name="connsiteX3366" fmla="*/ 2656599 w 9043663"/>
              <a:gd name="connsiteY3366" fmla="*/ 2174670 h 3664183"/>
              <a:gd name="connsiteX3367" fmla="*/ 2666155 w 9043663"/>
              <a:gd name="connsiteY3367" fmla="*/ 2152902 h 3664183"/>
              <a:gd name="connsiteX3368" fmla="*/ 2696018 w 9043663"/>
              <a:gd name="connsiteY3368" fmla="*/ 2119733 h 3664183"/>
              <a:gd name="connsiteX3369" fmla="*/ 2703185 w 9043663"/>
              <a:gd name="connsiteY3369" fmla="*/ 2094856 h 3664183"/>
              <a:gd name="connsiteX3370" fmla="*/ 2684073 w 9043663"/>
              <a:gd name="connsiteY3370" fmla="*/ 2094856 h 3664183"/>
              <a:gd name="connsiteX3371" fmla="*/ 2669738 w 9043663"/>
              <a:gd name="connsiteY3371" fmla="*/ 2040955 h 3664183"/>
              <a:gd name="connsiteX3372" fmla="*/ 2654210 w 9043663"/>
              <a:gd name="connsiteY3372" fmla="*/ 2032663 h 3664183"/>
              <a:gd name="connsiteX3373" fmla="*/ 2586122 w 9043663"/>
              <a:gd name="connsiteY3373" fmla="*/ 1992238 h 3664183"/>
              <a:gd name="connsiteX3374" fmla="*/ 2588511 w 9043663"/>
              <a:gd name="connsiteY3374" fmla="*/ 1990165 h 3664183"/>
              <a:gd name="connsiteX3375" fmla="*/ 2552676 w 9043663"/>
              <a:gd name="connsiteY3375" fmla="*/ 1978763 h 3664183"/>
              <a:gd name="connsiteX3376" fmla="*/ 2490561 w 9043663"/>
              <a:gd name="connsiteY3376" fmla="*/ 1978763 h 3664183"/>
              <a:gd name="connsiteX3377" fmla="*/ 2463087 w 9043663"/>
              <a:gd name="connsiteY3377" fmla="*/ 1954922 h 3664183"/>
              <a:gd name="connsiteX3378" fmla="*/ 2453531 w 9043663"/>
              <a:gd name="connsiteY3378" fmla="*/ 1959068 h 3664183"/>
              <a:gd name="connsiteX3379" fmla="*/ 2453531 w 9043663"/>
              <a:gd name="connsiteY3379" fmla="*/ 1936264 h 3664183"/>
              <a:gd name="connsiteX3380" fmla="*/ 2421279 w 9043663"/>
              <a:gd name="connsiteY3380" fmla="*/ 1922789 h 3664183"/>
              <a:gd name="connsiteX3381" fmla="*/ 2426058 w 9043663"/>
              <a:gd name="connsiteY3381" fmla="*/ 1919680 h 3664183"/>
              <a:gd name="connsiteX3382" fmla="*/ 2405751 w 9043663"/>
              <a:gd name="connsiteY3382" fmla="*/ 1909314 h 3664183"/>
              <a:gd name="connsiteX3383" fmla="*/ 2387833 w 9043663"/>
              <a:gd name="connsiteY3383" fmla="*/ 1913461 h 3664183"/>
              <a:gd name="connsiteX3384" fmla="*/ 2387833 w 9043663"/>
              <a:gd name="connsiteY3384" fmla="*/ 1883401 h 3664183"/>
              <a:gd name="connsiteX3385" fmla="*/ 2361554 w 9043663"/>
              <a:gd name="connsiteY3385" fmla="*/ 1877182 h 3664183"/>
              <a:gd name="connsiteX3386" fmla="*/ 2380666 w 9043663"/>
              <a:gd name="connsiteY3386" fmla="*/ 1877182 h 3664183"/>
              <a:gd name="connsiteX3387" fmla="*/ 2395000 w 9043663"/>
              <a:gd name="connsiteY3387" fmla="*/ 1845049 h 3664183"/>
              <a:gd name="connsiteX3388" fmla="*/ 2368721 w 9043663"/>
              <a:gd name="connsiteY3388" fmla="*/ 1848158 h 3664183"/>
              <a:gd name="connsiteX3389" fmla="*/ 2293467 w 9043663"/>
              <a:gd name="connsiteY3389" fmla="*/ 1848158 h 3664183"/>
              <a:gd name="connsiteX3390" fmla="*/ 2267187 w 9043663"/>
              <a:gd name="connsiteY3390" fmla="*/ 1865779 h 3664183"/>
              <a:gd name="connsiteX3391" fmla="*/ 2234935 w 9043663"/>
              <a:gd name="connsiteY3391" fmla="*/ 1853341 h 3664183"/>
              <a:gd name="connsiteX3392" fmla="*/ 2174015 w 9043663"/>
              <a:gd name="connsiteY3392" fmla="*/ 1855414 h 3664183"/>
              <a:gd name="connsiteX3393" fmla="*/ 2171626 w 9043663"/>
              <a:gd name="connsiteY3393" fmla="*/ 1835720 h 3664183"/>
              <a:gd name="connsiteX3394" fmla="*/ 2135791 w 9043663"/>
              <a:gd name="connsiteY3394" fmla="*/ 1827427 h 3664183"/>
              <a:gd name="connsiteX3395" fmla="*/ 2129818 w 9043663"/>
              <a:gd name="connsiteY3395" fmla="*/ 1807733 h 3664183"/>
              <a:gd name="connsiteX3396" fmla="*/ 2113095 w 9043663"/>
              <a:gd name="connsiteY3396" fmla="*/ 1814989 h 3664183"/>
              <a:gd name="connsiteX3397" fmla="*/ 2115484 w 9043663"/>
              <a:gd name="connsiteY3397" fmla="*/ 1827427 h 3664183"/>
              <a:gd name="connsiteX3398" fmla="*/ 2079649 w 9043663"/>
              <a:gd name="connsiteY3398" fmla="*/ 1839866 h 3664183"/>
              <a:gd name="connsiteX3399" fmla="*/ 2083232 w 9043663"/>
              <a:gd name="connsiteY3399" fmla="*/ 1889620 h 3664183"/>
              <a:gd name="connsiteX3400" fmla="*/ 2070092 w 9043663"/>
              <a:gd name="connsiteY3400" fmla="*/ 1894803 h 3664183"/>
              <a:gd name="connsiteX3401" fmla="*/ 2065314 w 9043663"/>
              <a:gd name="connsiteY3401" fmla="*/ 1876145 h 3664183"/>
              <a:gd name="connsiteX3402" fmla="*/ 2080843 w 9043663"/>
              <a:gd name="connsiteY3402" fmla="*/ 1855414 h 3664183"/>
              <a:gd name="connsiteX3403" fmla="*/ 2072481 w 9043663"/>
              <a:gd name="connsiteY3403" fmla="*/ 1832610 h 3664183"/>
              <a:gd name="connsiteX3404" fmla="*/ 2097566 w 9043663"/>
              <a:gd name="connsiteY3404" fmla="*/ 1817062 h 3664183"/>
              <a:gd name="connsiteX3405" fmla="*/ 2077259 w 9043663"/>
              <a:gd name="connsiteY3405" fmla="*/ 1803587 h 3664183"/>
              <a:gd name="connsiteX3406" fmla="*/ 2022312 w 9043663"/>
              <a:gd name="connsiteY3406" fmla="*/ 1837793 h 3664183"/>
              <a:gd name="connsiteX3407" fmla="*/ 2000811 w 9043663"/>
              <a:gd name="connsiteY3407" fmla="*/ 1834683 h 3664183"/>
              <a:gd name="connsiteX3408" fmla="*/ 1994838 w 9043663"/>
              <a:gd name="connsiteY3408" fmla="*/ 1845049 h 3664183"/>
              <a:gd name="connsiteX3409" fmla="*/ 1970948 w 9043663"/>
              <a:gd name="connsiteY3409" fmla="*/ 1845049 h 3664183"/>
              <a:gd name="connsiteX3410" fmla="*/ 1955419 w 9043663"/>
              <a:gd name="connsiteY3410" fmla="*/ 1884437 h 3664183"/>
              <a:gd name="connsiteX3411" fmla="*/ 1919584 w 9043663"/>
              <a:gd name="connsiteY3411" fmla="*/ 1908278 h 3664183"/>
              <a:gd name="connsiteX3412" fmla="*/ 1919584 w 9043663"/>
              <a:gd name="connsiteY3412" fmla="*/ 1923826 h 3664183"/>
              <a:gd name="connsiteX3413" fmla="*/ 1890915 w 9043663"/>
              <a:gd name="connsiteY3413" fmla="*/ 1886510 h 3664183"/>
              <a:gd name="connsiteX3414" fmla="*/ 1896888 w 9043663"/>
              <a:gd name="connsiteY3414" fmla="*/ 1899985 h 3664183"/>
              <a:gd name="connsiteX3415" fmla="*/ 1882554 w 9043663"/>
              <a:gd name="connsiteY3415" fmla="*/ 1883401 h 3664183"/>
              <a:gd name="connsiteX3416" fmla="*/ 1853885 w 9043663"/>
              <a:gd name="connsiteY3416" fmla="*/ 1875108 h 3664183"/>
              <a:gd name="connsiteX3417" fmla="*/ 1828801 w 9043663"/>
              <a:gd name="connsiteY3417" fmla="*/ 1886510 h 3664183"/>
              <a:gd name="connsiteX3418" fmla="*/ 1825217 w 9043663"/>
              <a:gd name="connsiteY3418" fmla="*/ 1882364 h 3664183"/>
              <a:gd name="connsiteX3419" fmla="*/ 1782215 w 9043663"/>
              <a:gd name="connsiteY3419" fmla="*/ 1901022 h 3664183"/>
              <a:gd name="connsiteX3420" fmla="*/ 1766686 w 9043663"/>
              <a:gd name="connsiteY3420" fmla="*/ 1893766 h 3664183"/>
              <a:gd name="connsiteX3421" fmla="*/ 1753546 w 9043663"/>
              <a:gd name="connsiteY3421" fmla="*/ 1874072 h 3664183"/>
              <a:gd name="connsiteX3422" fmla="*/ 1746379 w 9043663"/>
              <a:gd name="connsiteY3422" fmla="*/ 1876145 h 3664183"/>
              <a:gd name="connsiteX3423" fmla="*/ 1739212 w 9043663"/>
              <a:gd name="connsiteY3423" fmla="*/ 1873035 h 3664183"/>
              <a:gd name="connsiteX3424" fmla="*/ 1726072 w 9043663"/>
              <a:gd name="connsiteY3424" fmla="*/ 1849195 h 3664183"/>
              <a:gd name="connsiteX3425" fmla="*/ 1726072 w 9043663"/>
              <a:gd name="connsiteY3425" fmla="*/ 1849195 h 3664183"/>
              <a:gd name="connsiteX3426" fmla="*/ 1722489 w 9043663"/>
              <a:gd name="connsiteY3426" fmla="*/ 1835720 h 3664183"/>
              <a:gd name="connsiteX3427" fmla="*/ 1748768 w 9043663"/>
              <a:gd name="connsiteY3427" fmla="*/ 1752796 h 3664183"/>
              <a:gd name="connsiteX3428" fmla="*/ 1745185 w 9043663"/>
              <a:gd name="connsiteY3428" fmla="*/ 1731029 h 3664183"/>
              <a:gd name="connsiteX3429" fmla="*/ 1749963 w 9043663"/>
              <a:gd name="connsiteY3429" fmla="*/ 1729992 h 3664183"/>
              <a:gd name="connsiteX3430" fmla="*/ 1700988 w 9043663"/>
              <a:gd name="connsiteY3430" fmla="*/ 1706152 h 3664183"/>
              <a:gd name="connsiteX3431" fmla="*/ 1612594 w 9043663"/>
              <a:gd name="connsiteY3431" fmla="*/ 1710298 h 3664183"/>
              <a:gd name="connsiteX3432" fmla="*/ 1613788 w 9043663"/>
              <a:gd name="connsiteY3432" fmla="*/ 1709261 h 3664183"/>
              <a:gd name="connsiteX3433" fmla="*/ 1592287 w 9043663"/>
              <a:gd name="connsiteY3433" fmla="*/ 1703042 h 3664183"/>
              <a:gd name="connsiteX3434" fmla="*/ 1582731 w 9043663"/>
              <a:gd name="connsiteY3434" fmla="*/ 1696823 h 3664183"/>
              <a:gd name="connsiteX3435" fmla="*/ 1593481 w 9043663"/>
              <a:gd name="connsiteY3435" fmla="*/ 1655361 h 3664183"/>
              <a:gd name="connsiteX3436" fmla="*/ 1617372 w 9043663"/>
              <a:gd name="connsiteY3436" fmla="*/ 1640849 h 3664183"/>
              <a:gd name="connsiteX3437" fmla="*/ 1629317 w 9043663"/>
              <a:gd name="connsiteY3437" fmla="*/ 1658471 h 3664183"/>
              <a:gd name="connsiteX3438" fmla="*/ 1641262 w 9043663"/>
              <a:gd name="connsiteY3438" fmla="*/ 1638776 h 3664183"/>
              <a:gd name="connsiteX3439" fmla="*/ 1681875 w 9043663"/>
              <a:gd name="connsiteY3439" fmla="*/ 1555853 h 3664183"/>
              <a:gd name="connsiteX3440" fmla="*/ 1648429 w 9043663"/>
              <a:gd name="connsiteY3440" fmla="*/ 1549634 h 3664183"/>
              <a:gd name="connsiteX3441" fmla="*/ 1585120 w 9043663"/>
              <a:gd name="connsiteY3441" fmla="*/ 1559999 h 3664183"/>
              <a:gd name="connsiteX3442" fmla="*/ 1574369 w 9043663"/>
              <a:gd name="connsiteY3442" fmla="*/ 1563108 h 3664183"/>
              <a:gd name="connsiteX3443" fmla="*/ 1552868 w 9043663"/>
              <a:gd name="connsiteY3443" fmla="*/ 1614936 h 3664183"/>
              <a:gd name="connsiteX3444" fmla="*/ 1531367 w 9043663"/>
              <a:gd name="connsiteY3444" fmla="*/ 1626338 h 3664183"/>
              <a:gd name="connsiteX3445" fmla="*/ 1533756 w 9043663"/>
              <a:gd name="connsiteY3445" fmla="*/ 1633594 h 3664183"/>
              <a:gd name="connsiteX3446" fmla="*/ 1520616 w 9043663"/>
              <a:gd name="connsiteY3446" fmla="*/ 1635667 h 3664183"/>
              <a:gd name="connsiteX3447" fmla="*/ 1505087 w 9043663"/>
              <a:gd name="connsiteY3447" fmla="*/ 1627374 h 3664183"/>
              <a:gd name="connsiteX3448" fmla="*/ 1442973 w 9043663"/>
              <a:gd name="connsiteY3448" fmla="*/ 1642922 h 3664183"/>
              <a:gd name="connsiteX3449" fmla="*/ 1403554 w 9043663"/>
              <a:gd name="connsiteY3449" fmla="*/ 1615972 h 3664183"/>
              <a:gd name="connsiteX3450" fmla="*/ 1367718 w 9043663"/>
              <a:gd name="connsiteY3450" fmla="*/ 1528903 h 3664183"/>
              <a:gd name="connsiteX3451" fmla="*/ 1382052 w 9043663"/>
              <a:gd name="connsiteY3451" fmla="*/ 1476039 h 3664183"/>
              <a:gd name="connsiteX3452" fmla="*/ 1409526 w 9043663"/>
              <a:gd name="connsiteY3452" fmla="*/ 1436650 h 3664183"/>
              <a:gd name="connsiteX3453" fmla="*/ 1411915 w 9043663"/>
              <a:gd name="connsiteY3453" fmla="*/ 1437687 h 3664183"/>
              <a:gd name="connsiteX3454" fmla="*/ 1413110 w 9043663"/>
              <a:gd name="connsiteY3454" fmla="*/ 1431468 h 3664183"/>
              <a:gd name="connsiteX3455" fmla="*/ 1414304 w 9043663"/>
              <a:gd name="connsiteY3455" fmla="*/ 1430431 h 3664183"/>
              <a:gd name="connsiteX3456" fmla="*/ 1413110 w 9043663"/>
              <a:gd name="connsiteY3456" fmla="*/ 1430431 h 3664183"/>
              <a:gd name="connsiteX3457" fmla="*/ 1421471 w 9043663"/>
              <a:gd name="connsiteY3457" fmla="*/ 1386896 h 3664183"/>
              <a:gd name="connsiteX3458" fmla="*/ 1506282 w 9043663"/>
              <a:gd name="connsiteY3458" fmla="*/ 1342325 h 3664183"/>
              <a:gd name="connsiteX3459" fmla="*/ 1506282 w 9043663"/>
              <a:gd name="connsiteY3459" fmla="*/ 1342325 h 3664183"/>
              <a:gd name="connsiteX3460" fmla="*/ 1536145 w 9043663"/>
              <a:gd name="connsiteY3460" fmla="*/ 1334032 h 3664183"/>
              <a:gd name="connsiteX3461" fmla="*/ 1577953 w 9043663"/>
              <a:gd name="connsiteY3461" fmla="*/ 1339215 h 3664183"/>
              <a:gd name="connsiteX3462" fmla="*/ 1591092 w 9043663"/>
              <a:gd name="connsiteY3462" fmla="*/ 1332996 h 3664183"/>
              <a:gd name="connsiteX3463" fmla="*/ 1599454 w 9043663"/>
              <a:gd name="connsiteY3463" fmla="*/ 1350617 h 3664183"/>
              <a:gd name="connsiteX3464" fmla="*/ 1642456 w 9043663"/>
              <a:gd name="connsiteY3464" fmla="*/ 1345434 h 3664183"/>
              <a:gd name="connsiteX3465" fmla="*/ 1656791 w 9043663"/>
              <a:gd name="connsiteY3465" fmla="*/ 1350617 h 3664183"/>
              <a:gd name="connsiteX3466" fmla="*/ 1671125 w 9043663"/>
              <a:gd name="connsiteY3466" fmla="*/ 1350617 h 3664183"/>
              <a:gd name="connsiteX3467" fmla="*/ 1655596 w 9043663"/>
              <a:gd name="connsiteY3467" fmla="*/ 1337142 h 3664183"/>
              <a:gd name="connsiteX3468" fmla="*/ 1668736 w 9043663"/>
              <a:gd name="connsiteY3468" fmla="*/ 1319521 h 3664183"/>
              <a:gd name="connsiteX3469" fmla="*/ 1641262 w 9043663"/>
              <a:gd name="connsiteY3469" fmla="*/ 1319521 h 3664183"/>
              <a:gd name="connsiteX3470" fmla="*/ 1646040 w 9043663"/>
              <a:gd name="connsiteY3470" fmla="*/ 1312265 h 3664183"/>
              <a:gd name="connsiteX3471" fmla="*/ 1656791 w 9043663"/>
              <a:gd name="connsiteY3471" fmla="*/ 1316411 h 3664183"/>
              <a:gd name="connsiteX3472" fmla="*/ 1702182 w 9043663"/>
              <a:gd name="connsiteY3472" fmla="*/ 1309155 h 3664183"/>
              <a:gd name="connsiteX3473" fmla="*/ 1702182 w 9043663"/>
              <a:gd name="connsiteY3473" fmla="*/ 1316411 h 3664183"/>
              <a:gd name="connsiteX3474" fmla="*/ 1748768 w 9043663"/>
              <a:gd name="connsiteY3474" fmla="*/ 1311228 h 3664183"/>
              <a:gd name="connsiteX3475" fmla="*/ 1767880 w 9043663"/>
              <a:gd name="connsiteY3475" fmla="*/ 1322630 h 3664183"/>
              <a:gd name="connsiteX3476" fmla="*/ 1767880 w 9043663"/>
              <a:gd name="connsiteY3476" fmla="*/ 1335069 h 3664183"/>
              <a:gd name="connsiteX3477" fmla="*/ 1812077 w 9043663"/>
              <a:gd name="connsiteY3477" fmla="*/ 1324703 h 3664183"/>
              <a:gd name="connsiteX3478" fmla="*/ 1837162 w 9043663"/>
              <a:gd name="connsiteY3478" fmla="*/ 1348544 h 3664183"/>
              <a:gd name="connsiteX3479" fmla="*/ 1828801 w 9043663"/>
              <a:gd name="connsiteY3479" fmla="*/ 1402444 h 3664183"/>
              <a:gd name="connsiteX3480" fmla="*/ 1859858 w 9043663"/>
              <a:gd name="connsiteY3480" fmla="*/ 1462564 h 3664183"/>
              <a:gd name="connsiteX3481" fmla="*/ 1868220 w 9043663"/>
              <a:gd name="connsiteY3481" fmla="*/ 1458418 h 3664183"/>
              <a:gd name="connsiteX3482" fmla="*/ 1896888 w 9043663"/>
              <a:gd name="connsiteY3482" fmla="*/ 1436650 h 3664183"/>
              <a:gd name="connsiteX3483" fmla="*/ 1902861 w 9043663"/>
              <a:gd name="connsiteY3483" fmla="*/ 1406591 h 3664183"/>
              <a:gd name="connsiteX3484" fmla="*/ 1896888 w 9043663"/>
              <a:gd name="connsiteY3484" fmla="*/ 1293607 h 3664183"/>
              <a:gd name="connsiteX3485" fmla="*/ 1931529 w 9043663"/>
              <a:gd name="connsiteY3485" fmla="*/ 1258365 h 3664183"/>
              <a:gd name="connsiteX3486" fmla="*/ 2086816 w 9043663"/>
              <a:gd name="connsiteY3486" fmla="*/ 1175441 h 3664183"/>
              <a:gd name="connsiteX3487" fmla="*/ 2096372 w 9043663"/>
              <a:gd name="connsiteY3487" fmla="*/ 1161966 h 3664183"/>
              <a:gd name="connsiteX3488" fmla="*/ 2105928 w 9043663"/>
              <a:gd name="connsiteY3488" fmla="*/ 1168185 h 3664183"/>
              <a:gd name="connsiteX3489" fmla="*/ 2104733 w 9043663"/>
              <a:gd name="connsiteY3489" fmla="*/ 1169222 h 3664183"/>
              <a:gd name="connsiteX3490" fmla="*/ 2104733 w 9043663"/>
              <a:gd name="connsiteY3490" fmla="*/ 1169222 h 3664183"/>
              <a:gd name="connsiteX3491" fmla="*/ 2083232 w 9043663"/>
              <a:gd name="connsiteY3491" fmla="*/ 1181660 h 3664183"/>
              <a:gd name="connsiteX3492" fmla="*/ 2083232 w 9043663"/>
              <a:gd name="connsiteY3492" fmla="*/ 1181660 h 3664183"/>
              <a:gd name="connsiteX3493" fmla="*/ 2080843 w 9043663"/>
              <a:gd name="connsiteY3493" fmla="*/ 1182697 h 3664183"/>
              <a:gd name="connsiteX3494" fmla="*/ 2084427 w 9043663"/>
              <a:gd name="connsiteY3494" fmla="*/ 1186843 h 3664183"/>
              <a:gd name="connsiteX3495" fmla="*/ 2086816 w 9043663"/>
              <a:gd name="connsiteY3495" fmla="*/ 1185806 h 3664183"/>
              <a:gd name="connsiteX3496" fmla="*/ 2086816 w 9043663"/>
              <a:gd name="connsiteY3496" fmla="*/ 1185806 h 3664183"/>
              <a:gd name="connsiteX3497" fmla="*/ 2108317 w 9043663"/>
              <a:gd name="connsiteY3497" fmla="*/ 1173368 h 3664183"/>
              <a:gd name="connsiteX3498" fmla="*/ 2108317 w 9043663"/>
              <a:gd name="connsiteY3498" fmla="*/ 1173368 h 3664183"/>
              <a:gd name="connsiteX3499" fmla="*/ 2110706 w 9043663"/>
              <a:gd name="connsiteY3499" fmla="*/ 1172332 h 3664183"/>
              <a:gd name="connsiteX3500" fmla="*/ 2108317 w 9043663"/>
              <a:gd name="connsiteY3500" fmla="*/ 1169222 h 3664183"/>
              <a:gd name="connsiteX3501" fmla="*/ 2098761 w 9043663"/>
              <a:gd name="connsiteY3501" fmla="*/ 1139162 h 3664183"/>
              <a:gd name="connsiteX3502" fmla="*/ 2148930 w 9043663"/>
              <a:gd name="connsiteY3502" fmla="*/ 1092517 h 3664183"/>
              <a:gd name="connsiteX3503" fmla="*/ 2147736 w 9043663"/>
              <a:gd name="connsiteY3503" fmla="*/ 1080079 h 3664183"/>
              <a:gd name="connsiteX3504" fmla="*/ 2168043 w 9043663"/>
              <a:gd name="connsiteY3504" fmla="*/ 1067641 h 3664183"/>
              <a:gd name="connsiteX3505" fmla="*/ 2199100 w 9043663"/>
              <a:gd name="connsiteY3505" fmla="*/ 1031361 h 3664183"/>
              <a:gd name="connsiteX3506" fmla="*/ 2200294 w 9043663"/>
              <a:gd name="connsiteY3506" fmla="*/ 1034471 h 3664183"/>
              <a:gd name="connsiteX3507" fmla="*/ 2265993 w 9043663"/>
              <a:gd name="connsiteY3507" fmla="*/ 1016850 h 3664183"/>
              <a:gd name="connsiteX3508" fmla="*/ 2263604 w 9043663"/>
              <a:gd name="connsiteY3508" fmla="*/ 1014777 h 3664183"/>
              <a:gd name="connsiteX3509" fmla="*/ 2273160 w 9043663"/>
              <a:gd name="connsiteY3509" fmla="*/ 1012704 h 3664183"/>
              <a:gd name="connsiteX3510" fmla="*/ 2279132 w 9043663"/>
              <a:gd name="connsiteY3510" fmla="*/ 1005448 h 3664183"/>
              <a:gd name="connsiteX3511" fmla="*/ 2281521 w 9043663"/>
              <a:gd name="connsiteY3511" fmla="*/ 1010631 h 3664183"/>
              <a:gd name="connsiteX3512" fmla="*/ 2314968 w 9043663"/>
              <a:gd name="connsiteY3512" fmla="*/ 1004411 h 3664183"/>
              <a:gd name="connsiteX3513" fmla="*/ 2326913 w 9043663"/>
              <a:gd name="connsiteY3513" fmla="*/ 989900 h 3664183"/>
              <a:gd name="connsiteX3514" fmla="*/ 2303023 w 9043663"/>
              <a:gd name="connsiteY3514" fmla="*/ 997155 h 3664183"/>
              <a:gd name="connsiteX3515" fmla="*/ 2298245 w 9043663"/>
              <a:gd name="connsiteY3515" fmla="*/ 987827 h 3664183"/>
              <a:gd name="connsiteX3516" fmla="*/ 2335275 w 9043663"/>
              <a:gd name="connsiteY3516" fmla="*/ 950511 h 3664183"/>
              <a:gd name="connsiteX3517" fmla="*/ 2379472 w 9043663"/>
              <a:gd name="connsiteY3517" fmla="*/ 929780 h 3664183"/>
              <a:gd name="connsiteX3518" fmla="*/ 2415307 w 9043663"/>
              <a:gd name="connsiteY3518" fmla="*/ 926670 h 3664183"/>
              <a:gd name="connsiteX3519" fmla="*/ 2435614 w 9043663"/>
              <a:gd name="connsiteY3519" fmla="*/ 909049 h 3664183"/>
              <a:gd name="connsiteX3520" fmla="*/ 2446364 w 9043663"/>
              <a:gd name="connsiteY3520" fmla="*/ 909049 h 3664183"/>
              <a:gd name="connsiteX3521" fmla="*/ 2445170 w 9043663"/>
              <a:gd name="connsiteY3521" fmla="*/ 908013 h 3664183"/>
              <a:gd name="connsiteX3522" fmla="*/ 2497728 w 9043663"/>
              <a:gd name="connsiteY3522" fmla="*/ 897647 h 3664183"/>
              <a:gd name="connsiteX3523" fmla="*/ 2491756 w 9043663"/>
              <a:gd name="connsiteY3523" fmla="*/ 908013 h 3664183"/>
              <a:gd name="connsiteX3524" fmla="*/ 2496534 w 9043663"/>
              <a:gd name="connsiteY3524" fmla="*/ 906976 h 3664183"/>
              <a:gd name="connsiteX3525" fmla="*/ 2445170 w 9043663"/>
              <a:gd name="connsiteY3525" fmla="*/ 933926 h 3664183"/>
              <a:gd name="connsiteX3526" fmla="*/ 2457115 w 9043663"/>
              <a:gd name="connsiteY3526" fmla="*/ 956730 h 3664183"/>
              <a:gd name="connsiteX3527" fmla="*/ 2507284 w 9043663"/>
              <a:gd name="connsiteY3527" fmla="*/ 926670 h 3664183"/>
              <a:gd name="connsiteX3528" fmla="*/ 2593290 w 9043663"/>
              <a:gd name="connsiteY3528" fmla="*/ 909049 h 3664183"/>
              <a:gd name="connsiteX3529" fmla="*/ 2639876 w 9043663"/>
              <a:gd name="connsiteY3529" fmla="*/ 886245 h 3664183"/>
              <a:gd name="connsiteX3530" fmla="*/ 2625541 w 9043663"/>
              <a:gd name="connsiteY3530" fmla="*/ 876916 h 3664183"/>
              <a:gd name="connsiteX3531" fmla="*/ 2629125 w 9043663"/>
              <a:gd name="connsiteY3531" fmla="*/ 848930 h 3664183"/>
              <a:gd name="connsiteX3532" fmla="*/ 2590900 w 9043663"/>
              <a:gd name="connsiteY3532" fmla="*/ 888318 h 3664183"/>
              <a:gd name="connsiteX3533" fmla="*/ 2567010 w 9043663"/>
              <a:gd name="connsiteY3533" fmla="*/ 888318 h 3664183"/>
              <a:gd name="connsiteX3534" fmla="*/ 2590900 w 9043663"/>
              <a:gd name="connsiteY3534" fmla="*/ 869660 h 3664183"/>
              <a:gd name="connsiteX3535" fmla="*/ 2547898 w 9043663"/>
              <a:gd name="connsiteY3535" fmla="*/ 869660 h 3664183"/>
              <a:gd name="connsiteX3536" fmla="*/ 2538342 w 9043663"/>
              <a:gd name="connsiteY3536" fmla="*/ 867587 h 3664183"/>
              <a:gd name="connsiteX3537" fmla="*/ 2538342 w 9043663"/>
              <a:gd name="connsiteY3537" fmla="*/ 859295 h 3664183"/>
              <a:gd name="connsiteX3538" fmla="*/ 2540731 w 9043663"/>
              <a:gd name="connsiteY3538" fmla="*/ 852039 h 3664183"/>
              <a:gd name="connsiteX3539" fmla="*/ 2518035 w 9043663"/>
              <a:gd name="connsiteY3539" fmla="*/ 866551 h 3664183"/>
              <a:gd name="connsiteX3540" fmla="*/ 2556260 w 9043663"/>
              <a:gd name="connsiteY3540" fmla="*/ 887282 h 3664183"/>
              <a:gd name="connsiteX3541" fmla="*/ 2544314 w 9043663"/>
              <a:gd name="connsiteY3541" fmla="*/ 887282 h 3664183"/>
              <a:gd name="connsiteX3542" fmla="*/ 2513257 w 9043663"/>
              <a:gd name="connsiteY3542" fmla="*/ 874843 h 3664183"/>
              <a:gd name="connsiteX3543" fmla="*/ 2513257 w 9043663"/>
              <a:gd name="connsiteY3543" fmla="*/ 861368 h 3664183"/>
              <a:gd name="connsiteX3544" fmla="*/ 2531175 w 9043663"/>
              <a:gd name="connsiteY3544" fmla="*/ 834418 h 3664183"/>
              <a:gd name="connsiteX3545" fmla="*/ 2506090 w 9043663"/>
              <a:gd name="connsiteY3545" fmla="*/ 837528 h 3664183"/>
              <a:gd name="connsiteX3546" fmla="*/ 2496534 w 9043663"/>
              <a:gd name="connsiteY3546" fmla="*/ 829235 h 3664183"/>
              <a:gd name="connsiteX3547" fmla="*/ 2556260 w 9043663"/>
              <a:gd name="connsiteY3547" fmla="*/ 818870 h 3664183"/>
              <a:gd name="connsiteX3548" fmla="*/ 2556260 w 9043663"/>
              <a:gd name="connsiteY3548" fmla="*/ 807468 h 3664183"/>
              <a:gd name="connsiteX3549" fmla="*/ 2535953 w 9043663"/>
              <a:gd name="connsiteY3549" fmla="*/ 792956 h 3664183"/>
              <a:gd name="connsiteX3550" fmla="*/ 2435614 w 9043663"/>
              <a:gd name="connsiteY3550" fmla="*/ 813687 h 3664183"/>
              <a:gd name="connsiteX3551" fmla="*/ 2393806 w 9043663"/>
              <a:gd name="connsiteY3551" fmla="*/ 835455 h 3664183"/>
              <a:gd name="connsiteX3552" fmla="*/ 2423668 w 9043663"/>
              <a:gd name="connsiteY3552" fmla="*/ 816797 h 3664183"/>
              <a:gd name="connsiteX3553" fmla="*/ 2464282 w 9043663"/>
              <a:gd name="connsiteY3553" fmla="*/ 796066 h 3664183"/>
              <a:gd name="connsiteX3554" fmla="*/ 2482200 w 9043663"/>
              <a:gd name="connsiteY3554" fmla="*/ 796066 h 3664183"/>
              <a:gd name="connsiteX3555" fmla="*/ 2506090 w 9043663"/>
              <a:gd name="connsiteY3555" fmla="*/ 775335 h 3664183"/>
              <a:gd name="connsiteX3556" fmla="*/ 2578955 w 9043663"/>
              <a:gd name="connsiteY3556" fmla="*/ 770152 h 3664183"/>
              <a:gd name="connsiteX3557" fmla="*/ 2681684 w 9043663"/>
              <a:gd name="connsiteY3557" fmla="*/ 775335 h 3664183"/>
              <a:gd name="connsiteX3558" fmla="*/ 2729464 w 9043663"/>
              <a:gd name="connsiteY3558" fmla="*/ 749421 h 3664183"/>
              <a:gd name="connsiteX3559" fmla="*/ 2817858 w 9043663"/>
              <a:gd name="connsiteY3559" fmla="*/ 723508 h 3664183"/>
              <a:gd name="connsiteX3560" fmla="*/ 2827414 w 9043663"/>
              <a:gd name="connsiteY3560" fmla="*/ 695521 h 3664183"/>
              <a:gd name="connsiteX3561" fmla="*/ 2816664 w 9043663"/>
              <a:gd name="connsiteY3561" fmla="*/ 674790 h 3664183"/>
              <a:gd name="connsiteX3562" fmla="*/ 2801135 w 9043663"/>
              <a:gd name="connsiteY3562" fmla="*/ 674790 h 3664183"/>
              <a:gd name="connsiteX3563" fmla="*/ 2803524 w 9043663"/>
              <a:gd name="connsiteY3563" fmla="*/ 667534 h 3664183"/>
              <a:gd name="connsiteX3564" fmla="*/ 2787995 w 9043663"/>
              <a:gd name="connsiteY3564" fmla="*/ 666498 h 3664183"/>
              <a:gd name="connsiteX3565" fmla="*/ 2814275 w 9043663"/>
              <a:gd name="connsiteY3565" fmla="*/ 659242 h 3664183"/>
              <a:gd name="connsiteX3566" fmla="*/ 2770077 w 9043663"/>
              <a:gd name="connsiteY3566" fmla="*/ 649913 h 3664183"/>
              <a:gd name="connsiteX3567" fmla="*/ 2770077 w 9043663"/>
              <a:gd name="connsiteY3567" fmla="*/ 641621 h 3664183"/>
              <a:gd name="connsiteX3568" fmla="*/ 2746187 w 9043663"/>
              <a:gd name="connsiteY3568" fmla="*/ 636438 h 3664183"/>
              <a:gd name="connsiteX3569" fmla="*/ 2746187 w 9043663"/>
              <a:gd name="connsiteY3569" fmla="*/ 629182 h 3664183"/>
              <a:gd name="connsiteX3570" fmla="*/ 2727075 w 9043663"/>
              <a:gd name="connsiteY3570" fmla="*/ 612598 h 3664183"/>
              <a:gd name="connsiteX3571" fmla="*/ 2749771 w 9043663"/>
              <a:gd name="connsiteY3571" fmla="*/ 594976 h 3664183"/>
              <a:gd name="connsiteX3572" fmla="*/ 2718714 w 9043663"/>
              <a:gd name="connsiteY3572" fmla="*/ 504797 h 3664183"/>
              <a:gd name="connsiteX3573" fmla="*/ 2684073 w 9043663"/>
              <a:gd name="connsiteY3573" fmla="*/ 522418 h 3664183"/>
              <a:gd name="connsiteX3574" fmla="*/ 2684073 w 9043663"/>
              <a:gd name="connsiteY3574" fmla="*/ 528638 h 3664183"/>
              <a:gd name="connsiteX3575" fmla="*/ 2673322 w 9043663"/>
              <a:gd name="connsiteY3575" fmla="*/ 540040 h 3664183"/>
              <a:gd name="connsiteX3576" fmla="*/ 2607624 w 9043663"/>
              <a:gd name="connsiteY3576" fmla="*/ 562844 h 3664183"/>
              <a:gd name="connsiteX3577" fmla="*/ 2588511 w 9043663"/>
              <a:gd name="connsiteY3577" fmla="*/ 537966 h 3664183"/>
              <a:gd name="connsiteX3578" fmla="*/ 2619569 w 9043663"/>
              <a:gd name="connsiteY3578" fmla="*/ 494432 h 3664183"/>
              <a:gd name="connsiteX3579" fmla="*/ 2578955 w 9043663"/>
              <a:gd name="connsiteY3579" fmla="*/ 485103 h 3664183"/>
              <a:gd name="connsiteX3580" fmla="*/ 2588511 w 9043663"/>
              <a:gd name="connsiteY3580" fmla="*/ 480956 h 3664183"/>
              <a:gd name="connsiteX3581" fmla="*/ 2551482 w 9043663"/>
              <a:gd name="connsiteY3581" fmla="*/ 454006 h 3664183"/>
              <a:gd name="connsiteX3582" fmla="*/ 2464282 w 9043663"/>
              <a:gd name="connsiteY3582" fmla="*/ 454006 h 3664183"/>
              <a:gd name="connsiteX3583" fmla="*/ 2441586 w 9043663"/>
              <a:gd name="connsiteY3583" fmla="*/ 459189 h 3664183"/>
              <a:gd name="connsiteX3584" fmla="*/ 2434419 w 9043663"/>
              <a:gd name="connsiteY3584" fmla="*/ 468518 h 3664183"/>
              <a:gd name="connsiteX3585" fmla="*/ 2440392 w 9043663"/>
              <a:gd name="connsiteY3585" fmla="*/ 477847 h 3664183"/>
              <a:gd name="connsiteX3586" fmla="*/ 2409334 w 9043663"/>
              <a:gd name="connsiteY3586" fmla="*/ 499614 h 3664183"/>
              <a:gd name="connsiteX3587" fmla="*/ 2420085 w 9043663"/>
              <a:gd name="connsiteY3587" fmla="*/ 505834 h 3664183"/>
              <a:gd name="connsiteX3588" fmla="*/ 2409334 w 9043663"/>
              <a:gd name="connsiteY3588" fmla="*/ 526564 h 3664183"/>
              <a:gd name="connsiteX3589" fmla="*/ 2357970 w 9043663"/>
              <a:gd name="connsiteY3589" fmla="*/ 548332 h 3664183"/>
              <a:gd name="connsiteX3590" fmla="*/ 2374694 w 9043663"/>
              <a:gd name="connsiteY3590" fmla="*/ 559734 h 3664183"/>
              <a:gd name="connsiteX3591" fmla="*/ 2354387 w 9043663"/>
              <a:gd name="connsiteY3591" fmla="*/ 616744 h 3664183"/>
              <a:gd name="connsiteX3592" fmla="*/ 2258826 w 9043663"/>
              <a:gd name="connsiteY3592" fmla="*/ 650950 h 3664183"/>
              <a:gd name="connsiteX3593" fmla="*/ 2243297 w 9043663"/>
              <a:gd name="connsiteY3593" fmla="*/ 716252 h 3664183"/>
              <a:gd name="connsiteX3594" fmla="*/ 2195516 w 9043663"/>
              <a:gd name="connsiteY3594" fmla="*/ 736983 h 3664183"/>
              <a:gd name="connsiteX3595" fmla="*/ 2194322 w 9043663"/>
              <a:gd name="connsiteY3595" fmla="*/ 744239 h 3664183"/>
              <a:gd name="connsiteX3596" fmla="*/ 2163265 w 9043663"/>
              <a:gd name="connsiteY3596" fmla="*/ 699667 h 3664183"/>
              <a:gd name="connsiteX3597" fmla="*/ 2163265 w 9043663"/>
              <a:gd name="connsiteY3597" fmla="*/ 699667 h 3664183"/>
              <a:gd name="connsiteX3598" fmla="*/ 2201489 w 9043663"/>
              <a:gd name="connsiteY3598" fmla="*/ 714179 h 3664183"/>
              <a:gd name="connsiteX3599" fmla="*/ 2201489 w 9043663"/>
              <a:gd name="connsiteY3599" fmla="*/ 691375 h 3664183"/>
              <a:gd name="connsiteX3600" fmla="*/ 2164459 w 9043663"/>
              <a:gd name="connsiteY3600" fmla="*/ 698631 h 3664183"/>
              <a:gd name="connsiteX3601" fmla="*/ 2212240 w 9043663"/>
              <a:gd name="connsiteY3601" fmla="*/ 646803 h 3664183"/>
              <a:gd name="connsiteX3602" fmla="*/ 2139374 w 9043663"/>
              <a:gd name="connsiteY3602" fmla="*/ 635402 h 3664183"/>
              <a:gd name="connsiteX3603" fmla="*/ 2037841 w 9043663"/>
              <a:gd name="connsiteY3603" fmla="*/ 585647 h 3664183"/>
              <a:gd name="connsiteX3604" fmla="*/ 2003200 w 9043663"/>
              <a:gd name="connsiteY3604" fmla="*/ 592903 h 3664183"/>
              <a:gd name="connsiteX3605" fmla="*/ 2023506 w 9043663"/>
              <a:gd name="connsiteY3605" fmla="*/ 547295 h 3664183"/>
              <a:gd name="connsiteX3606" fmla="*/ 1992449 w 9043663"/>
              <a:gd name="connsiteY3606" fmla="*/ 547295 h 3664183"/>
              <a:gd name="connsiteX3607" fmla="*/ 1992449 w 9043663"/>
              <a:gd name="connsiteY3607" fmla="*/ 543149 h 3664183"/>
              <a:gd name="connsiteX3608" fmla="*/ 2050980 w 9043663"/>
              <a:gd name="connsiteY3608" fmla="*/ 492358 h 3664183"/>
              <a:gd name="connsiteX3609" fmla="*/ 2116678 w 9043663"/>
              <a:gd name="connsiteY3609" fmla="*/ 468518 h 3664183"/>
              <a:gd name="connsiteX3610" fmla="*/ 2125040 w 9043663"/>
              <a:gd name="connsiteY3610" fmla="*/ 456079 h 3664183"/>
              <a:gd name="connsiteX3611" fmla="*/ 2175210 w 9043663"/>
              <a:gd name="connsiteY3611" fmla="*/ 448824 h 3664183"/>
              <a:gd name="connsiteX3612" fmla="*/ 2217018 w 9043663"/>
              <a:gd name="connsiteY3612" fmla="*/ 417727 h 3664183"/>
              <a:gd name="connsiteX3613" fmla="*/ 2245686 w 9043663"/>
              <a:gd name="connsiteY3613" fmla="*/ 417727 h 3664183"/>
              <a:gd name="connsiteX3614" fmla="*/ 2304217 w 9043663"/>
              <a:gd name="connsiteY3614" fmla="*/ 396996 h 3664183"/>
              <a:gd name="connsiteX3615" fmla="*/ 2319746 w 9043663"/>
              <a:gd name="connsiteY3615" fmla="*/ 387667 h 3664183"/>
              <a:gd name="connsiteX3616" fmla="*/ 2298245 w 9043663"/>
              <a:gd name="connsiteY3616" fmla="*/ 413581 h 3664183"/>
              <a:gd name="connsiteX3617" fmla="*/ 2255242 w 9043663"/>
              <a:gd name="connsiteY3617" fmla="*/ 429129 h 3664183"/>
              <a:gd name="connsiteX3618" fmla="*/ 2293467 w 9043663"/>
              <a:gd name="connsiteY3618" fmla="*/ 429129 h 3664183"/>
              <a:gd name="connsiteX3619" fmla="*/ 2276743 w 9043663"/>
              <a:gd name="connsiteY3619" fmla="*/ 443641 h 3664183"/>
              <a:gd name="connsiteX3620" fmla="*/ 2354387 w 9043663"/>
              <a:gd name="connsiteY3620" fmla="*/ 418764 h 3664183"/>
              <a:gd name="connsiteX3621" fmla="*/ 2371110 w 9043663"/>
              <a:gd name="connsiteY3621" fmla="*/ 418764 h 3664183"/>
              <a:gd name="connsiteX3622" fmla="*/ 2398584 w 9043663"/>
              <a:gd name="connsiteY3622" fmla="*/ 437422 h 3664183"/>
              <a:gd name="connsiteX3623" fmla="*/ 2430836 w 9043663"/>
              <a:gd name="connsiteY3623" fmla="*/ 421873 h 3664183"/>
              <a:gd name="connsiteX3624" fmla="*/ 2369915 w 9043663"/>
              <a:gd name="connsiteY3624" fmla="*/ 379375 h 3664183"/>
              <a:gd name="connsiteX3625" fmla="*/ 2378277 w 9043663"/>
              <a:gd name="connsiteY3625" fmla="*/ 361754 h 3664183"/>
              <a:gd name="connsiteX3626" fmla="*/ 2332886 w 9043663"/>
              <a:gd name="connsiteY3626" fmla="*/ 381448 h 3664183"/>
              <a:gd name="connsiteX3627" fmla="*/ 2355581 w 9043663"/>
              <a:gd name="connsiteY3627" fmla="*/ 367973 h 3664183"/>
              <a:gd name="connsiteX3628" fmla="*/ 2348414 w 9043663"/>
              <a:gd name="connsiteY3628" fmla="*/ 361754 h 3664183"/>
              <a:gd name="connsiteX3629" fmla="*/ 2374694 w 9043663"/>
              <a:gd name="connsiteY3629" fmla="*/ 359681 h 3664183"/>
              <a:gd name="connsiteX3630" fmla="*/ 2402167 w 9043663"/>
              <a:gd name="connsiteY3630" fmla="*/ 370046 h 3664183"/>
              <a:gd name="connsiteX3631" fmla="*/ 2475033 w 9043663"/>
              <a:gd name="connsiteY3631" fmla="*/ 351388 h 3664183"/>
              <a:gd name="connsiteX3632" fmla="*/ 2497728 w 9043663"/>
              <a:gd name="connsiteY3632" fmla="*/ 331694 h 3664183"/>
              <a:gd name="connsiteX3633" fmla="*/ 2472644 w 9043663"/>
              <a:gd name="connsiteY3633" fmla="*/ 326511 h 3664183"/>
              <a:gd name="connsiteX3634" fmla="*/ 2529980 w 9043663"/>
              <a:gd name="connsiteY3634" fmla="*/ 292305 h 3664183"/>
              <a:gd name="connsiteX3635" fmla="*/ 2501312 w 9043663"/>
              <a:gd name="connsiteY3635" fmla="*/ 289196 h 3664183"/>
              <a:gd name="connsiteX3636" fmla="*/ 2504895 w 9043663"/>
              <a:gd name="connsiteY3636" fmla="*/ 280904 h 3664183"/>
              <a:gd name="connsiteX3637" fmla="*/ 2448753 w 9043663"/>
              <a:gd name="connsiteY3637" fmla="*/ 277794 h 3664183"/>
              <a:gd name="connsiteX3638" fmla="*/ 2409334 w 9043663"/>
              <a:gd name="connsiteY3638" fmla="*/ 319256 h 3664183"/>
              <a:gd name="connsiteX3639" fmla="*/ 2353192 w 9043663"/>
              <a:gd name="connsiteY3639" fmla="*/ 338950 h 3664183"/>
              <a:gd name="connsiteX3640" fmla="*/ 2350803 w 9043663"/>
              <a:gd name="connsiteY3640" fmla="*/ 327548 h 3664183"/>
              <a:gd name="connsiteX3641" fmla="*/ 2374694 w 9043663"/>
              <a:gd name="connsiteY3641" fmla="*/ 303707 h 3664183"/>
              <a:gd name="connsiteX3642" fmla="*/ 2362748 w 9043663"/>
              <a:gd name="connsiteY3642" fmla="*/ 287123 h 3664183"/>
              <a:gd name="connsiteX3643" fmla="*/ 2326913 w 9043663"/>
              <a:gd name="connsiteY3643" fmla="*/ 304744 h 3664183"/>
              <a:gd name="connsiteX3644" fmla="*/ 2318551 w 9043663"/>
              <a:gd name="connsiteY3644" fmla="*/ 286086 h 3664183"/>
              <a:gd name="connsiteX3645" fmla="*/ 2308995 w 9043663"/>
              <a:gd name="connsiteY3645" fmla="*/ 280904 h 3664183"/>
              <a:gd name="connsiteX3646" fmla="*/ 2337664 w 9043663"/>
              <a:gd name="connsiteY3646" fmla="*/ 273648 h 3664183"/>
              <a:gd name="connsiteX3647" fmla="*/ 2325718 w 9043663"/>
              <a:gd name="connsiteY3647" fmla="*/ 234259 h 3664183"/>
              <a:gd name="connsiteX3648" fmla="*/ 2349609 w 9043663"/>
              <a:gd name="connsiteY3648" fmla="*/ 227003 h 3664183"/>
              <a:gd name="connsiteX3649" fmla="*/ 2349609 w 9043663"/>
              <a:gd name="connsiteY3649" fmla="*/ 219747 h 3664183"/>
              <a:gd name="connsiteX3650" fmla="*/ 2391417 w 9043663"/>
              <a:gd name="connsiteY3650" fmla="*/ 217674 h 3664183"/>
              <a:gd name="connsiteX3651" fmla="*/ 2467866 w 9043663"/>
              <a:gd name="connsiteY3651" fmla="*/ 187615 h 3664183"/>
              <a:gd name="connsiteX3652" fmla="*/ 2403362 w 9043663"/>
              <a:gd name="connsiteY3652" fmla="*/ 181395 h 3664183"/>
              <a:gd name="connsiteX3653" fmla="*/ 2403362 w 9043663"/>
              <a:gd name="connsiteY3653" fmla="*/ 181395 h 3664183"/>
              <a:gd name="connsiteX3654" fmla="*/ 2338858 w 9043663"/>
              <a:gd name="connsiteY3654" fmla="*/ 191761 h 3664183"/>
              <a:gd name="connsiteX3655" fmla="*/ 2299439 w 9043663"/>
              <a:gd name="connsiteY3655" fmla="*/ 233222 h 3664183"/>
              <a:gd name="connsiteX3656" fmla="*/ 2222990 w 9043663"/>
              <a:gd name="connsiteY3656" fmla="*/ 262246 h 3664183"/>
              <a:gd name="connsiteX3657" fmla="*/ 2233741 w 9043663"/>
              <a:gd name="connsiteY3657" fmla="*/ 280904 h 3664183"/>
              <a:gd name="connsiteX3658" fmla="*/ 2252853 w 9043663"/>
              <a:gd name="connsiteY3658" fmla="*/ 289196 h 3664183"/>
              <a:gd name="connsiteX3659" fmla="*/ 2233741 w 9043663"/>
              <a:gd name="connsiteY3659" fmla="*/ 295415 h 3664183"/>
              <a:gd name="connsiteX3660" fmla="*/ 2227768 w 9043663"/>
              <a:gd name="connsiteY3660" fmla="*/ 308890 h 3664183"/>
              <a:gd name="connsiteX3661" fmla="*/ 2170432 w 9043663"/>
              <a:gd name="connsiteY3661" fmla="*/ 330658 h 3664183"/>
              <a:gd name="connsiteX3662" fmla="*/ 2162070 w 9043663"/>
              <a:gd name="connsiteY3662" fmla="*/ 325475 h 3664183"/>
              <a:gd name="connsiteX3663" fmla="*/ 2171626 w 9043663"/>
              <a:gd name="connsiteY3663" fmla="*/ 315109 h 3664183"/>
              <a:gd name="connsiteX3664" fmla="*/ 2208656 w 9043663"/>
              <a:gd name="connsiteY3664" fmla="*/ 304744 h 3664183"/>
              <a:gd name="connsiteX3665" fmla="*/ 2208656 w 9043663"/>
              <a:gd name="connsiteY3665" fmla="*/ 288159 h 3664183"/>
              <a:gd name="connsiteX3666" fmla="*/ 2188349 w 9043663"/>
              <a:gd name="connsiteY3666" fmla="*/ 276757 h 3664183"/>
              <a:gd name="connsiteX3667" fmla="*/ 2120262 w 9043663"/>
              <a:gd name="connsiteY3667" fmla="*/ 297488 h 3664183"/>
              <a:gd name="connsiteX3668" fmla="*/ 2146541 w 9043663"/>
              <a:gd name="connsiteY3668" fmla="*/ 308890 h 3664183"/>
              <a:gd name="connsiteX3669" fmla="*/ 2113095 w 9043663"/>
              <a:gd name="connsiteY3669" fmla="*/ 329621 h 3664183"/>
              <a:gd name="connsiteX3670" fmla="*/ 2048591 w 9043663"/>
              <a:gd name="connsiteY3670" fmla="*/ 324438 h 3664183"/>
              <a:gd name="connsiteX3671" fmla="*/ 2005589 w 9043663"/>
              <a:gd name="connsiteY3671" fmla="*/ 314073 h 3664183"/>
              <a:gd name="connsiteX3672" fmla="*/ 1999616 w 9043663"/>
              <a:gd name="connsiteY3672" fmla="*/ 297488 h 3664183"/>
              <a:gd name="connsiteX3673" fmla="*/ 1893304 w 9043663"/>
              <a:gd name="connsiteY3673" fmla="*/ 315109 h 3664183"/>
              <a:gd name="connsiteX3674" fmla="*/ 1916000 w 9043663"/>
              <a:gd name="connsiteY3674" fmla="*/ 321329 h 3664183"/>
              <a:gd name="connsiteX3675" fmla="*/ 1904055 w 9043663"/>
              <a:gd name="connsiteY3675" fmla="*/ 327548 h 3664183"/>
              <a:gd name="connsiteX3676" fmla="*/ 1869414 w 9043663"/>
              <a:gd name="connsiteY3676" fmla="*/ 317183 h 3664183"/>
              <a:gd name="connsiteX3677" fmla="*/ 1800132 w 9043663"/>
              <a:gd name="connsiteY3677" fmla="*/ 327548 h 3664183"/>
              <a:gd name="connsiteX3678" fmla="*/ 1771464 w 9043663"/>
              <a:gd name="connsiteY3678" fmla="*/ 324438 h 3664183"/>
              <a:gd name="connsiteX3679" fmla="*/ 1796549 w 9043663"/>
              <a:gd name="connsiteY3679" fmla="*/ 317183 h 3664183"/>
              <a:gd name="connsiteX3680" fmla="*/ 1804910 w 9043663"/>
              <a:gd name="connsiteY3680" fmla="*/ 302671 h 3664183"/>
              <a:gd name="connsiteX3681" fmla="*/ 1727267 w 9043663"/>
              <a:gd name="connsiteY3681" fmla="*/ 289196 h 3664183"/>
              <a:gd name="connsiteX3682" fmla="*/ 1693821 w 9043663"/>
              <a:gd name="connsiteY3682" fmla="*/ 276757 h 3664183"/>
              <a:gd name="connsiteX3683" fmla="*/ 1659180 w 9043663"/>
              <a:gd name="connsiteY3683" fmla="*/ 276757 h 3664183"/>
              <a:gd name="connsiteX3684" fmla="*/ 1629317 w 9043663"/>
              <a:gd name="connsiteY3684" fmla="*/ 287123 h 3664183"/>
              <a:gd name="connsiteX3685" fmla="*/ 1624539 w 9043663"/>
              <a:gd name="connsiteY3685" fmla="*/ 287123 h 3664183"/>
              <a:gd name="connsiteX3686" fmla="*/ 1654402 w 9043663"/>
              <a:gd name="connsiteY3686" fmla="*/ 268465 h 3664183"/>
              <a:gd name="connsiteX3687" fmla="*/ 1592287 w 9043663"/>
              <a:gd name="connsiteY3687" fmla="*/ 286086 h 3664183"/>
              <a:gd name="connsiteX3688" fmla="*/ 1586314 w 9043663"/>
              <a:gd name="connsiteY3688" fmla="*/ 282977 h 3664183"/>
              <a:gd name="connsiteX3689" fmla="*/ 1594676 w 9043663"/>
              <a:gd name="connsiteY3689" fmla="*/ 270538 h 3664183"/>
              <a:gd name="connsiteX3690" fmla="*/ 1579147 w 9043663"/>
              <a:gd name="connsiteY3690" fmla="*/ 257063 h 3664183"/>
              <a:gd name="connsiteX3691" fmla="*/ 1528978 w 9043663"/>
              <a:gd name="connsiteY3691" fmla="*/ 273648 h 3664183"/>
              <a:gd name="connsiteX3692" fmla="*/ 1531367 w 9043663"/>
              <a:gd name="connsiteY3692" fmla="*/ 264319 h 3664183"/>
              <a:gd name="connsiteX3693" fmla="*/ 1422666 w 9043663"/>
              <a:gd name="connsiteY3693" fmla="*/ 286086 h 3664183"/>
              <a:gd name="connsiteX3694" fmla="*/ 1386831 w 9043663"/>
              <a:gd name="connsiteY3694" fmla="*/ 282977 h 3664183"/>
              <a:gd name="connsiteX3695" fmla="*/ 1345023 w 9043663"/>
              <a:gd name="connsiteY3695" fmla="*/ 298525 h 3664183"/>
              <a:gd name="connsiteX3696" fmla="*/ 1276935 w 9043663"/>
              <a:gd name="connsiteY3696" fmla="*/ 278830 h 3664183"/>
              <a:gd name="connsiteX3697" fmla="*/ 1279324 w 9043663"/>
              <a:gd name="connsiteY3697" fmla="*/ 276757 h 3664183"/>
              <a:gd name="connsiteX3698" fmla="*/ 1250656 w 9043663"/>
              <a:gd name="connsiteY3698" fmla="*/ 267428 h 3664183"/>
              <a:gd name="connsiteX3699" fmla="*/ 1083424 w 9043663"/>
              <a:gd name="connsiteY3699" fmla="*/ 257063 h 3664183"/>
              <a:gd name="connsiteX3700" fmla="*/ 1077451 w 9043663"/>
              <a:gd name="connsiteY3700" fmla="*/ 251880 h 3664183"/>
              <a:gd name="connsiteX3701" fmla="*/ 1042811 w 9043663"/>
              <a:gd name="connsiteY3701" fmla="*/ 251880 h 3664183"/>
              <a:gd name="connsiteX3702" fmla="*/ 1042811 w 9043663"/>
              <a:gd name="connsiteY3702" fmla="*/ 247734 h 3664183"/>
              <a:gd name="connsiteX3703" fmla="*/ 1016531 w 9043663"/>
              <a:gd name="connsiteY3703" fmla="*/ 241515 h 3664183"/>
              <a:gd name="connsiteX3704" fmla="*/ 866023 w 9043663"/>
              <a:gd name="connsiteY3704" fmla="*/ 262246 h 3664183"/>
              <a:gd name="connsiteX3705" fmla="*/ 768072 w 9043663"/>
              <a:gd name="connsiteY3705" fmla="*/ 290232 h 3664183"/>
              <a:gd name="connsiteX3706" fmla="*/ 705958 w 9043663"/>
              <a:gd name="connsiteY3706" fmla="*/ 295415 h 3664183"/>
              <a:gd name="connsiteX3707" fmla="*/ 677289 w 9043663"/>
              <a:gd name="connsiteY3707" fmla="*/ 309927 h 3664183"/>
              <a:gd name="connsiteX3708" fmla="*/ 692818 w 9043663"/>
              <a:gd name="connsiteY3708" fmla="*/ 326511 h 3664183"/>
              <a:gd name="connsiteX3709" fmla="*/ 686845 w 9043663"/>
              <a:gd name="connsiteY3709" fmla="*/ 335840 h 3664183"/>
              <a:gd name="connsiteX3710" fmla="*/ 691624 w 9043663"/>
              <a:gd name="connsiteY3710" fmla="*/ 349315 h 3664183"/>
              <a:gd name="connsiteX3711" fmla="*/ 653399 w 9043663"/>
              <a:gd name="connsiteY3711" fmla="*/ 355535 h 3664183"/>
              <a:gd name="connsiteX3712" fmla="*/ 667733 w 9043663"/>
              <a:gd name="connsiteY3712" fmla="*/ 348279 h 3664183"/>
              <a:gd name="connsiteX3713" fmla="*/ 634287 w 9043663"/>
              <a:gd name="connsiteY3713" fmla="*/ 348279 h 3664183"/>
              <a:gd name="connsiteX3714" fmla="*/ 516030 w 9043663"/>
              <a:gd name="connsiteY3714" fmla="*/ 374193 h 3664183"/>
              <a:gd name="connsiteX3715" fmla="*/ 541115 w 9043663"/>
              <a:gd name="connsiteY3715" fmla="*/ 380412 h 3664183"/>
              <a:gd name="connsiteX3716" fmla="*/ 517224 w 9043663"/>
              <a:gd name="connsiteY3716" fmla="*/ 392850 h 3664183"/>
              <a:gd name="connsiteX3717" fmla="*/ 544698 w 9043663"/>
              <a:gd name="connsiteY3717" fmla="*/ 400106 h 3664183"/>
              <a:gd name="connsiteX3718" fmla="*/ 592479 w 9043663"/>
              <a:gd name="connsiteY3718" fmla="*/ 403216 h 3664183"/>
              <a:gd name="connsiteX3719" fmla="*/ 633092 w 9043663"/>
              <a:gd name="connsiteY3719" fmla="*/ 395960 h 3664183"/>
              <a:gd name="connsiteX3720" fmla="*/ 591284 w 9043663"/>
              <a:gd name="connsiteY3720" fmla="*/ 421873 h 3664183"/>
              <a:gd name="connsiteX3721" fmla="*/ 490945 w 9043663"/>
              <a:gd name="connsiteY3721" fmla="*/ 432239 h 3664183"/>
              <a:gd name="connsiteX3722" fmla="*/ 398968 w 9043663"/>
              <a:gd name="connsiteY3722" fmla="*/ 469555 h 3664183"/>
              <a:gd name="connsiteX3723" fmla="*/ 383439 w 9043663"/>
              <a:gd name="connsiteY3723" fmla="*/ 504797 h 3664183"/>
              <a:gd name="connsiteX3724" fmla="*/ 310574 w 9043663"/>
              <a:gd name="connsiteY3724" fmla="*/ 504797 h 3664183"/>
              <a:gd name="connsiteX3725" fmla="*/ 316546 w 9043663"/>
              <a:gd name="connsiteY3725" fmla="*/ 507907 h 3664183"/>
              <a:gd name="connsiteX3726" fmla="*/ 308185 w 9043663"/>
              <a:gd name="connsiteY3726" fmla="*/ 507907 h 3664183"/>
              <a:gd name="connsiteX3727" fmla="*/ 335658 w 9043663"/>
              <a:gd name="connsiteY3727" fmla="*/ 517235 h 3664183"/>
              <a:gd name="connsiteX3728" fmla="*/ 336853 w 9043663"/>
              <a:gd name="connsiteY3728" fmla="*/ 517235 h 3664183"/>
              <a:gd name="connsiteX3729" fmla="*/ 336853 w 9043663"/>
              <a:gd name="connsiteY3729" fmla="*/ 517235 h 3664183"/>
              <a:gd name="connsiteX3730" fmla="*/ 336853 w 9043663"/>
              <a:gd name="connsiteY3730" fmla="*/ 517235 h 3664183"/>
              <a:gd name="connsiteX3731" fmla="*/ 373883 w 9043663"/>
              <a:gd name="connsiteY3731" fmla="*/ 508943 h 3664183"/>
              <a:gd name="connsiteX3732" fmla="*/ 373883 w 9043663"/>
              <a:gd name="connsiteY3732" fmla="*/ 508943 h 3664183"/>
              <a:gd name="connsiteX3733" fmla="*/ 387022 w 9043663"/>
              <a:gd name="connsiteY3733" fmla="*/ 505834 h 3664183"/>
              <a:gd name="connsiteX3734" fmla="*/ 381050 w 9043663"/>
              <a:gd name="connsiteY3734" fmla="*/ 520345 h 3664183"/>
              <a:gd name="connsiteX3735" fmla="*/ 432414 w 9043663"/>
              <a:gd name="connsiteY3735" fmla="*/ 511016 h 3664183"/>
              <a:gd name="connsiteX3736" fmla="*/ 392995 w 9043663"/>
              <a:gd name="connsiteY3736" fmla="*/ 543149 h 3664183"/>
              <a:gd name="connsiteX3737" fmla="*/ 451526 w 9043663"/>
              <a:gd name="connsiteY3737" fmla="*/ 540040 h 3664183"/>
              <a:gd name="connsiteX3738" fmla="*/ 447943 w 9043663"/>
              <a:gd name="connsiteY3738" fmla="*/ 550405 h 3664183"/>
              <a:gd name="connsiteX3739" fmla="*/ 489751 w 9043663"/>
              <a:gd name="connsiteY3739" fmla="*/ 544186 h 3664183"/>
              <a:gd name="connsiteX3740" fmla="*/ 450332 w 9043663"/>
              <a:gd name="connsiteY3740" fmla="*/ 568026 h 3664183"/>
              <a:gd name="connsiteX3741" fmla="*/ 163648 w 9043663"/>
              <a:gd name="connsiteY3741" fmla="*/ 650950 h 3664183"/>
              <a:gd name="connsiteX3742" fmla="*/ 164843 w 9043663"/>
              <a:gd name="connsiteY3742" fmla="*/ 656132 h 3664183"/>
              <a:gd name="connsiteX3743" fmla="*/ 371494 w 9043663"/>
              <a:gd name="connsiteY3743" fmla="*/ 611561 h 3664183"/>
              <a:gd name="connsiteX3744" fmla="*/ 455110 w 9043663"/>
              <a:gd name="connsiteY3744" fmla="*/ 587721 h 3664183"/>
              <a:gd name="connsiteX3745" fmla="*/ 578145 w 9043663"/>
              <a:gd name="connsiteY3745" fmla="*/ 548332 h 3664183"/>
              <a:gd name="connsiteX3746" fmla="*/ 612786 w 9043663"/>
              <a:gd name="connsiteY3746" fmla="*/ 534857 h 3664183"/>
              <a:gd name="connsiteX3747" fmla="*/ 598451 w 9043663"/>
              <a:gd name="connsiteY3747" fmla="*/ 531747 h 3664183"/>
              <a:gd name="connsiteX3748" fmla="*/ 613980 w 9043663"/>
              <a:gd name="connsiteY3748" fmla="*/ 522418 h 3664183"/>
              <a:gd name="connsiteX3749" fmla="*/ 713125 w 9043663"/>
              <a:gd name="connsiteY3749" fmla="*/ 490285 h 3664183"/>
              <a:gd name="connsiteX3750" fmla="*/ 628314 w 9043663"/>
              <a:gd name="connsiteY3750" fmla="*/ 532784 h 3664183"/>
              <a:gd name="connsiteX3751" fmla="*/ 747766 w 9043663"/>
              <a:gd name="connsiteY3751" fmla="*/ 511016 h 3664183"/>
              <a:gd name="connsiteX3752" fmla="*/ 795546 w 9043663"/>
              <a:gd name="connsiteY3752" fmla="*/ 485103 h 3664183"/>
              <a:gd name="connsiteX3753" fmla="*/ 826604 w 9043663"/>
              <a:gd name="connsiteY3753" fmla="*/ 487176 h 3664183"/>
              <a:gd name="connsiteX3754" fmla="*/ 856466 w 9043663"/>
              <a:gd name="connsiteY3754" fmla="*/ 511016 h 3664183"/>
              <a:gd name="connsiteX3755" fmla="*/ 937693 w 9043663"/>
              <a:gd name="connsiteY3755" fmla="*/ 516199 h 3664183"/>
              <a:gd name="connsiteX3756" fmla="*/ 937693 w 9043663"/>
              <a:gd name="connsiteY3756" fmla="*/ 516199 h 3664183"/>
              <a:gd name="connsiteX3757" fmla="*/ 944860 w 9043663"/>
              <a:gd name="connsiteY3757" fmla="*/ 514126 h 3664183"/>
              <a:gd name="connsiteX3758" fmla="*/ 938888 w 9043663"/>
              <a:gd name="connsiteY3758" fmla="*/ 518272 h 3664183"/>
              <a:gd name="connsiteX3759" fmla="*/ 972334 w 9043663"/>
              <a:gd name="connsiteY3759" fmla="*/ 552478 h 3664183"/>
              <a:gd name="connsiteX3760" fmla="*/ 947249 w 9043663"/>
              <a:gd name="connsiteY3760" fmla="*/ 614671 h 3664183"/>
              <a:gd name="connsiteX3761" fmla="*/ 995030 w 9043663"/>
              <a:gd name="connsiteY3761" fmla="*/ 571136 h 3664183"/>
              <a:gd name="connsiteX3762" fmla="*/ 981890 w 9043663"/>
              <a:gd name="connsiteY3762" fmla="*/ 585647 h 3664183"/>
              <a:gd name="connsiteX3763" fmla="*/ 979501 w 9043663"/>
              <a:gd name="connsiteY3763" fmla="*/ 586684 h 3664183"/>
              <a:gd name="connsiteX3764" fmla="*/ 966362 w 9043663"/>
              <a:gd name="connsiteY3764" fmla="*/ 605342 h 3664183"/>
              <a:gd name="connsiteX3765" fmla="*/ 980696 w 9043663"/>
              <a:gd name="connsiteY3765" fmla="*/ 603269 h 3664183"/>
              <a:gd name="connsiteX3766" fmla="*/ 966362 w 9043663"/>
              <a:gd name="connsiteY3766" fmla="*/ 621927 h 3664183"/>
              <a:gd name="connsiteX3767" fmla="*/ 973529 w 9043663"/>
              <a:gd name="connsiteY3767" fmla="*/ 645767 h 3664183"/>
              <a:gd name="connsiteX3768" fmla="*/ 995030 w 9043663"/>
              <a:gd name="connsiteY3768" fmla="*/ 627109 h 3664183"/>
              <a:gd name="connsiteX3769" fmla="*/ 1003392 w 9043663"/>
              <a:gd name="connsiteY3769" fmla="*/ 605342 h 3664183"/>
              <a:gd name="connsiteX3770" fmla="*/ 1010559 w 9043663"/>
              <a:gd name="connsiteY3770" fmla="*/ 607415 h 3664183"/>
              <a:gd name="connsiteX3771" fmla="*/ 1005781 w 9043663"/>
              <a:gd name="connsiteY3771" fmla="*/ 610524 h 3664183"/>
              <a:gd name="connsiteX3772" fmla="*/ 998614 w 9043663"/>
              <a:gd name="connsiteY3772" fmla="*/ 636438 h 3664183"/>
              <a:gd name="connsiteX3773" fmla="*/ 1006975 w 9043663"/>
              <a:gd name="connsiteY3773" fmla="*/ 643694 h 3664183"/>
              <a:gd name="connsiteX3774" fmla="*/ 1027282 w 9043663"/>
              <a:gd name="connsiteY3774" fmla="*/ 638511 h 3664183"/>
              <a:gd name="connsiteX3775" fmla="*/ 984279 w 9043663"/>
              <a:gd name="connsiteY3775" fmla="*/ 665461 h 3664183"/>
              <a:gd name="connsiteX3776" fmla="*/ 984279 w 9043663"/>
              <a:gd name="connsiteY3776" fmla="*/ 701740 h 3664183"/>
              <a:gd name="connsiteX3777" fmla="*/ 996225 w 9043663"/>
              <a:gd name="connsiteY3777" fmla="*/ 708996 h 3664183"/>
              <a:gd name="connsiteX3778" fmla="*/ 984279 w 9043663"/>
              <a:gd name="connsiteY3778" fmla="*/ 740092 h 3664183"/>
              <a:gd name="connsiteX3779" fmla="*/ 998614 w 9043663"/>
              <a:gd name="connsiteY3779" fmla="*/ 747348 h 3664183"/>
              <a:gd name="connsiteX3780" fmla="*/ 975918 w 9043663"/>
              <a:gd name="connsiteY3780" fmla="*/ 738019 h 3664183"/>
              <a:gd name="connsiteX3781" fmla="*/ 961584 w 9043663"/>
              <a:gd name="connsiteY3781" fmla="*/ 744239 h 3664183"/>
              <a:gd name="connsiteX3782" fmla="*/ 961584 w 9043663"/>
              <a:gd name="connsiteY3782" fmla="*/ 762897 h 3664183"/>
              <a:gd name="connsiteX3783" fmla="*/ 979501 w 9043663"/>
              <a:gd name="connsiteY3783" fmla="*/ 773262 h 3664183"/>
              <a:gd name="connsiteX3784" fmla="*/ 975918 w 9043663"/>
              <a:gd name="connsiteY3784" fmla="*/ 783627 h 3664183"/>
              <a:gd name="connsiteX3785" fmla="*/ 999808 w 9043663"/>
              <a:gd name="connsiteY3785" fmla="*/ 793993 h 3664183"/>
              <a:gd name="connsiteX3786" fmla="*/ 997419 w 9043663"/>
              <a:gd name="connsiteY3786" fmla="*/ 799176 h 3664183"/>
              <a:gd name="connsiteX3787" fmla="*/ 1010559 w 9043663"/>
              <a:gd name="connsiteY3787" fmla="*/ 809541 h 3664183"/>
              <a:gd name="connsiteX3788" fmla="*/ 999808 w 9043663"/>
              <a:gd name="connsiteY3788" fmla="*/ 806431 h 3664183"/>
              <a:gd name="connsiteX3789" fmla="*/ 989057 w 9043663"/>
              <a:gd name="connsiteY3789" fmla="*/ 817833 h 3664183"/>
              <a:gd name="connsiteX3790" fmla="*/ 967556 w 9043663"/>
              <a:gd name="connsiteY3790" fmla="*/ 869660 h 3664183"/>
              <a:gd name="connsiteX3791" fmla="*/ 881551 w 9043663"/>
              <a:gd name="connsiteY3791" fmla="*/ 957767 h 3664183"/>
              <a:gd name="connsiteX3792" fmla="*/ 869606 w 9043663"/>
              <a:gd name="connsiteY3792" fmla="*/ 997155 h 3664183"/>
              <a:gd name="connsiteX3793" fmla="*/ 832576 w 9043663"/>
              <a:gd name="connsiteY3793" fmla="*/ 1029288 h 3664183"/>
              <a:gd name="connsiteX3794" fmla="*/ 842132 w 9043663"/>
              <a:gd name="connsiteY3794" fmla="*/ 1047946 h 3664183"/>
              <a:gd name="connsiteX3795" fmla="*/ 832576 w 9043663"/>
              <a:gd name="connsiteY3795" fmla="*/ 1071787 h 3664183"/>
              <a:gd name="connsiteX3796" fmla="*/ 840938 w 9043663"/>
              <a:gd name="connsiteY3796" fmla="*/ 1084225 h 3664183"/>
              <a:gd name="connsiteX3797" fmla="*/ 828993 w 9043663"/>
              <a:gd name="connsiteY3797" fmla="*/ 1097700 h 3664183"/>
              <a:gd name="connsiteX3798" fmla="*/ 850494 w 9043663"/>
              <a:gd name="connsiteY3798" fmla="*/ 1094591 h 3664183"/>
              <a:gd name="connsiteX3799" fmla="*/ 834965 w 9043663"/>
              <a:gd name="connsiteY3799" fmla="*/ 1114285 h 3664183"/>
              <a:gd name="connsiteX3800" fmla="*/ 839743 w 9043663"/>
              <a:gd name="connsiteY3800" fmla="*/ 1122577 h 3664183"/>
              <a:gd name="connsiteX3801" fmla="*/ 844521 w 9043663"/>
              <a:gd name="connsiteY3801" fmla="*/ 1122577 h 3664183"/>
              <a:gd name="connsiteX3802" fmla="*/ 831382 w 9043663"/>
              <a:gd name="connsiteY3802" fmla="*/ 1138126 h 3664183"/>
              <a:gd name="connsiteX3803" fmla="*/ 852883 w 9043663"/>
              <a:gd name="connsiteY3803" fmla="*/ 1172332 h 3664183"/>
              <a:gd name="connsiteX3804" fmla="*/ 843327 w 9043663"/>
              <a:gd name="connsiteY3804" fmla="*/ 1189953 h 3664183"/>
              <a:gd name="connsiteX3805" fmla="*/ 895885 w 9043663"/>
              <a:gd name="connsiteY3805" fmla="*/ 1203428 h 3664183"/>
              <a:gd name="connsiteX3806" fmla="*/ 895885 w 9043663"/>
              <a:gd name="connsiteY3806" fmla="*/ 1210684 h 3664183"/>
              <a:gd name="connsiteX3807" fmla="*/ 913803 w 9043663"/>
              <a:gd name="connsiteY3807" fmla="*/ 1223122 h 3664183"/>
              <a:gd name="connsiteX3808" fmla="*/ 913803 w 9043663"/>
              <a:gd name="connsiteY3808" fmla="*/ 1240743 h 3664183"/>
              <a:gd name="connsiteX3809" fmla="*/ 913803 w 9043663"/>
              <a:gd name="connsiteY3809" fmla="*/ 1240743 h 3664183"/>
              <a:gd name="connsiteX3810" fmla="*/ 913803 w 9043663"/>
              <a:gd name="connsiteY3810" fmla="*/ 1242816 h 3664183"/>
              <a:gd name="connsiteX3811" fmla="*/ 913803 w 9043663"/>
              <a:gd name="connsiteY3811" fmla="*/ 1251109 h 3664183"/>
              <a:gd name="connsiteX3812" fmla="*/ 913803 w 9043663"/>
              <a:gd name="connsiteY3812" fmla="*/ 1251109 h 3664183"/>
              <a:gd name="connsiteX3813" fmla="*/ 916192 w 9043663"/>
              <a:gd name="connsiteY3813" fmla="*/ 1321594 h 3664183"/>
              <a:gd name="connsiteX3814" fmla="*/ 948444 w 9043663"/>
              <a:gd name="connsiteY3814" fmla="*/ 1354763 h 3664183"/>
              <a:gd name="connsiteX3815" fmla="*/ 935304 w 9043663"/>
              <a:gd name="connsiteY3815" fmla="*/ 1372384 h 3664183"/>
              <a:gd name="connsiteX3816" fmla="*/ 912609 w 9043663"/>
              <a:gd name="connsiteY3816" fmla="*/ 1369275 h 3664183"/>
              <a:gd name="connsiteX3817" fmla="*/ 931721 w 9043663"/>
              <a:gd name="connsiteY3817" fmla="*/ 1392079 h 3664183"/>
              <a:gd name="connsiteX3818" fmla="*/ 975918 w 9043663"/>
              <a:gd name="connsiteY3818" fmla="*/ 1417992 h 3664183"/>
              <a:gd name="connsiteX3819" fmla="*/ 978307 w 9043663"/>
              <a:gd name="connsiteY3819" fmla="*/ 1429394 h 3664183"/>
              <a:gd name="connsiteX3820" fmla="*/ 966362 w 9043663"/>
              <a:gd name="connsiteY3820" fmla="*/ 1456345 h 3664183"/>
              <a:gd name="connsiteX3821" fmla="*/ 1015337 w 9043663"/>
              <a:gd name="connsiteY3821" fmla="*/ 1493660 h 3664183"/>
              <a:gd name="connsiteX3822" fmla="*/ 1018920 w 9043663"/>
              <a:gd name="connsiteY3822" fmla="*/ 1515428 h 3664183"/>
              <a:gd name="connsiteX3823" fmla="*/ 1046394 w 9043663"/>
              <a:gd name="connsiteY3823" fmla="*/ 1498843 h 3664183"/>
              <a:gd name="connsiteX3824" fmla="*/ 1029671 w 9043663"/>
              <a:gd name="connsiteY3824" fmla="*/ 1469819 h 3664183"/>
              <a:gd name="connsiteX3825" fmla="*/ 1015337 w 9043663"/>
              <a:gd name="connsiteY3825" fmla="*/ 1469819 h 3664183"/>
              <a:gd name="connsiteX3826" fmla="*/ 1006975 w 9043663"/>
              <a:gd name="connsiteY3826" fmla="*/ 1407627 h 3664183"/>
              <a:gd name="connsiteX3827" fmla="*/ 956806 w 9043663"/>
              <a:gd name="connsiteY3827" fmla="*/ 1307082 h 3664183"/>
              <a:gd name="connsiteX3828" fmla="*/ 973529 w 9043663"/>
              <a:gd name="connsiteY3828" fmla="*/ 1266657 h 3664183"/>
              <a:gd name="connsiteX3829" fmla="*/ 993835 w 9043663"/>
              <a:gd name="connsiteY3829" fmla="*/ 1270803 h 3664183"/>
              <a:gd name="connsiteX3830" fmla="*/ 1006975 w 9043663"/>
              <a:gd name="connsiteY3830" fmla="*/ 1280132 h 3664183"/>
              <a:gd name="connsiteX3831" fmla="*/ 1006975 w 9043663"/>
              <a:gd name="connsiteY3831" fmla="*/ 1342325 h 3664183"/>
              <a:gd name="connsiteX3832" fmla="*/ 1028476 w 9043663"/>
              <a:gd name="connsiteY3832" fmla="*/ 1372384 h 3664183"/>
              <a:gd name="connsiteX3833" fmla="*/ 1039227 w 9043663"/>
              <a:gd name="connsiteY3833" fmla="*/ 1374458 h 3664183"/>
              <a:gd name="connsiteX3834" fmla="*/ 1039227 w 9043663"/>
              <a:gd name="connsiteY3834" fmla="*/ 1386896 h 3664183"/>
              <a:gd name="connsiteX3835" fmla="*/ 1067895 w 9043663"/>
              <a:gd name="connsiteY3835" fmla="*/ 1414883 h 3664183"/>
              <a:gd name="connsiteX3836" fmla="*/ 1055950 w 9043663"/>
              <a:gd name="connsiteY3836" fmla="*/ 1433540 h 3664183"/>
              <a:gd name="connsiteX3837" fmla="*/ 1084619 w 9043663"/>
              <a:gd name="connsiteY3837" fmla="*/ 1447016 h 3664183"/>
              <a:gd name="connsiteX3838" fmla="*/ 1140761 w 9043663"/>
              <a:gd name="connsiteY3838" fmla="*/ 1526829 h 3664183"/>
              <a:gd name="connsiteX3839" fmla="*/ 1146733 w 9043663"/>
              <a:gd name="connsiteY3839" fmla="*/ 1548597 h 3664183"/>
              <a:gd name="connsiteX3840" fmla="*/ 1128816 w 9043663"/>
              <a:gd name="connsiteY3840" fmla="*/ 1579693 h 3664183"/>
              <a:gd name="connsiteX3841" fmla="*/ 1134788 w 9043663"/>
              <a:gd name="connsiteY3841" fmla="*/ 1598351 h 3664183"/>
              <a:gd name="connsiteX3842" fmla="*/ 1177791 w 9043663"/>
              <a:gd name="connsiteY3842" fmla="*/ 1641886 h 3664183"/>
              <a:gd name="connsiteX3843" fmla="*/ 1219599 w 9043663"/>
              <a:gd name="connsiteY3843" fmla="*/ 1647069 h 3664183"/>
              <a:gd name="connsiteX3844" fmla="*/ 1245878 w 9043663"/>
              <a:gd name="connsiteY3844" fmla="*/ 1669873 h 3664183"/>
              <a:gd name="connsiteX3845" fmla="*/ 1328299 w 9043663"/>
              <a:gd name="connsiteY3845" fmla="*/ 1702006 h 3664183"/>
              <a:gd name="connsiteX3846" fmla="*/ 1377274 w 9043663"/>
              <a:gd name="connsiteY3846" fmla="*/ 1715481 h 3664183"/>
              <a:gd name="connsiteX3847" fmla="*/ 1416693 w 9043663"/>
              <a:gd name="connsiteY3847" fmla="*/ 1699932 h 3664183"/>
              <a:gd name="connsiteX3848" fmla="*/ 1435806 w 9043663"/>
              <a:gd name="connsiteY3848" fmla="*/ 1702006 h 3664183"/>
              <a:gd name="connsiteX3849" fmla="*/ 1490753 w 9043663"/>
              <a:gd name="connsiteY3849" fmla="*/ 1741394 h 3664183"/>
              <a:gd name="connsiteX3850" fmla="*/ 1494337 w 9043663"/>
              <a:gd name="connsiteY3850" fmla="*/ 1747614 h 3664183"/>
              <a:gd name="connsiteX3851" fmla="*/ 1546895 w 9043663"/>
              <a:gd name="connsiteY3851" fmla="*/ 1763162 h 3664183"/>
              <a:gd name="connsiteX3852" fmla="*/ 1546895 w 9043663"/>
              <a:gd name="connsiteY3852" fmla="*/ 1764198 h 3664183"/>
              <a:gd name="connsiteX3853" fmla="*/ 1554063 w 9043663"/>
              <a:gd name="connsiteY3853" fmla="*/ 1776637 h 3664183"/>
              <a:gd name="connsiteX3854" fmla="*/ 1611399 w 9043663"/>
              <a:gd name="connsiteY3854" fmla="*/ 1784929 h 3664183"/>
              <a:gd name="connsiteX3855" fmla="*/ 1617372 w 9043663"/>
              <a:gd name="connsiteY3855" fmla="*/ 1779746 h 3664183"/>
              <a:gd name="connsiteX3856" fmla="*/ 1620955 w 9043663"/>
              <a:gd name="connsiteY3856" fmla="*/ 1785965 h 3664183"/>
              <a:gd name="connsiteX3857" fmla="*/ 1622150 w 9043663"/>
              <a:gd name="connsiteY3857" fmla="*/ 1784929 h 3664183"/>
              <a:gd name="connsiteX3858" fmla="*/ 1624539 w 9043663"/>
              <a:gd name="connsiteY3858" fmla="*/ 1798404 h 3664183"/>
              <a:gd name="connsiteX3859" fmla="*/ 1665152 w 9043663"/>
              <a:gd name="connsiteY3859" fmla="*/ 1838829 h 3664183"/>
              <a:gd name="connsiteX3860" fmla="*/ 1666347 w 9043663"/>
              <a:gd name="connsiteY3860" fmla="*/ 1838829 h 3664183"/>
              <a:gd name="connsiteX3861" fmla="*/ 1663958 w 9043663"/>
              <a:gd name="connsiteY3861" fmla="*/ 1838829 h 3664183"/>
              <a:gd name="connsiteX3862" fmla="*/ 1660374 w 9043663"/>
              <a:gd name="connsiteY3862" fmla="*/ 1870962 h 3664183"/>
              <a:gd name="connsiteX3863" fmla="*/ 1678292 w 9043663"/>
              <a:gd name="connsiteY3863" fmla="*/ 1880291 h 3664183"/>
              <a:gd name="connsiteX3864" fmla="*/ 1690237 w 9043663"/>
              <a:gd name="connsiteY3864" fmla="*/ 1873035 h 3664183"/>
              <a:gd name="connsiteX3865" fmla="*/ 1716516 w 9043663"/>
              <a:gd name="connsiteY3865" fmla="*/ 1893766 h 3664183"/>
              <a:gd name="connsiteX3866" fmla="*/ 1712933 w 9043663"/>
              <a:gd name="connsiteY3866" fmla="*/ 1907241 h 3664183"/>
              <a:gd name="connsiteX3867" fmla="*/ 1736823 w 9043663"/>
              <a:gd name="connsiteY3867" fmla="*/ 1915533 h 3664183"/>
              <a:gd name="connsiteX3868" fmla="*/ 1736823 w 9043663"/>
              <a:gd name="connsiteY3868" fmla="*/ 1915533 h 3664183"/>
              <a:gd name="connsiteX3869" fmla="*/ 1739212 w 9043663"/>
              <a:gd name="connsiteY3869" fmla="*/ 1916570 h 3664183"/>
              <a:gd name="connsiteX3870" fmla="*/ 1742796 w 9043663"/>
              <a:gd name="connsiteY3870" fmla="*/ 1917607 h 3664183"/>
              <a:gd name="connsiteX3871" fmla="*/ 1742796 w 9043663"/>
              <a:gd name="connsiteY3871" fmla="*/ 1917607 h 3664183"/>
              <a:gd name="connsiteX3872" fmla="*/ 1790576 w 9043663"/>
              <a:gd name="connsiteY3872" fmla="*/ 1929009 h 3664183"/>
              <a:gd name="connsiteX3873" fmla="*/ 1790576 w 9043663"/>
              <a:gd name="connsiteY3873" fmla="*/ 1951813 h 3664183"/>
              <a:gd name="connsiteX3874" fmla="*/ 1827606 w 9043663"/>
              <a:gd name="connsiteY3874" fmla="*/ 1939374 h 3664183"/>
              <a:gd name="connsiteX3875" fmla="*/ 1812077 w 9043663"/>
              <a:gd name="connsiteY3875" fmla="*/ 1915533 h 3664183"/>
              <a:gd name="connsiteX3876" fmla="*/ 1835968 w 9043663"/>
              <a:gd name="connsiteY3876" fmla="*/ 1903095 h 3664183"/>
              <a:gd name="connsiteX3877" fmla="*/ 1843135 w 9043663"/>
              <a:gd name="connsiteY3877" fmla="*/ 1914497 h 3664183"/>
              <a:gd name="connsiteX3878" fmla="*/ 1843135 w 9043663"/>
              <a:gd name="connsiteY3878" fmla="*/ 1898949 h 3664183"/>
              <a:gd name="connsiteX3879" fmla="*/ 1874192 w 9043663"/>
              <a:gd name="connsiteY3879" fmla="*/ 1910351 h 3664183"/>
              <a:gd name="connsiteX3880" fmla="*/ 1865831 w 9043663"/>
              <a:gd name="connsiteY3880" fmla="*/ 1921753 h 3664183"/>
              <a:gd name="connsiteX3881" fmla="*/ 1880165 w 9043663"/>
              <a:gd name="connsiteY3881" fmla="*/ 1944557 h 3664183"/>
              <a:gd name="connsiteX3882" fmla="*/ 1883748 w 9043663"/>
              <a:gd name="connsiteY3882" fmla="*/ 1941447 h 3664183"/>
              <a:gd name="connsiteX3883" fmla="*/ 1895693 w 9043663"/>
              <a:gd name="connsiteY3883" fmla="*/ 1959068 h 3664183"/>
              <a:gd name="connsiteX3884" fmla="*/ 1889721 w 9043663"/>
              <a:gd name="connsiteY3884" fmla="*/ 2029553 h 3664183"/>
              <a:gd name="connsiteX3885" fmla="*/ 1898082 w 9043663"/>
              <a:gd name="connsiteY3885" fmla="*/ 2039919 h 3664183"/>
              <a:gd name="connsiteX3886" fmla="*/ 1884943 w 9043663"/>
              <a:gd name="connsiteY3886" fmla="*/ 2067906 h 3664183"/>
              <a:gd name="connsiteX3887" fmla="*/ 1863442 w 9043663"/>
              <a:gd name="connsiteY3887" fmla="*/ 2067906 h 3664183"/>
              <a:gd name="connsiteX3888" fmla="*/ 1857469 w 9043663"/>
              <a:gd name="connsiteY3888" fmla="*/ 2091746 h 3664183"/>
              <a:gd name="connsiteX3889" fmla="*/ 1844329 w 9043663"/>
              <a:gd name="connsiteY3889" fmla="*/ 2094856 h 3664183"/>
              <a:gd name="connsiteX3890" fmla="*/ 1847913 w 9043663"/>
              <a:gd name="connsiteY3890" fmla="*/ 2107294 h 3664183"/>
              <a:gd name="connsiteX3891" fmla="*/ 1809688 w 9043663"/>
              <a:gd name="connsiteY3891" fmla="*/ 2123879 h 3664183"/>
              <a:gd name="connsiteX3892" fmla="*/ 1806105 w 9043663"/>
              <a:gd name="connsiteY3892" fmla="*/ 2142537 h 3664183"/>
              <a:gd name="connsiteX3893" fmla="*/ 1790576 w 9043663"/>
              <a:gd name="connsiteY3893" fmla="*/ 2150829 h 3664183"/>
              <a:gd name="connsiteX3894" fmla="*/ 1790576 w 9043663"/>
              <a:gd name="connsiteY3894" fmla="*/ 2166377 h 3664183"/>
              <a:gd name="connsiteX3895" fmla="*/ 1781020 w 9043663"/>
              <a:gd name="connsiteY3895" fmla="*/ 2171560 h 3664183"/>
              <a:gd name="connsiteX3896" fmla="*/ 1784604 w 9043663"/>
              <a:gd name="connsiteY3896" fmla="*/ 2209912 h 3664183"/>
              <a:gd name="connsiteX3897" fmla="*/ 1808494 w 9043663"/>
              <a:gd name="connsiteY3897" fmla="*/ 2230643 h 3664183"/>
              <a:gd name="connsiteX3898" fmla="*/ 1798938 w 9043663"/>
              <a:gd name="connsiteY3898" fmla="*/ 2237899 h 3664183"/>
              <a:gd name="connsiteX3899" fmla="*/ 1798938 w 9043663"/>
              <a:gd name="connsiteY3899" fmla="*/ 2237899 h 3664183"/>
              <a:gd name="connsiteX3900" fmla="*/ 1798938 w 9043663"/>
              <a:gd name="connsiteY3900" fmla="*/ 2237899 h 3664183"/>
              <a:gd name="connsiteX3901" fmla="*/ 1775048 w 9043663"/>
              <a:gd name="connsiteY3901" fmla="*/ 2256557 h 3664183"/>
              <a:gd name="connsiteX3902" fmla="*/ 1786993 w 9043663"/>
              <a:gd name="connsiteY3902" fmla="*/ 2295945 h 3664183"/>
              <a:gd name="connsiteX3903" fmla="*/ 1779826 w 9043663"/>
              <a:gd name="connsiteY3903" fmla="*/ 2307347 h 3664183"/>
              <a:gd name="connsiteX3904" fmla="*/ 1816856 w 9043663"/>
              <a:gd name="connsiteY3904" fmla="*/ 2329115 h 3664183"/>
              <a:gd name="connsiteX3905" fmla="*/ 1858664 w 9043663"/>
              <a:gd name="connsiteY3905" fmla="*/ 2377832 h 3664183"/>
              <a:gd name="connsiteX3906" fmla="*/ 1956614 w 9043663"/>
              <a:gd name="connsiteY3906" fmla="*/ 2545753 h 3664183"/>
              <a:gd name="connsiteX3907" fmla="*/ 2119067 w 9043663"/>
              <a:gd name="connsiteY3907" fmla="*/ 2643188 h 3664183"/>
              <a:gd name="connsiteX3908" fmla="*/ 2146541 w 9043663"/>
              <a:gd name="connsiteY3908" fmla="*/ 2728184 h 3664183"/>
              <a:gd name="connsiteX3909" fmla="*/ 2140569 w 9043663"/>
              <a:gd name="connsiteY3909" fmla="*/ 2766536 h 3664183"/>
              <a:gd name="connsiteX3910" fmla="*/ 2156097 w 9043663"/>
              <a:gd name="connsiteY3910" fmla="*/ 2856716 h 3664183"/>
              <a:gd name="connsiteX3911" fmla="*/ 2146541 w 9043663"/>
              <a:gd name="connsiteY3911" fmla="*/ 2934457 h 3664183"/>
              <a:gd name="connsiteX3912" fmla="*/ 2146541 w 9043663"/>
              <a:gd name="connsiteY3912" fmla="*/ 2935493 h 3664183"/>
              <a:gd name="connsiteX3913" fmla="*/ 2158486 w 9043663"/>
              <a:gd name="connsiteY3913" fmla="*/ 2961407 h 3664183"/>
              <a:gd name="connsiteX3914" fmla="*/ 2152514 w 9043663"/>
              <a:gd name="connsiteY3914" fmla="*/ 2982138 h 3664183"/>
              <a:gd name="connsiteX3915" fmla="*/ 2176404 w 9043663"/>
              <a:gd name="connsiteY3915" fmla="*/ 3031892 h 3664183"/>
              <a:gd name="connsiteX3916" fmla="*/ 2176404 w 9043663"/>
              <a:gd name="connsiteY3916" fmla="*/ 3059878 h 3664183"/>
              <a:gd name="connsiteX3917" fmla="*/ 2170432 w 9043663"/>
              <a:gd name="connsiteY3917" fmla="*/ 3156277 h 3664183"/>
              <a:gd name="connsiteX3918" fmla="*/ 2157292 w 9043663"/>
              <a:gd name="connsiteY3918" fmla="*/ 3156277 h 3664183"/>
              <a:gd name="connsiteX3919" fmla="*/ 2160875 w 9043663"/>
              <a:gd name="connsiteY3919" fmla="*/ 3174935 h 3664183"/>
              <a:gd name="connsiteX3920" fmla="*/ 2190738 w 9043663"/>
              <a:gd name="connsiteY3920" fmla="*/ 3224689 h 3664183"/>
              <a:gd name="connsiteX3921" fmla="*/ 2190738 w 9043663"/>
              <a:gd name="connsiteY3921" fmla="*/ 3266151 h 3664183"/>
              <a:gd name="connsiteX3922" fmla="*/ 2209851 w 9043663"/>
              <a:gd name="connsiteY3922" fmla="*/ 3287918 h 3664183"/>
              <a:gd name="connsiteX3923" fmla="*/ 2226574 w 9043663"/>
              <a:gd name="connsiteY3923" fmla="*/ 3291028 h 3664183"/>
              <a:gd name="connsiteX3924" fmla="*/ 2226574 w 9043663"/>
              <a:gd name="connsiteY3924" fmla="*/ 3280662 h 3664183"/>
              <a:gd name="connsiteX3925" fmla="*/ 2236130 w 9043663"/>
              <a:gd name="connsiteY3925" fmla="*/ 3283772 h 3664183"/>
              <a:gd name="connsiteX3926" fmla="*/ 2254048 w 9043663"/>
              <a:gd name="connsiteY3926" fmla="*/ 3338709 h 3664183"/>
              <a:gd name="connsiteX3927" fmla="*/ 2258826 w 9043663"/>
              <a:gd name="connsiteY3927" fmla="*/ 3376024 h 3664183"/>
              <a:gd name="connsiteX3928" fmla="*/ 2254048 w 9043663"/>
              <a:gd name="connsiteY3928" fmla="*/ 3370842 h 3664183"/>
              <a:gd name="connsiteX3929" fmla="*/ 2244491 w 9043663"/>
              <a:gd name="connsiteY3929" fmla="*/ 3347001 h 3664183"/>
              <a:gd name="connsiteX3930" fmla="*/ 2228963 w 9043663"/>
              <a:gd name="connsiteY3930" fmla="*/ 3336636 h 3664183"/>
              <a:gd name="connsiteX3931" fmla="*/ 2220601 w 9043663"/>
              <a:gd name="connsiteY3931" fmla="*/ 3348038 h 3664183"/>
              <a:gd name="connsiteX3932" fmla="*/ 2234935 w 9043663"/>
              <a:gd name="connsiteY3932" fmla="*/ 3391573 h 3664183"/>
              <a:gd name="connsiteX3933" fmla="*/ 2224185 w 9043663"/>
              <a:gd name="connsiteY3933" fmla="*/ 3397792 h 3664183"/>
              <a:gd name="connsiteX3934" fmla="*/ 2233741 w 9043663"/>
              <a:gd name="connsiteY3934" fmla="*/ 3402974 h 3664183"/>
              <a:gd name="connsiteX3935" fmla="*/ 2219407 w 9043663"/>
              <a:gd name="connsiteY3935" fmla="*/ 3415413 h 3664183"/>
              <a:gd name="connsiteX3936" fmla="*/ 2228963 w 9043663"/>
              <a:gd name="connsiteY3936" fmla="*/ 3423705 h 3664183"/>
              <a:gd name="connsiteX3937" fmla="*/ 2238519 w 9043663"/>
              <a:gd name="connsiteY3937" fmla="*/ 3417486 h 3664183"/>
              <a:gd name="connsiteX3938" fmla="*/ 2267187 w 9043663"/>
              <a:gd name="connsiteY3938" fmla="*/ 3419559 h 3664183"/>
              <a:gd name="connsiteX3939" fmla="*/ 2269576 w 9043663"/>
              <a:gd name="connsiteY3939" fmla="*/ 3451692 h 3664183"/>
              <a:gd name="connsiteX3940" fmla="*/ 2255242 w 9043663"/>
              <a:gd name="connsiteY3940" fmla="*/ 3439253 h 3664183"/>
              <a:gd name="connsiteX3941" fmla="*/ 2245686 w 9043663"/>
              <a:gd name="connsiteY3941" fmla="*/ 3443400 h 3664183"/>
              <a:gd name="connsiteX3942" fmla="*/ 2245686 w 9043663"/>
              <a:gd name="connsiteY3942" fmla="*/ 3452729 h 3664183"/>
              <a:gd name="connsiteX3943" fmla="*/ 2267187 w 9043663"/>
              <a:gd name="connsiteY3943" fmla="*/ 3502483 h 3664183"/>
              <a:gd name="connsiteX3944" fmla="*/ 2281521 w 9043663"/>
              <a:gd name="connsiteY3944" fmla="*/ 3502483 h 3664183"/>
              <a:gd name="connsiteX3945" fmla="*/ 2288689 w 9043663"/>
              <a:gd name="connsiteY3945" fmla="*/ 3532542 h 3664183"/>
              <a:gd name="connsiteX3946" fmla="*/ 2294661 w 9043663"/>
              <a:gd name="connsiteY3946" fmla="*/ 3518031 h 3664183"/>
              <a:gd name="connsiteX3947" fmla="*/ 2298245 w 9043663"/>
              <a:gd name="connsiteY3947" fmla="*/ 3551200 h 3664183"/>
              <a:gd name="connsiteX3948" fmla="*/ 2322135 w 9043663"/>
              <a:gd name="connsiteY3948" fmla="*/ 3540835 h 3664183"/>
              <a:gd name="connsiteX3949" fmla="*/ 2322135 w 9043663"/>
              <a:gd name="connsiteY3949" fmla="*/ 3537725 h 3664183"/>
              <a:gd name="connsiteX3950" fmla="*/ 2328107 w 9043663"/>
              <a:gd name="connsiteY3950" fmla="*/ 3546018 h 3664183"/>
              <a:gd name="connsiteX3951" fmla="*/ 2328107 w 9043663"/>
              <a:gd name="connsiteY3951" fmla="*/ 3552237 h 3664183"/>
              <a:gd name="connsiteX3952" fmla="*/ 2308995 w 9043663"/>
              <a:gd name="connsiteY3952" fmla="*/ 3549127 h 3664183"/>
              <a:gd name="connsiteX3953" fmla="*/ 2317357 w 9043663"/>
              <a:gd name="connsiteY3953" fmla="*/ 3567785 h 3664183"/>
              <a:gd name="connsiteX3954" fmla="*/ 2338858 w 9043663"/>
              <a:gd name="connsiteY3954" fmla="*/ 3570895 h 3664183"/>
              <a:gd name="connsiteX3955" fmla="*/ 2341247 w 9043663"/>
              <a:gd name="connsiteY3955" fmla="*/ 3566748 h 3664183"/>
              <a:gd name="connsiteX3956" fmla="*/ 2403362 w 9043663"/>
              <a:gd name="connsiteY3956" fmla="*/ 3597845 h 3664183"/>
              <a:gd name="connsiteX3957" fmla="*/ 2375888 w 9043663"/>
              <a:gd name="connsiteY3957" fmla="*/ 3591625 h 3664183"/>
              <a:gd name="connsiteX3958" fmla="*/ 2375888 w 9043663"/>
              <a:gd name="connsiteY3958" fmla="*/ 3600954 h 3664183"/>
              <a:gd name="connsiteX3959" fmla="*/ 2392611 w 9043663"/>
              <a:gd name="connsiteY3959" fmla="*/ 3615466 h 3664183"/>
              <a:gd name="connsiteX3960" fmla="*/ 2410529 w 9043663"/>
              <a:gd name="connsiteY3960" fmla="*/ 3615466 h 3664183"/>
              <a:gd name="connsiteX3961" fmla="*/ 2463087 w 9043663"/>
              <a:gd name="connsiteY3961" fmla="*/ 3638270 h 3664183"/>
              <a:gd name="connsiteX3962" fmla="*/ 2490561 w 9043663"/>
              <a:gd name="connsiteY3962" fmla="*/ 3638270 h 3664183"/>
              <a:gd name="connsiteX3963" fmla="*/ 2501312 w 9043663"/>
              <a:gd name="connsiteY3963" fmla="*/ 3645526 h 3664183"/>
              <a:gd name="connsiteX3964" fmla="*/ 2522813 w 9043663"/>
              <a:gd name="connsiteY3964" fmla="*/ 3651745 h 3664183"/>
              <a:gd name="connsiteX3965" fmla="*/ 2525202 w 9043663"/>
              <a:gd name="connsiteY3965" fmla="*/ 3655891 h 3664183"/>
              <a:gd name="connsiteX3966" fmla="*/ 2557454 w 9043663"/>
              <a:gd name="connsiteY3966" fmla="*/ 3655891 h 3664183"/>
              <a:gd name="connsiteX3967" fmla="*/ 2547898 w 9043663"/>
              <a:gd name="connsiteY3967" fmla="*/ 3644489 h 3664183"/>
              <a:gd name="connsiteX3968" fmla="*/ 2598068 w 9043663"/>
              <a:gd name="connsiteY3968" fmla="*/ 3637233 h 3664183"/>
              <a:gd name="connsiteX3969" fmla="*/ 2611207 w 9043663"/>
              <a:gd name="connsiteY3969" fmla="*/ 3625831 h 3664183"/>
              <a:gd name="connsiteX3970" fmla="*/ 2524008 w 9043663"/>
              <a:gd name="connsiteY3970" fmla="*/ 3598881 h 3664183"/>
              <a:gd name="connsiteX3971" fmla="*/ 2494145 w 9043663"/>
              <a:gd name="connsiteY3971" fmla="*/ 3577114 h 3664183"/>
              <a:gd name="connsiteX3972" fmla="*/ 2491756 w 9043663"/>
              <a:gd name="connsiteY3972" fmla="*/ 3571931 h 3664183"/>
              <a:gd name="connsiteX3973" fmla="*/ 2488172 w 9043663"/>
              <a:gd name="connsiteY3973" fmla="*/ 3572968 h 3664183"/>
              <a:gd name="connsiteX3974" fmla="*/ 2483394 w 9043663"/>
              <a:gd name="connsiteY3974" fmla="*/ 3569858 h 3664183"/>
              <a:gd name="connsiteX3975" fmla="*/ 2497728 w 9043663"/>
              <a:gd name="connsiteY3975" fmla="*/ 3570895 h 3664183"/>
              <a:gd name="connsiteX3976" fmla="*/ 2451142 w 9043663"/>
              <a:gd name="connsiteY3976" fmla="*/ 3530469 h 3664183"/>
              <a:gd name="connsiteX3977" fmla="*/ 2448753 w 9043663"/>
              <a:gd name="connsiteY3977" fmla="*/ 3522177 h 3664183"/>
              <a:gd name="connsiteX3978" fmla="*/ 2469060 w 9043663"/>
              <a:gd name="connsiteY3978" fmla="*/ 3506629 h 3664183"/>
              <a:gd name="connsiteX3979" fmla="*/ 2465476 w 9043663"/>
              <a:gd name="connsiteY3979" fmla="*/ 3480715 h 3664183"/>
              <a:gd name="connsiteX3980" fmla="*/ 2495339 w 9043663"/>
              <a:gd name="connsiteY3980" fmla="*/ 3451692 h 3664183"/>
              <a:gd name="connsiteX3981" fmla="*/ 2491756 w 9043663"/>
              <a:gd name="connsiteY3981" fmla="*/ 3439253 h 3664183"/>
              <a:gd name="connsiteX3982" fmla="*/ 2484589 w 9043663"/>
              <a:gd name="connsiteY3982" fmla="*/ 3424742 h 3664183"/>
              <a:gd name="connsiteX3983" fmla="*/ 2472644 w 9043663"/>
              <a:gd name="connsiteY3983" fmla="*/ 3424742 h 3664183"/>
              <a:gd name="connsiteX3984" fmla="*/ 2441586 w 9043663"/>
              <a:gd name="connsiteY3984" fmla="*/ 3407121 h 3664183"/>
              <a:gd name="connsiteX3985" fmla="*/ 2436808 w 9043663"/>
              <a:gd name="connsiteY3985" fmla="*/ 3395719 h 3664183"/>
              <a:gd name="connsiteX3986" fmla="*/ 2441586 w 9043663"/>
              <a:gd name="connsiteY3986" fmla="*/ 3382243 h 3664183"/>
              <a:gd name="connsiteX3987" fmla="*/ 2472644 w 9043663"/>
              <a:gd name="connsiteY3987" fmla="*/ 3373951 h 3664183"/>
              <a:gd name="connsiteX3988" fmla="*/ 2469060 w 9043663"/>
              <a:gd name="connsiteY3988" fmla="*/ 3362549 h 3664183"/>
              <a:gd name="connsiteX3989" fmla="*/ 2475033 w 9043663"/>
              <a:gd name="connsiteY3989" fmla="*/ 3357366 h 3664183"/>
              <a:gd name="connsiteX3990" fmla="*/ 2463087 w 9043663"/>
              <a:gd name="connsiteY3990" fmla="*/ 3336636 h 3664183"/>
              <a:gd name="connsiteX3991" fmla="*/ 2482200 w 9043663"/>
              <a:gd name="connsiteY3991" fmla="*/ 3316941 h 3664183"/>
              <a:gd name="connsiteX3992" fmla="*/ 2464282 w 9043663"/>
              <a:gd name="connsiteY3992" fmla="*/ 3311759 h 3664183"/>
              <a:gd name="connsiteX3993" fmla="*/ 2469060 w 9043663"/>
              <a:gd name="connsiteY3993" fmla="*/ 3306576 h 3664183"/>
              <a:gd name="connsiteX3994" fmla="*/ 2479811 w 9043663"/>
              <a:gd name="connsiteY3994" fmla="*/ 3315905 h 3664183"/>
              <a:gd name="connsiteX3995" fmla="*/ 2496534 w 9043663"/>
              <a:gd name="connsiteY3995" fmla="*/ 3315905 h 3664183"/>
              <a:gd name="connsiteX3996" fmla="*/ 2496534 w 9043663"/>
              <a:gd name="connsiteY3996" fmla="*/ 3307612 h 3664183"/>
              <a:gd name="connsiteX3997" fmla="*/ 2485783 w 9043663"/>
              <a:gd name="connsiteY3997" fmla="*/ 3287918 h 3664183"/>
              <a:gd name="connsiteX3998" fmla="*/ 2469060 w 9043663"/>
              <a:gd name="connsiteY3998" fmla="*/ 3296210 h 3664183"/>
              <a:gd name="connsiteX3999" fmla="*/ 2453531 w 9043663"/>
              <a:gd name="connsiteY3999" fmla="*/ 3288954 h 3664183"/>
              <a:gd name="connsiteX4000" fmla="*/ 2436808 w 9043663"/>
              <a:gd name="connsiteY4000" fmla="*/ 3263041 h 3664183"/>
              <a:gd name="connsiteX4001" fmla="*/ 2440392 w 9043663"/>
              <a:gd name="connsiteY4001" fmla="*/ 3257858 h 3664183"/>
              <a:gd name="connsiteX4002" fmla="*/ 2471449 w 9043663"/>
              <a:gd name="connsiteY4002" fmla="*/ 3268224 h 3664183"/>
              <a:gd name="connsiteX4003" fmla="*/ 2510868 w 9043663"/>
              <a:gd name="connsiteY4003" fmla="*/ 3262005 h 3664183"/>
              <a:gd name="connsiteX4004" fmla="*/ 2504895 w 9043663"/>
              <a:gd name="connsiteY4004" fmla="*/ 3220543 h 3664183"/>
              <a:gd name="connsiteX4005" fmla="*/ 2496534 w 9043663"/>
              <a:gd name="connsiteY4005" fmla="*/ 3206031 h 3664183"/>
              <a:gd name="connsiteX4006" fmla="*/ 2500117 w 9043663"/>
              <a:gd name="connsiteY4006" fmla="*/ 3208104 h 3664183"/>
              <a:gd name="connsiteX4007" fmla="*/ 2540731 w 9043663"/>
              <a:gd name="connsiteY4007" fmla="*/ 3208104 h 3664183"/>
              <a:gd name="connsiteX4008" fmla="*/ 2613596 w 9043663"/>
              <a:gd name="connsiteY4008" fmla="*/ 3187373 h 3664183"/>
              <a:gd name="connsiteX4009" fmla="*/ 2614791 w 9043663"/>
              <a:gd name="connsiteY4009" fmla="*/ 3187373 h 3664183"/>
              <a:gd name="connsiteX4010" fmla="*/ 2630319 w 9043663"/>
              <a:gd name="connsiteY4010" fmla="*/ 3149021 h 3664183"/>
              <a:gd name="connsiteX4011" fmla="*/ 2617180 w 9043663"/>
              <a:gd name="connsiteY4011" fmla="*/ 3132437 h 3664183"/>
              <a:gd name="connsiteX4012" fmla="*/ 2598068 w 9043663"/>
              <a:gd name="connsiteY4012" fmla="*/ 3117925 h 3664183"/>
              <a:gd name="connsiteX4013" fmla="*/ 2604040 w 9043663"/>
              <a:gd name="connsiteY4013" fmla="*/ 3107559 h 3664183"/>
              <a:gd name="connsiteX4014" fmla="*/ 2564621 w 9043663"/>
              <a:gd name="connsiteY4014" fmla="*/ 3085792 h 3664183"/>
              <a:gd name="connsiteX4015" fmla="*/ 2562232 w 9043663"/>
              <a:gd name="connsiteY4015" fmla="*/ 3075427 h 3664183"/>
              <a:gd name="connsiteX4016" fmla="*/ 2624347 w 9043663"/>
              <a:gd name="connsiteY4016" fmla="*/ 3095121 h 3664183"/>
              <a:gd name="connsiteX4017" fmla="*/ 2682878 w 9043663"/>
              <a:gd name="connsiteY4017" fmla="*/ 3084755 h 3664183"/>
              <a:gd name="connsiteX4018" fmla="*/ 2698407 w 9043663"/>
              <a:gd name="connsiteY4018" fmla="*/ 3061951 h 3664183"/>
              <a:gd name="connsiteX4019" fmla="*/ 2698407 w 9043663"/>
              <a:gd name="connsiteY4019" fmla="*/ 3057805 h 3664183"/>
              <a:gd name="connsiteX4020" fmla="*/ 2718714 w 9043663"/>
              <a:gd name="connsiteY4020" fmla="*/ 3029818 h 3664183"/>
              <a:gd name="connsiteX4021" fmla="*/ 2748576 w 9043663"/>
              <a:gd name="connsiteY4021" fmla="*/ 3000795 h 3664183"/>
              <a:gd name="connsiteX4022" fmla="*/ 2770077 w 9043663"/>
              <a:gd name="connsiteY4022" fmla="*/ 2945859 h 3664183"/>
              <a:gd name="connsiteX4023" fmla="*/ 2797551 w 9043663"/>
              <a:gd name="connsiteY4023" fmla="*/ 2916835 h 3664183"/>
              <a:gd name="connsiteX4024" fmla="*/ 2787995 w 9043663"/>
              <a:gd name="connsiteY4024" fmla="*/ 2844277 h 3664183"/>
              <a:gd name="connsiteX4025" fmla="*/ 2832192 w 9043663"/>
              <a:gd name="connsiteY4025" fmla="*/ 2798669 h 3664183"/>
              <a:gd name="connsiteX4026" fmla="*/ 2857277 w 9043663"/>
              <a:gd name="connsiteY4026" fmla="*/ 2786231 h 3664183"/>
              <a:gd name="connsiteX4027" fmla="*/ 2866833 w 9043663"/>
              <a:gd name="connsiteY4027" fmla="*/ 2791413 h 3664183"/>
              <a:gd name="connsiteX4028" fmla="*/ 2879973 w 9043663"/>
              <a:gd name="connsiteY4028" fmla="*/ 2777938 h 3664183"/>
              <a:gd name="connsiteX4029" fmla="*/ 2894307 w 9043663"/>
              <a:gd name="connsiteY4029" fmla="*/ 2777938 h 3664183"/>
              <a:gd name="connsiteX4030" fmla="*/ 2891918 w 9043663"/>
              <a:gd name="connsiteY4030" fmla="*/ 2767573 h 3664183"/>
              <a:gd name="connsiteX4031" fmla="*/ 2965978 w 9043663"/>
              <a:gd name="connsiteY4031" fmla="*/ 2767573 h 3664183"/>
              <a:gd name="connsiteX4032" fmla="*/ 2965978 w 9043663"/>
              <a:gd name="connsiteY4032" fmla="*/ 2753061 h 3664183"/>
              <a:gd name="connsiteX4033" fmla="*/ 2995840 w 9043663"/>
              <a:gd name="connsiteY4033" fmla="*/ 2737513 h 3664183"/>
              <a:gd name="connsiteX4034" fmla="*/ 2995840 w 9043663"/>
              <a:gd name="connsiteY4034" fmla="*/ 2710563 h 3664183"/>
              <a:gd name="connsiteX4035" fmla="*/ 3025703 w 9043663"/>
              <a:gd name="connsiteY4035" fmla="*/ 2669101 h 3664183"/>
              <a:gd name="connsiteX4036" fmla="*/ 3025703 w 9043663"/>
              <a:gd name="connsiteY4036" fmla="*/ 2627639 h 3664183"/>
              <a:gd name="connsiteX4037" fmla="*/ 3031676 w 9043663"/>
              <a:gd name="connsiteY4037" fmla="*/ 2618311 h 3664183"/>
              <a:gd name="connsiteX4038" fmla="*/ 3031676 w 9043663"/>
              <a:gd name="connsiteY4038" fmla="*/ 2501181 h 3664183"/>
              <a:gd name="connsiteX4039" fmla="*/ 3123654 w 9043663"/>
              <a:gd name="connsiteY4039" fmla="*/ 2397527 h 3664183"/>
              <a:gd name="connsiteX4040" fmla="*/ 3145155 w 9043663"/>
              <a:gd name="connsiteY4040" fmla="*/ 2358138 h 3664183"/>
              <a:gd name="connsiteX4041" fmla="*/ 3145155 w 9043663"/>
              <a:gd name="connsiteY4041" fmla="*/ 2322896 h 3664183"/>
              <a:gd name="connsiteX4042" fmla="*/ 3123654 w 9043663"/>
              <a:gd name="connsiteY4042" fmla="*/ 2274178 h 3664183"/>
              <a:gd name="connsiteX4043" fmla="*/ 3075873 w 9043663"/>
              <a:gd name="connsiteY4043" fmla="*/ 2278324 h 3664183"/>
              <a:gd name="connsiteX4044" fmla="*/ 1907639 w 9043663"/>
              <a:gd name="connsiteY4044" fmla="*/ 937036 h 3664183"/>
              <a:gd name="connsiteX4045" fmla="*/ 1877776 w 9043663"/>
              <a:gd name="connsiteY4045" fmla="*/ 987827 h 3664183"/>
              <a:gd name="connsiteX4046" fmla="*/ 1858664 w 9043663"/>
              <a:gd name="connsiteY4046" fmla="*/ 997155 h 3664183"/>
              <a:gd name="connsiteX4047" fmla="*/ 1847913 w 9043663"/>
              <a:gd name="connsiteY4047" fmla="*/ 997155 h 3664183"/>
              <a:gd name="connsiteX4048" fmla="*/ 1847913 w 9043663"/>
              <a:gd name="connsiteY4048" fmla="*/ 989900 h 3664183"/>
              <a:gd name="connsiteX4049" fmla="*/ 1862247 w 9043663"/>
              <a:gd name="connsiteY4049" fmla="*/ 959840 h 3664183"/>
              <a:gd name="connsiteX4050" fmla="*/ 1912417 w 9043663"/>
              <a:gd name="connsiteY4050" fmla="*/ 904903 h 3664183"/>
              <a:gd name="connsiteX4051" fmla="*/ 1895693 w 9043663"/>
              <a:gd name="connsiteY4051" fmla="*/ 912159 h 3664183"/>
              <a:gd name="connsiteX4052" fmla="*/ 1921973 w 9043663"/>
              <a:gd name="connsiteY4052" fmla="*/ 891428 h 3664183"/>
              <a:gd name="connsiteX4053" fmla="*/ 1966170 w 9043663"/>
              <a:gd name="connsiteY4053" fmla="*/ 890391 h 3664183"/>
              <a:gd name="connsiteX4054" fmla="*/ 1933918 w 9043663"/>
              <a:gd name="connsiteY4054" fmla="*/ 910086 h 3664183"/>
              <a:gd name="connsiteX4055" fmla="*/ 1907639 w 9043663"/>
              <a:gd name="connsiteY4055" fmla="*/ 937036 h 3664183"/>
              <a:gd name="connsiteX4056" fmla="*/ 1998422 w 9043663"/>
              <a:gd name="connsiteY4056" fmla="*/ 1000265 h 3664183"/>
              <a:gd name="connsiteX4057" fmla="*/ 1967364 w 9043663"/>
              <a:gd name="connsiteY4057" fmla="*/ 1002338 h 3664183"/>
              <a:gd name="connsiteX4058" fmla="*/ 1962586 w 9043663"/>
              <a:gd name="connsiteY4058" fmla="*/ 999228 h 3664183"/>
              <a:gd name="connsiteX4059" fmla="*/ 1962586 w 9043663"/>
              <a:gd name="connsiteY4059" fmla="*/ 999228 h 3664183"/>
              <a:gd name="connsiteX4060" fmla="*/ 2021117 w 9043663"/>
              <a:gd name="connsiteY4060" fmla="*/ 976425 h 3664183"/>
              <a:gd name="connsiteX4061" fmla="*/ 2072481 w 9043663"/>
              <a:gd name="connsiteY4061" fmla="*/ 971242 h 3664183"/>
              <a:gd name="connsiteX4062" fmla="*/ 1998422 w 9043663"/>
              <a:gd name="connsiteY4062" fmla="*/ 1000265 h 3664183"/>
              <a:gd name="connsiteX4063" fmla="*/ 2095177 w 9043663"/>
              <a:gd name="connsiteY4063" fmla="*/ 1136052 h 3664183"/>
              <a:gd name="connsiteX4064" fmla="*/ 2091594 w 9043663"/>
              <a:gd name="connsiteY4064" fmla="*/ 1125687 h 3664183"/>
              <a:gd name="connsiteX4065" fmla="*/ 2104733 w 9043663"/>
              <a:gd name="connsiteY4065" fmla="*/ 1100810 h 3664183"/>
              <a:gd name="connsiteX4066" fmla="*/ 2102344 w 9043663"/>
              <a:gd name="connsiteY4066" fmla="*/ 1098737 h 3664183"/>
              <a:gd name="connsiteX4067" fmla="*/ 2103539 w 9043663"/>
              <a:gd name="connsiteY4067" fmla="*/ 1098737 h 3664183"/>
              <a:gd name="connsiteX4068" fmla="*/ 2105928 w 9043663"/>
              <a:gd name="connsiteY4068" fmla="*/ 1090444 h 3664183"/>
              <a:gd name="connsiteX4069" fmla="*/ 2109512 w 9043663"/>
              <a:gd name="connsiteY4069" fmla="*/ 1093554 h 3664183"/>
              <a:gd name="connsiteX4070" fmla="*/ 2105928 w 9043663"/>
              <a:gd name="connsiteY4070" fmla="*/ 1102883 h 3664183"/>
              <a:gd name="connsiteX4071" fmla="*/ 2114289 w 9043663"/>
              <a:gd name="connsiteY4071" fmla="*/ 1102883 h 3664183"/>
              <a:gd name="connsiteX4072" fmla="*/ 2095177 w 9043663"/>
              <a:gd name="connsiteY4072" fmla="*/ 1136052 h 3664183"/>
              <a:gd name="connsiteX4073" fmla="*/ 2110706 w 9043663"/>
              <a:gd name="connsiteY4073" fmla="*/ 1075933 h 3664183"/>
              <a:gd name="connsiteX4074" fmla="*/ 2114289 w 9043663"/>
              <a:gd name="connsiteY4074" fmla="*/ 1064531 h 3664183"/>
              <a:gd name="connsiteX4075" fmla="*/ 2117873 w 9043663"/>
              <a:gd name="connsiteY4075" fmla="*/ 1063494 h 3664183"/>
              <a:gd name="connsiteX4076" fmla="*/ 2110706 w 9043663"/>
              <a:gd name="connsiteY4076" fmla="*/ 1075933 h 3664183"/>
              <a:gd name="connsiteX4077" fmla="*/ 2158486 w 9043663"/>
              <a:gd name="connsiteY4077" fmla="*/ 943255 h 3664183"/>
              <a:gd name="connsiteX4078" fmla="*/ 2178793 w 9043663"/>
              <a:gd name="connsiteY4078" fmla="*/ 934963 h 3664183"/>
              <a:gd name="connsiteX4079" fmla="*/ 2169237 w 9043663"/>
              <a:gd name="connsiteY4079" fmla="*/ 948438 h 3664183"/>
              <a:gd name="connsiteX4080" fmla="*/ 2095177 w 9043663"/>
              <a:gd name="connsiteY4080" fmla="*/ 953621 h 3664183"/>
              <a:gd name="connsiteX4081" fmla="*/ 2095177 w 9043663"/>
              <a:gd name="connsiteY4081" fmla="*/ 953621 h 3664183"/>
              <a:gd name="connsiteX4082" fmla="*/ 2095177 w 9043663"/>
              <a:gd name="connsiteY4082" fmla="*/ 953621 h 3664183"/>
              <a:gd name="connsiteX4083" fmla="*/ 2086816 w 9043663"/>
              <a:gd name="connsiteY4083" fmla="*/ 954657 h 3664183"/>
              <a:gd name="connsiteX4084" fmla="*/ 2086816 w 9043663"/>
              <a:gd name="connsiteY4084" fmla="*/ 955694 h 3664183"/>
              <a:gd name="connsiteX4085" fmla="*/ 2084427 w 9043663"/>
              <a:gd name="connsiteY4085" fmla="*/ 955694 h 3664183"/>
              <a:gd name="connsiteX4086" fmla="*/ 2091594 w 9043663"/>
              <a:gd name="connsiteY4086" fmla="*/ 949475 h 3664183"/>
              <a:gd name="connsiteX4087" fmla="*/ 2158486 w 9043663"/>
              <a:gd name="connsiteY4087" fmla="*/ 943255 h 3664183"/>
              <a:gd name="connsiteX4088" fmla="*/ 2043813 w 9043663"/>
              <a:gd name="connsiteY4088" fmla="*/ 884172 h 3664183"/>
              <a:gd name="connsiteX4089" fmla="*/ 2005589 w 9043663"/>
              <a:gd name="connsiteY4089" fmla="*/ 884172 h 3664183"/>
              <a:gd name="connsiteX4090" fmla="*/ 2056953 w 9043663"/>
              <a:gd name="connsiteY4090" fmla="*/ 897647 h 3664183"/>
              <a:gd name="connsiteX4091" fmla="*/ 2068898 w 9043663"/>
              <a:gd name="connsiteY4091" fmla="*/ 887282 h 3664183"/>
              <a:gd name="connsiteX4092" fmla="*/ 2084427 w 9043663"/>
              <a:gd name="connsiteY4092" fmla="*/ 889355 h 3664183"/>
              <a:gd name="connsiteX4093" fmla="*/ 2095177 w 9043663"/>
              <a:gd name="connsiteY4093" fmla="*/ 914232 h 3664183"/>
              <a:gd name="connsiteX4094" fmla="*/ 2084427 w 9043663"/>
              <a:gd name="connsiteY4094" fmla="*/ 920451 h 3664183"/>
              <a:gd name="connsiteX4095" fmla="*/ 2056953 w 9043663"/>
              <a:gd name="connsiteY4095" fmla="*/ 901793 h 3664183"/>
              <a:gd name="connsiteX4096" fmla="*/ 2022312 w 9043663"/>
              <a:gd name="connsiteY4096" fmla="*/ 955694 h 3664183"/>
              <a:gd name="connsiteX4097" fmla="*/ 2004394 w 9043663"/>
              <a:gd name="connsiteY4097" fmla="*/ 962949 h 3664183"/>
              <a:gd name="connsiteX4098" fmla="*/ 2007978 w 9043663"/>
              <a:gd name="connsiteY4098" fmla="*/ 935999 h 3664183"/>
              <a:gd name="connsiteX4099" fmla="*/ 1981698 w 9043663"/>
              <a:gd name="connsiteY4099" fmla="*/ 943255 h 3664183"/>
              <a:gd name="connsiteX4100" fmla="*/ 2002005 w 9043663"/>
              <a:gd name="connsiteY4100" fmla="*/ 927707 h 3664183"/>
              <a:gd name="connsiteX4101" fmla="*/ 2012756 w 9043663"/>
              <a:gd name="connsiteY4101" fmla="*/ 900757 h 3664183"/>
              <a:gd name="connsiteX4102" fmla="*/ 1974531 w 9043663"/>
              <a:gd name="connsiteY4102" fmla="*/ 890391 h 3664183"/>
              <a:gd name="connsiteX4103" fmla="*/ 2005589 w 9043663"/>
              <a:gd name="connsiteY4103" fmla="*/ 889355 h 3664183"/>
              <a:gd name="connsiteX4104" fmla="*/ 2007978 w 9043663"/>
              <a:gd name="connsiteY4104" fmla="*/ 878989 h 3664183"/>
              <a:gd name="connsiteX4105" fmla="*/ 2043813 w 9043663"/>
              <a:gd name="connsiteY4105" fmla="*/ 884172 h 3664183"/>
              <a:gd name="connsiteX4106" fmla="*/ 1880165 w 9043663"/>
              <a:gd name="connsiteY4106" fmla="*/ 834418 h 3664183"/>
              <a:gd name="connsiteX4107" fmla="*/ 1884943 w 9043663"/>
              <a:gd name="connsiteY4107" fmla="*/ 834418 h 3664183"/>
              <a:gd name="connsiteX4108" fmla="*/ 1884943 w 9043663"/>
              <a:gd name="connsiteY4108" fmla="*/ 833381 h 3664183"/>
              <a:gd name="connsiteX4109" fmla="*/ 1944669 w 9043663"/>
              <a:gd name="connsiteY4109" fmla="*/ 803322 h 3664183"/>
              <a:gd name="connsiteX4110" fmla="*/ 1978115 w 9043663"/>
              <a:gd name="connsiteY4110" fmla="*/ 810577 h 3664183"/>
              <a:gd name="connsiteX4111" fmla="*/ 1984087 w 9043663"/>
              <a:gd name="connsiteY4111" fmla="*/ 834418 h 3664183"/>
              <a:gd name="connsiteX4112" fmla="*/ 2006783 w 9043663"/>
              <a:gd name="connsiteY4112" fmla="*/ 834418 h 3664183"/>
              <a:gd name="connsiteX4113" fmla="*/ 1993643 w 9043663"/>
              <a:gd name="connsiteY4113" fmla="*/ 867587 h 3664183"/>
              <a:gd name="connsiteX4114" fmla="*/ 1987671 w 9043663"/>
              <a:gd name="connsiteY4114" fmla="*/ 867587 h 3664183"/>
              <a:gd name="connsiteX4115" fmla="*/ 1991254 w 9043663"/>
              <a:gd name="connsiteY4115" fmla="*/ 859295 h 3664183"/>
              <a:gd name="connsiteX4116" fmla="*/ 1920778 w 9043663"/>
              <a:gd name="connsiteY4116" fmla="*/ 867587 h 3664183"/>
              <a:gd name="connsiteX4117" fmla="*/ 1920778 w 9043663"/>
              <a:gd name="connsiteY4117" fmla="*/ 860332 h 3664183"/>
              <a:gd name="connsiteX4118" fmla="*/ 1905250 w 9043663"/>
              <a:gd name="connsiteY4118" fmla="*/ 860332 h 3664183"/>
              <a:gd name="connsiteX4119" fmla="*/ 1939890 w 9043663"/>
              <a:gd name="connsiteY4119" fmla="*/ 836491 h 3664183"/>
              <a:gd name="connsiteX4120" fmla="*/ 1841940 w 9043663"/>
              <a:gd name="connsiteY4120" fmla="*/ 866551 h 3664183"/>
              <a:gd name="connsiteX4121" fmla="*/ 1839551 w 9043663"/>
              <a:gd name="connsiteY4121" fmla="*/ 854112 h 3664183"/>
              <a:gd name="connsiteX4122" fmla="*/ 1829995 w 9043663"/>
              <a:gd name="connsiteY4122" fmla="*/ 856186 h 3664183"/>
              <a:gd name="connsiteX4123" fmla="*/ 1880165 w 9043663"/>
              <a:gd name="connsiteY4123" fmla="*/ 834418 h 3664183"/>
              <a:gd name="connsiteX4124" fmla="*/ 1503893 w 9043663"/>
              <a:gd name="connsiteY4124" fmla="*/ 1329886 h 3664183"/>
              <a:gd name="connsiteX4125" fmla="*/ 1503893 w 9043663"/>
              <a:gd name="connsiteY4125" fmla="*/ 1339215 h 3664183"/>
              <a:gd name="connsiteX4126" fmla="*/ 1499115 w 9043663"/>
              <a:gd name="connsiteY4126" fmla="*/ 1330923 h 3664183"/>
              <a:gd name="connsiteX4127" fmla="*/ 1503893 w 9043663"/>
              <a:gd name="connsiteY4127" fmla="*/ 1329886 h 3664183"/>
              <a:gd name="connsiteX4128" fmla="*/ 1002197 w 9043663"/>
              <a:gd name="connsiteY4128" fmla="*/ 556624 h 3664183"/>
              <a:gd name="connsiteX4129" fmla="*/ 1017726 w 9043663"/>
              <a:gd name="connsiteY4129" fmla="*/ 552478 h 3664183"/>
              <a:gd name="connsiteX4130" fmla="*/ 1004586 w 9043663"/>
              <a:gd name="connsiteY4130" fmla="*/ 566990 h 3664183"/>
              <a:gd name="connsiteX4131" fmla="*/ 1002197 w 9043663"/>
              <a:gd name="connsiteY4131" fmla="*/ 556624 h 3664183"/>
              <a:gd name="connsiteX4132" fmla="*/ 1015337 w 9043663"/>
              <a:gd name="connsiteY4132" fmla="*/ 589794 h 3664183"/>
              <a:gd name="connsiteX4133" fmla="*/ 1004586 w 9043663"/>
              <a:gd name="connsiteY4133" fmla="*/ 585647 h 3664183"/>
              <a:gd name="connsiteX4134" fmla="*/ 1018920 w 9043663"/>
              <a:gd name="connsiteY4134" fmla="*/ 579428 h 3664183"/>
              <a:gd name="connsiteX4135" fmla="*/ 1015337 w 9043663"/>
              <a:gd name="connsiteY4135" fmla="*/ 589794 h 3664183"/>
              <a:gd name="connsiteX4136" fmla="*/ 1033254 w 9043663"/>
              <a:gd name="connsiteY4136" fmla="*/ 839601 h 3664183"/>
              <a:gd name="connsiteX4137" fmla="*/ 1030865 w 9043663"/>
              <a:gd name="connsiteY4137" fmla="*/ 839601 h 3664183"/>
              <a:gd name="connsiteX4138" fmla="*/ 1035643 w 9043663"/>
              <a:gd name="connsiteY4138" fmla="*/ 837528 h 3664183"/>
              <a:gd name="connsiteX4139" fmla="*/ 1033254 w 9043663"/>
              <a:gd name="connsiteY4139" fmla="*/ 839601 h 3664183"/>
              <a:gd name="connsiteX4140" fmla="*/ 1058339 w 9043663"/>
              <a:gd name="connsiteY4140" fmla="*/ 812651 h 3664183"/>
              <a:gd name="connsiteX4141" fmla="*/ 1042811 w 9043663"/>
              <a:gd name="connsiteY4141" fmla="*/ 829235 h 3664183"/>
              <a:gd name="connsiteX4142" fmla="*/ 1033254 w 9043663"/>
              <a:gd name="connsiteY4142" fmla="*/ 824053 h 3664183"/>
              <a:gd name="connsiteX4143" fmla="*/ 1027282 w 9043663"/>
              <a:gd name="connsiteY4143" fmla="*/ 821980 h 3664183"/>
              <a:gd name="connsiteX4144" fmla="*/ 1041616 w 9043663"/>
              <a:gd name="connsiteY4144" fmla="*/ 817833 h 3664183"/>
              <a:gd name="connsiteX4145" fmla="*/ 1024893 w 9043663"/>
              <a:gd name="connsiteY4145" fmla="*/ 772225 h 3664183"/>
              <a:gd name="connsiteX4146" fmla="*/ 1058339 w 9043663"/>
              <a:gd name="connsiteY4146" fmla="*/ 801249 h 3664183"/>
              <a:gd name="connsiteX4147" fmla="*/ 1058339 w 9043663"/>
              <a:gd name="connsiteY4147" fmla="*/ 812651 h 3664183"/>
              <a:gd name="connsiteX4148" fmla="*/ 2304217 w 9043663"/>
              <a:gd name="connsiteY4148" fmla="*/ 3523214 h 3664183"/>
              <a:gd name="connsiteX4149" fmla="*/ 2307801 w 9043663"/>
              <a:gd name="connsiteY4149" fmla="*/ 3514921 h 3664183"/>
              <a:gd name="connsiteX4150" fmla="*/ 2313773 w 9043663"/>
              <a:gd name="connsiteY4150" fmla="*/ 3525287 h 3664183"/>
              <a:gd name="connsiteX4151" fmla="*/ 2304217 w 9043663"/>
              <a:gd name="connsiteY4151" fmla="*/ 3523214 h 3664183"/>
              <a:gd name="connsiteX4152" fmla="*/ 2347220 w 9043663"/>
              <a:gd name="connsiteY4152" fmla="*/ 1870962 h 3664183"/>
              <a:gd name="connsiteX4153" fmla="*/ 2330497 w 9043663"/>
              <a:gd name="connsiteY4153" fmla="*/ 1854377 h 3664183"/>
              <a:gd name="connsiteX4154" fmla="*/ 2363943 w 9043663"/>
              <a:gd name="connsiteY4154" fmla="*/ 1847122 h 3664183"/>
              <a:gd name="connsiteX4155" fmla="*/ 2366332 w 9043663"/>
              <a:gd name="connsiteY4155" fmla="*/ 1864743 h 3664183"/>
              <a:gd name="connsiteX4156" fmla="*/ 2353192 w 9043663"/>
              <a:gd name="connsiteY4156" fmla="*/ 1873035 h 3664183"/>
              <a:gd name="connsiteX4157" fmla="*/ 2347220 w 9043663"/>
              <a:gd name="connsiteY4157" fmla="*/ 1870962 h 3664183"/>
              <a:gd name="connsiteX4158" fmla="*/ 2471449 w 9043663"/>
              <a:gd name="connsiteY4158" fmla="*/ 3580223 h 3664183"/>
              <a:gd name="connsiteX4159" fmla="*/ 2471449 w 9043663"/>
              <a:gd name="connsiteY4159" fmla="*/ 3572968 h 3664183"/>
              <a:gd name="connsiteX4160" fmla="*/ 2489367 w 9043663"/>
              <a:gd name="connsiteY4160" fmla="*/ 3574004 h 3664183"/>
              <a:gd name="connsiteX4161" fmla="*/ 2491756 w 9043663"/>
              <a:gd name="connsiteY4161" fmla="*/ 3579187 h 3664183"/>
              <a:gd name="connsiteX4162" fmla="*/ 2455920 w 9043663"/>
              <a:gd name="connsiteY4162" fmla="*/ 3586443 h 3664183"/>
              <a:gd name="connsiteX4163" fmla="*/ 2464282 w 9043663"/>
              <a:gd name="connsiteY4163" fmla="*/ 3600954 h 3664183"/>
              <a:gd name="connsiteX4164" fmla="*/ 2490561 w 9043663"/>
              <a:gd name="connsiteY4164" fmla="*/ 3603028 h 3664183"/>
              <a:gd name="connsiteX4165" fmla="*/ 2481005 w 9043663"/>
              <a:gd name="connsiteY4165" fmla="*/ 3608210 h 3664183"/>
              <a:gd name="connsiteX4166" fmla="*/ 2467866 w 9043663"/>
              <a:gd name="connsiteY4166" fmla="*/ 3603028 h 3664183"/>
              <a:gd name="connsiteX4167" fmla="*/ 2461893 w 9043663"/>
              <a:gd name="connsiteY4167" fmla="*/ 3613393 h 3664183"/>
              <a:gd name="connsiteX4168" fmla="*/ 2458309 w 9043663"/>
              <a:gd name="connsiteY4168" fmla="*/ 3612356 h 3664183"/>
              <a:gd name="connsiteX4169" fmla="*/ 2452337 w 9043663"/>
              <a:gd name="connsiteY4169" fmla="*/ 3584370 h 3664183"/>
              <a:gd name="connsiteX4170" fmla="*/ 2471449 w 9043663"/>
              <a:gd name="connsiteY4170" fmla="*/ 3580223 h 3664183"/>
              <a:gd name="connsiteX4171" fmla="*/ 2411723 w 9043663"/>
              <a:gd name="connsiteY4171" fmla="*/ 3603028 h 3664183"/>
              <a:gd name="connsiteX4172" fmla="*/ 2414113 w 9043663"/>
              <a:gd name="connsiteY4172" fmla="*/ 3599918 h 3664183"/>
              <a:gd name="connsiteX4173" fmla="*/ 2429641 w 9043663"/>
              <a:gd name="connsiteY4173" fmla="*/ 3607174 h 3664183"/>
              <a:gd name="connsiteX4174" fmla="*/ 2411723 w 9043663"/>
              <a:gd name="connsiteY4174" fmla="*/ 3603028 h 3664183"/>
              <a:gd name="connsiteX4175" fmla="*/ 2433225 w 9043663"/>
              <a:gd name="connsiteY4175" fmla="*/ 3589552 h 3664183"/>
              <a:gd name="connsiteX4176" fmla="*/ 2416502 w 9043663"/>
              <a:gd name="connsiteY4176" fmla="*/ 3598881 h 3664183"/>
              <a:gd name="connsiteX4177" fmla="*/ 2428447 w 9043663"/>
              <a:gd name="connsiteY4177" fmla="*/ 3587479 h 3664183"/>
              <a:gd name="connsiteX4178" fmla="*/ 2434419 w 9043663"/>
              <a:gd name="connsiteY4178" fmla="*/ 3588516 h 3664183"/>
              <a:gd name="connsiteX4179" fmla="*/ 2433225 w 9043663"/>
              <a:gd name="connsiteY4179" fmla="*/ 3589552 h 3664183"/>
              <a:gd name="connsiteX4180" fmla="*/ 2242102 w 9043663"/>
              <a:gd name="connsiteY4180" fmla="*/ 3337672 h 3664183"/>
              <a:gd name="connsiteX4181" fmla="*/ 2242102 w 9043663"/>
              <a:gd name="connsiteY4181" fmla="*/ 3337672 h 3664183"/>
              <a:gd name="connsiteX4182" fmla="*/ 2242102 w 9043663"/>
              <a:gd name="connsiteY4182" fmla="*/ 3337672 h 3664183"/>
              <a:gd name="connsiteX4183" fmla="*/ 2238519 w 9043663"/>
              <a:gd name="connsiteY4183" fmla="*/ 3304503 h 3664183"/>
              <a:gd name="connsiteX4184" fmla="*/ 2205073 w 9043663"/>
              <a:gd name="connsiteY4184" fmla="*/ 3284808 h 3664183"/>
              <a:gd name="connsiteX4185" fmla="*/ 2205073 w 9043663"/>
              <a:gd name="connsiteY4185" fmla="*/ 3284808 h 3664183"/>
              <a:gd name="connsiteX4186" fmla="*/ 2205073 w 9043663"/>
              <a:gd name="connsiteY4186" fmla="*/ 3284808 h 3664183"/>
              <a:gd name="connsiteX4187" fmla="*/ 2207462 w 9043663"/>
              <a:gd name="connsiteY4187" fmla="*/ 3291028 h 3664183"/>
              <a:gd name="connsiteX4188" fmla="*/ 2217018 w 9043663"/>
              <a:gd name="connsiteY4188" fmla="*/ 3334563 h 3664183"/>
              <a:gd name="connsiteX4189" fmla="*/ 2239713 w 9043663"/>
              <a:gd name="connsiteY4189" fmla="*/ 3337672 h 3664183"/>
              <a:gd name="connsiteX4190" fmla="*/ 2242102 w 9043663"/>
              <a:gd name="connsiteY4190" fmla="*/ 3337672 h 3664183"/>
              <a:gd name="connsiteX4191" fmla="*/ 2163265 w 9043663"/>
              <a:gd name="connsiteY4191" fmla="*/ 1820172 h 3664183"/>
              <a:gd name="connsiteX4192" fmla="*/ 2168043 w 9043663"/>
              <a:gd name="connsiteY4192" fmla="*/ 1816025 h 3664183"/>
              <a:gd name="connsiteX4193" fmla="*/ 2148930 w 9043663"/>
              <a:gd name="connsiteY4193" fmla="*/ 1799441 h 3664183"/>
              <a:gd name="connsiteX4194" fmla="*/ 2144152 w 9043663"/>
              <a:gd name="connsiteY4194" fmla="*/ 1803587 h 3664183"/>
              <a:gd name="connsiteX4195" fmla="*/ 2163265 w 9043663"/>
              <a:gd name="connsiteY4195" fmla="*/ 1820172 h 3664183"/>
              <a:gd name="connsiteX4196" fmla="*/ 1476419 w 9043663"/>
              <a:gd name="connsiteY4196" fmla="*/ 2157048 h 3664183"/>
              <a:gd name="connsiteX4197" fmla="*/ 1485975 w 9043663"/>
              <a:gd name="connsiteY4197" fmla="*/ 2161195 h 3664183"/>
              <a:gd name="connsiteX4198" fmla="*/ 1478808 w 9043663"/>
              <a:gd name="connsiteY4198" fmla="*/ 2165341 h 3664183"/>
              <a:gd name="connsiteX4199" fmla="*/ 1491948 w 9043663"/>
              <a:gd name="connsiteY4199" fmla="*/ 2176743 h 3664183"/>
              <a:gd name="connsiteX4200" fmla="*/ 1511060 w 9043663"/>
              <a:gd name="connsiteY4200" fmla="*/ 2160158 h 3664183"/>
              <a:gd name="connsiteX4201" fmla="*/ 1484781 w 9043663"/>
              <a:gd name="connsiteY4201" fmla="*/ 2134244 h 3664183"/>
              <a:gd name="connsiteX4202" fmla="*/ 1476419 w 9043663"/>
              <a:gd name="connsiteY4202" fmla="*/ 2157048 h 36641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  <a:cxn ang="0">
                <a:pos x="connsiteX3119" y="connsiteY3119"/>
              </a:cxn>
              <a:cxn ang="0">
                <a:pos x="connsiteX3120" y="connsiteY3120"/>
              </a:cxn>
              <a:cxn ang="0">
                <a:pos x="connsiteX3121" y="connsiteY3121"/>
              </a:cxn>
              <a:cxn ang="0">
                <a:pos x="connsiteX3122" y="connsiteY3122"/>
              </a:cxn>
              <a:cxn ang="0">
                <a:pos x="connsiteX3123" y="connsiteY3123"/>
              </a:cxn>
              <a:cxn ang="0">
                <a:pos x="connsiteX3124" y="connsiteY3124"/>
              </a:cxn>
              <a:cxn ang="0">
                <a:pos x="connsiteX3125" y="connsiteY3125"/>
              </a:cxn>
              <a:cxn ang="0">
                <a:pos x="connsiteX3126" y="connsiteY3126"/>
              </a:cxn>
              <a:cxn ang="0">
                <a:pos x="connsiteX3127" y="connsiteY3127"/>
              </a:cxn>
              <a:cxn ang="0">
                <a:pos x="connsiteX3128" y="connsiteY3128"/>
              </a:cxn>
              <a:cxn ang="0">
                <a:pos x="connsiteX3129" y="connsiteY3129"/>
              </a:cxn>
              <a:cxn ang="0">
                <a:pos x="connsiteX3130" y="connsiteY3130"/>
              </a:cxn>
              <a:cxn ang="0">
                <a:pos x="connsiteX3131" y="connsiteY3131"/>
              </a:cxn>
              <a:cxn ang="0">
                <a:pos x="connsiteX3132" y="connsiteY3132"/>
              </a:cxn>
              <a:cxn ang="0">
                <a:pos x="connsiteX3133" y="connsiteY3133"/>
              </a:cxn>
              <a:cxn ang="0">
                <a:pos x="connsiteX3134" y="connsiteY3134"/>
              </a:cxn>
              <a:cxn ang="0">
                <a:pos x="connsiteX3135" y="connsiteY3135"/>
              </a:cxn>
              <a:cxn ang="0">
                <a:pos x="connsiteX3136" y="connsiteY3136"/>
              </a:cxn>
              <a:cxn ang="0">
                <a:pos x="connsiteX3137" y="connsiteY3137"/>
              </a:cxn>
              <a:cxn ang="0">
                <a:pos x="connsiteX3138" y="connsiteY3138"/>
              </a:cxn>
              <a:cxn ang="0">
                <a:pos x="connsiteX3139" y="connsiteY3139"/>
              </a:cxn>
              <a:cxn ang="0">
                <a:pos x="connsiteX3140" y="connsiteY3140"/>
              </a:cxn>
              <a:cxn ang="0">
                <a:pos x="connsiteX3141" y="connsiteY3141"/>
              </a:cxn>
              <a:cxn ang="0">
                <a:pos x="connsiteX3142" y="connsiteY3142"/>
              </a:cxn>
              <a:cxn ang="0">
                <a:pos x="connsiteX3143" y="connsiteY3143"/>
              </a:cxn>
              <a:cxn ang="0">
                <a:pos x="connsiteX3144" y="connsiteY3144"/>
              </a:cxn>
              <a:cxn ang="0">
                <a:pos x="connsiteX3145" y="connsiteY3145"/>
              </a:cxn>
              <a:cxn ang="0">
                <a:pos x="connsiteX3146" y="connsiteY3146"/>
              </a:cxn>
              <a:cxn ang="0">
                <a:pos x="connsiteX3147" y="connsiteY3147"/>
              </a:cxn>
              <a:cxn ang="0">
                <a:pos x="connsiteX3148" y="connsiteY3148"/>
              </a:cxn>
              <a:cxn ang="0">
                <a:pos x="connsiteX3149" y="connsiteY3149"/>
              </a:cxn>
              <a:cxn ang="0">
                <a:pos x="connsiteX3150" y="connsiteY3150"/>
              </a:cxn>
              <a:cxn ang="0">
                <a:pos x="connsiteX3151" y="connsiteY3151"/>
              </a:cxn>
              <a:cxn ang="0">
                <a:pos x="connsiteX3152" y="connsiteY3152"/>
              </a:cxn>
              <a:cxn ang="0">
                <a:pos x="connsiteX3153" y="connsiteY3153"/>
              </a:cxn>
              <a:cxn ang="0">
                <a:pos x="connsiteX3154" y="connsiteY3154"/>
              </a:cxn>
              <a:cxn ang="0">
                <a:pos x="connsiteX3155" y="connsiteY3155"/>
              </a:cxn>
              <a:cxn ang="0">
                <a:pos x="connsiteX3156" y="connsiteY3156"/>
              </a:cxn>
              <a:cxn ang="0">
                <a:pos x="connsiteX3157" y="connsiteY3157"/>
              </a:cxn>
              <a:cxn ang="0">
                <a:pos x="connsiteX3158" y="connsiteY3158"/>
              </a:cxn>
              <a:cxn ang="0">
                <a:pos x="connsiteX3159" y="connsiteY3159"/>
              </a:cxn>
              <a:cxn ang="0">
                <a:pos x="connsiteX3160" y="connsiteY3160"/>
              </a:cxn>
              <a:cxn ang="0">
                <a:pos x="connsiteX3161" y="connsiteY3161"/>
              </a:cxn>
              <a:cxn ang="0">
                <a:pos x="connsiteX3162" y="connsiteY3162"/>
              </a:cxn>
              <a:cxn ang="0">
                <a:pos x="connsiteX3163" y="connsiteY3163"/>
              </a:cxn>
              <a:cxn ang="0">
                <a:pos x="connsiteX3164" y="connsiteY3164"/>
              </a:cxn>
              <a:cxn ang="0">
                <a:pos x="connsiteX3165" y="connsiteY3165"/>
              </a:cxn>
              <a:cxn ang="0">
                <a:pos x="connsiteX3166" y="connsiteY3166"/>
              </a:cxn>
              <a:cxn ang="0">
                <a:pos x="connsiteX3167" y="connsiteY3167"/>
              </a:cxn>
              <a:cxn ang="0">
                <a:pos x="connsiteX3168" y="connsiteY3168"/>
              </a:cxn>
              <a:cxn ang="0">
                <a:pos x="connsiteX3169" y="connsiteY3169"/>
              </a:cxn>
              <a:cxn ang="0">
                <a:pos x="connsiteX3170" y="connsiteY3170"/>
              </a:cxn>
              <a:cxn ang="0">
                <a:pos x="connsiteX3171" y="connsiteY3171"/>
              </a:cxn>
              <a:cxn ang="0">
                <a:pos x="connsiteX3172" y="connsiteY3172"/>
              </a:cxn>
              <a:cxn ang="0">
                <a:pos x="connsiteX3173" y="connsiteY3173"/>
              </a:cxn>
              <a:cxn ang="0">
                <a:pos x="connsiteX3174" y="connsiteY3174"/>
              </a:cxn>
              <a:cxn ang="0">
                <a:pos x="connsiteX3175" y="connsiteY3175"/>
              </a:cxn>
              <a:cxn ang="0">
                <a:pos x="connsiteX3176" y="connsiteY3176"/>
              </a:cxn>
              <a:cxn ang="0">
                <a:pos x="connsiteX3177" y="connsiteY3177"/>
              </a:cxn>
              <a:cxn ang="0">
                <a:pos x="connsiteX3178" y="connsiteY3178"/>
              </a:cxn>
              <a:cxn ang="0">
                <a:pos x="connsiteX3179" y="connsiteY3179"/>
              </a:cxn>
              <a:cxn ang="0">
                <a:pos x="connsiteX3180" y="connsiteY3180"/>
              </a:cxn>
              <a:cxn ang="0">
                <a:pos x="connsiteX3181" y="connsiteY3181"/>
              </a:cxn>
              <a:cxn ang="0">
                <a:pos x="connsiteX3182" y="connsiteY3182"/>
              </a:cxn>
              <a:cxn ang="0">
                <a:pos x="connsiteX3183" y="connsiteY3183"/>
              </a:cxn>
              <a:cxn ang="0">
                <a:pos x="connsiteX3184" y="connsiteY3184"/>
              </a:cxn>
              <a:cxn ang="0">
                <a:pos x="connsiteX3185" y="connsiteY3185"/>
              </a:cxn>
              <a:cxn ang="0">
                <a:pos x="connsiteX3186" y="connsiteY3186"/>
              </a:cxn>
              <a:cxn ang="0">
                <a:pos x="connsiteX3187" y="connsiteY3187"/>
              </a:cxn>
              <a:cxn ang="0">
                <a:pos x="connsiteX3188" y="connsiteY3188"/>
              </a:cxn>
              <a:cxn ang="0">
                <a:pos x="connsiteX3189" y="connsiteY3189"/>
              </a:cxn>
              <a:cxn ang="0">
                <a:pos x="connsiteX3190" y="connsiteY3190"/>
              </a:cxn>
              <a:cxn ang="0">
                <a:pos x="connsiteX3191" y="connsiteY3191"/>
              </a:cxn>
              <a:cxn ang="0">
                <a:pos x="connsiteX3192" y="connsiteY3192"/>
              </a:cxn>
              <a:cxn ang="0">
                <a:pos x="connsiteX3193" y="connsiteY3193"/>
              </a:cxn>
              <a:cxn ang="0">
                <a:pos x="connsiteX3194" y="connsiteY3194"/>
              </a:cxn>
              <a:cxn ang="0">
                <a:pos x="connsiteX3195" y="connsiteY3195"/>
              </a:cxn>
              <a:cxn ang="0">
                <a:pos x="connsiteX3196" y="connsiteY3196"/>
              </a:cxn>
              <a:cxn ang="0">
                <a:pos x="connsiteX3197" y="connsiteY3197"/>
              </a:cxn>
              <a:cxn ang="0">
                <a:pos x="connsiteX3198" y="connsiteY3198"/>
              </a:cxn>
              <a:cxn ang="0">
                <a:pos x="connsiteX3199" y="connsiteY3199"/>
              </a:cxn>
              <a:cxn ang="0">
                <a:pos x="connsiteX3200" y="connsiteY3200"/>
              </a:cxn>
              <a:cxn ang="0">
                <a:pos x="connsiteX3201" y="connsiteY3201"/>
              </a:cxn>
              <a:cxn ang="0">
                <a:pos x="connsiteX3202" y="connsiteY3202"/>
              </a:cxn>
              <a:cxn ang="0">
                <a:pos x="connsiteX3203" y="connsiteY3203"/>
              </a:cxn>
              <a:cxn ang="0">
                <a:pos x="connsiteX3204" y="connsiteY3204"/>
              </a:cxn>
              <a:cxn ang="0">
                <a:pos x="connsiteX3205" y="connsiteY3205"/>
              </a:cxn>
              <a:cxn ang="0">
                <a:pos x="connsiteX3206" y="connsiteY3206"/>
              </a:cxn>
              <a:cxn ang="0">
                <a:pos x="connsiteX3207" y="connsiteY3207"/>
              </a:cxn>
              <a:cxn ang="0">
                <a:pos x="connsiteX3208" y="connsiteY3208"/>
              </a:cxn>
              <a:cxn ang="0">
                <a:pos x="connsiteX3209" y="connsiteY3209"/>
              </a:cxn>
              <a:cxn ang="0">
                <a:pos x="connsiteX3210" y="connsiteY3210"/>
              </a:cxn>
              <a:cxn ang="0">
                <a:pos x="connsiteX3211" y="connsiteY3211"/>
              </a:cxn>
              <a:cxn ang="0">
                <a:pos x="connsiteX3212" y="connsiteY3212"/>
              </a:cxn>
              <a:cxn ang="0">
                <a:pos x="connsiteX3213" y="connsiteY3213"/>
              </a:cxn>
              <a:cxn ang="0">
                <a:pos x="connsiteX3214" y="connsiteY3214"/>
              </a:cxn>
              <a:cxn ang="0">
                <a:pos x="connsiteX3215" y="connsiteY3215"/>
              </a:cxn>
              <a:cxn ang="0">
                <a:pos x="connsiteX3216" y="connsiteY3216"/>
              </a:cxn>
              <a:cxn ang="0">
                <a:pos x="connsiteX3217" y="connsiteY3217"/>
              </a:cxn>
              <a:cxn ang="0">
                <a:pos x="connsiteX3218" y="connsiteY3218"/>
              </a:cxn>
              <a:cxn ang="0">
                <a:pos x="connsiteX3219" y="connsiteY3219"/>
              </a:cxn>
              <a:cxn ang="0">
                <a:pos x="connsiteX3220" y="connsiteY3220"/>
              </a:cxn>
              <a:cxn ang="0">
                <a:pos x="connsiteX3221" y="connsiteY3221"/>
              </a:cxn>
              <a:cxn ang="0">
                <a:pos x="connsiteX3222" y="connsiteY3222"/>
              </a:cxn>
              <a:cxn ang="0">
                <a:pos x="connsiteX3223" y="connsiteY3223"/>
              </a:cxn>
              <a:cxn ang="0">
                <a:pos x="connsiteX3224" y="connsiteY3224"/>
              </a:cxn>
              <a:cxn ang="0">
                <a:pos x="connsiteX3225" y="connsiteY3225"/>
              </a:cxn>
              <a:cxn ang="0">
                <a:pos x="connsiteX3226" y="connsiteY3226"/>
              </a:cxn>
              <a:cxn ang="0">
                <a:pos x="connsiteX3227" y="connsiteY3227"/>
              </a:cxn>
              <a:cxn ang="0">
                <a:pos x="connsiteX3228" y="connsiteY3228"/>
              </a:cxn>
              <a:cxn ang="0">
                <a:pos x="connsiteX3229" y="connsiteY3229"/>
              </a:cxn>
              <a:cxn ang="0">
                <a:pos x="connsiteX3230" y="connsiteY3230"/>
              </a:cxn>
              <a:cxn ang="0">
                <a:pos x="connsiteX3231" y="connsiteY3231"/>
              </a:cxn>
              <a:cxn ang="0">
                <a:pos x="connsiteX3232" y="connsiteY3232"/>
              </a:cxn>
              <a:cxn ang="0">
                <a:pos x="connsiteX3233" y="connsiteY3233"/>
              </a:cxn>
              <a:cxn ang="0">
                <a:pos x="connsiteX3234" y="connsiteY3234"/>
              </a:cxn>
              <a:cxn ang="0">
                <a:pos x="connsiteX3235" y="connsiteY3235"/>
              </a:cxn>
              <a:cxn ang="0">
                <a:pos x="connsiteX3236" y="connsiteY3236"/>
              </a:cxn>
              <a:cxn ang="0">
                <a:pos x="connsiteX3237" y="connsiteY3237"/>
              </a:cxn>
              <a:cxn ang="0">
                <a:pos x="connsiteX3238" y="connsiteY3238"/>
              </a:cxn>
              <a:cxn ang="0">
                <a:pos x="connsiteX3239" y="connsiteY3239"/>
              </a:cxn>
              <a:cxn ang="0">
                <a:pos x="connsiteX3240" y="connsiteY3240"/>
              </a:cxn>
              <a:cxn ang="0">
                <a:pos x="connsiteX3241" y="connsiteY3241"/>
              </a:cxn>
              <a:cxn ang="0">
                <a:pos x="connsiteX3242" y="connsiteY3242"/>
              </a:cxn>
              <a:cxn ang="0">
                <a:pos x="connsiteX3243" y="connsiteY3243"/>
              </a:cxn>
              <a:cxn ang="0">
                <a:pos x="connsiteX3244" y="connsiteY3244"/>
              </a:cxn>
              <a:cxn ang="0">
                <a:pos x="connsiteX3245" y="connsiteY3245"/>
              </a:cxn>
              <a:cxn ang="0">
                <a:pos x="connsiteX3246" y="connsiteY3246"/>
              </a:cxn>
              <a:cxn ang="0">
                <a:pos x="connsiteX3247" y="connsiteY3247"/>
              </a:cxn>
              <a:cxn ang="0">
                <a:pos x="connsiteX3248" y="connsiteY3248"/>
              </a:cxn>
              <a:cxn ang="0">
                <a:pos x="connsiteX3249" y="connsiteY3249"/>
              </a:cxn>
              <a:cxn ang="0">
                <a:pos x="connsiteX3250" y="connsiteY3250"/>
              </a:cxn>
              <a:cxn ang="0">
                <a:pos x="connsiteX3251" y="connsiteY3251"/>
              </a:cxn>
              <a:cxn ang="0">
                <a:pos x="connsiteX3252" y="connsiteY3252"/>
              </a:cxn>
              <a:cxn ang="0">
                <a:pos x="connsiteX3253" y="connsiteY3253"/>
              </a:cxn>
              <a:cxn ang="0">
                <a:pos x="connsiteX3254" y="connsiteY3254"/>
              </a:cxn>
              <a:cxn ang="0">
                <a:pos x="connsiteX3255" y="connsiteY3255"/>
              </a:cxn>
              <a:cxn ang="0">
                <a:pos x="connsiteX3256" y="connsiteY3256"/>
              </a:cxn>
              <a:cxn ang="0">
                <a:pos x="connsiteX3257" y="connsiteY3257"/>
              </a:cxn>
              <a:cxn ang="0">
                <a:pos x="connsiteX3258" y="connsiteY3258"/>
              </a:cxn>
              <a:cxn ang="0">
                <a:pos x="connsiteX3259" y="connsiteY3259"/>
              </a:cxn>
              <a:cxn ang="0">
                <a:pos x="connsiteX3260" y="connsiteY3260"/>
              </a:cxn>
              <a:cxn ang="0">
                <a:pos x="connsiteX3261" y="connsiteY3261"/>
              </a:cxn>
              <a:cxn ang="0">
                <a:pos x="connsiteX3262" y="connsiteY3262"/>
              </a:cxn>
              <a:cxn ang="0">
                <a:pos x="connsiteX3263" y="connsiteY3263"/>
              </a:cxn>
              <a:cxn ang="0">
                <a:pos x="connsiteX3264" y="connsiteY3264"/>
              </a:cxn>
              <a:cxn ang="0">
                <a:pos x="connsiteX3265" y="connsiteY3265"/>
              </a:cxn>
              <a:cxn ang="0">
                <a:pos x="connsiteX3266" y="connsiteY3266"/>
              </a:cxn>
              <a:cxn ang="0">
                <a:pos x="connsiteX3267" y="connsiteY3267"/>
              </a:cxn>
              <a:cxn ang="0">
                <a:pos x="connsiteX3268" y="connsiteY3268"/>
              </a:cxn>
              <a:cxn ang="0">
                <a:pos x="connsiteX3269" y="connsiteY3269"/>
              </a:cxn>
              <a:cxn ang="0">
                <a:pos x="connsiteX3270" y="connsiteY3270"/>
              </a:cxn>
              <a:cxn ang="0">
                <a:pos x="connsiteX3271" y="connsiteY3271"/>
              </a:cxn>
              <a:cxn ang="0">
                <a:pos x="connsiteX3272" y="connsiteY3272"/>
              </a:cxn>
              <a:cxn ang="0">
                <a:pos x="connsiteX3273" y="connsiteY3273"/>
              </a:cxn>
              <a:cxn ang="0">
                <a:pos x="connsiteX3274" y="connsiteY3274"/>
              </a:cxn>
              <a:cxn ang="0">
                <a:pos x="connsiteX3275" y="connsiteY3275"/>
              </a:cxn>
              <a:cxn ang="0">
                <a:pos x="connsiteX3276" y="connsiteY3276"/>
              </a:cxn>
              <a:cxn ang="0">
                <a:pos x="connsiteX3277" y="connsiteY3277"/>
              </a:cxn>
              <a:cxn ang="0">
                <a:pos x="connsiteX3278" y="connsiteY3278"/>
              </a:cxn>
              <a:cxn ang="0">
                <a:pos x="connsiteX3279" y="connsiteY3279"/>
              </a:cxn>
              <a:cxn ang="0">
                <a:pos x="connsiteX3280" y="connsiteY3280"/>
              </a:cxn>
              <a:cxn ang="0">
                <a:pos x="connsiteX3281" y="connsiteY3281"/>
              </a:cxn>
              <a:cxn ang="0">
                <a:pos x="connsiteX3282" y="connsiteY3282"/>
              </a:cxn>
              <a:cxn ang="0">
                <a:pos x="connsiteX3283" y="connsiteY3283"/>
              </a:cxn>
              <a:cxn ang="0">
                <a:pos x="connsiteX3284" y="connsiteY3284"/>
              </a:cxn>
              <a:cxn ang="0">
                <a:pos x="connsiteX3285" y="connsiteY3285"/>
              </a:cxn>
              <a:cxn ang="0">
                <a:pos x="connsiteX3286" y="connsiteY3286"/>
              </a:cxn>
              <a:cxn ang="0">
                <a:pos x="connsiteX3287" y="connsiteY3287"/>
              </a:cxn>
              <a:cxn ang="0">
                <a:pos x="connsiteX3288" y="connsiteY3288"/>
              </a:cxn>
              <a:cxn ang="0">
                <a:pos x="connsiteX3289" y="connsiteY3289"/>
              </a:cxn>
              <a:cxn ang="0">
                <a:pos x="connsiteX3290" y="connsiteY3290"/>
              </a:cxn>
              <a:cxn ang="0">
                <a:pos x="connsiteX3291" y="connsiteY3291"/>
              </a:cxn>
              <a:cxn ang="0">
                <a:pos x="connsiteX3292" y="connsiteY3292"/>
              </a:cxn>
              <a:cxn ang="0">
                <a:pos x="connsiteX3293" y="connsiteY3293"/>
              </a:cxn>
              <a:cxn ang="0">
                <a:pos x="connsiteX3294" y="connsiteY3294"/>
              </a:cxn>
              <a:cxn ang="0">
                <a:pos x="connsiteX3295" y="connsiteY3295"/>
              </a:cxn>
              <a:cxn ang="0">
                <a:pos x="connsiteX3296" y="connsiteY3296"/>
              </a:cxn>
              <a:cxn ang="0">
                <a:pos x="connsiteX3297" y="connsiteY3297"/>
              </a:cxn>
              <a:cxn ang="0">
                <a:pos x="connsiteX3298" y="connsiteY3298"/>
              </a:cxn>
              <a:cxn ang="0">
                <a:pos x="connsiteX3299" y="connsiteY3299"/>
              </a:cxn>
              <a:cxn ang="0">
                <a:pos x="connsiteX3300" y="connsiteY3300"/>
              </a:cxn>
              <a:cxn ang="0">
                <a:pos x="connsiteX3301" y="connsiteY3301"/>
              </a:cxn>
              <a:cxn ang="0">
                <a:pos x="connsiteX3302" y="connsiteY3302"/>
              </a:cxn>
              <a:cxn ang="0">
                <a:pos x="connsiteX3303" y="connsiteY3303"/>
              </a:cxn>
              <a:cxn ang="0">
                <a:pos x="connsiteX3304" y="connsiteY3304"/>
              </a:cxn>
              <a:cxn ang="0">
                <a:pos x="connsiteX3305" y="connsiteY3305"/>
              </a:cxn>
              <a:cxn ang="0">
                <a:pos x="connsiteX3306" y="connsiteY3306"/>
              </a:cxn>
              <a:cxn ang="0">
                <a:pos x="connsiteX3307" y="connsiteY3307"/>
              </a:cxn>
              <a:cxn ang="0">
                <a:pos x="connsiteX3308" y="connsiteY3308"/>
              </a:cxn>
              <a:cxn ang="0">
                <a:pos x="connsiteX3309" y="connsiteY3309"/>
              </a:cxn>
              <a:cxn ang="0">
                <a:pos x="connsiteX3310" y="connsiteY3310"/>
              </a:cxn>
              <a:cxn ang="0">
                <a:pos x="connsiteX3311" y="connsiteY3311"/>
              </a:cxn>
              <a:cxn ang="0">
                <a:pos x="connsiteX3312" y="connsiteY3312"/>
              </a:cxn>
              <a:cxn ang="0">
                <a:pos x="connsiteX3313" y="connsiteY3313"/>
              </a:cxn>
              <a:cxn ang="0">
                <a:pos x="connsiteX3314" y="connsiteY3314"/>
              </a:cxn>
              <a:cxn ang="0">
                <a:pos x="connsiteX3315" y="connsiteY3315"/>
              </a:cxn>
              <a:cxn ang="0">
                <a:pos x="connsiteX3316" y="connsiteY3316"/>
              </a:cxn>
              <a:cxn ang="0">
                <a:pos x="connsiteX3317" y="connsiteY3317"/>
              </a:cxn>
              <a:cxn ang="0">
                <a:pos x="connsiteX3318" y="connsiteY3318"/>
              </a:cxn>
              <a:cxn ang="0">
                <a:pos x="connsiteX3319" y="connsiteY3319"/>
              </a:cxn>
              <a:cxn ang="0">
                <a:pos x="connsiteX3320" y="connsiteY3320"/>
              </a:cxn>
              <a:cxn ang="0">
                <a:pos x="connsiteX3321" y="connsiteY3321"/>
              </a:cxn>
              <a:cxn ang="0">
                <a:pos x="connsiteX3322" y="connsiteY3322"/>
              </a:cxn>
              <a:cxn ang="0">
                <a:pos x="connsiteX3323" y="connsiteY3323"/>
              </a:cxn>
              <a:cxn ang="0">
                <a:pos x="connsiteX3324" y="connsiteY3324"/>
              </a:cxn>
              <a:cxn ang="0">
                <a:pos x="connsiteX3325" y="connsiteY3325"/>
              </a:cxn>
              <a:cxn ang="0">
                <a:pos x="connsiteX3326" y="connsiteY3326"/>
              </a:cxn>
              <a:cxn ang="0">
                <a:pos x="connsiteX3327" y="connsiteY3327"/>
              </a:cxn>
              <a:cxn ang="0">
                <a:pos x="connsiteX3328" y="connsiteY3328"/>
              </a:cxn>
              <a:cxn ang="0">
                <a:pos x="connsiteX3329" y="connsiteY3329"/>
              </a:cxn>
              <a:cxn ang="0">
                <a:pos x="connsiteX3330" y="connsiteY3330"/>
              </a:cxn>
              <a:cxn ang="0">
                <a:pos x="connsiteX3331" y="connsiteY3331"/>
              </a:cxn>
              <a:cxn ang="0">
                <a:pos x="connsiteX3332" y="connsiteY3332"/>
              </a:cxn>
              <a:cxn ang="0">
                <a:pos x="connsiteX3333" y="connsiteY3333"/>
              </a:cxn>
              <a:cxn ang="0">
                <a:pos x="connsiteX3334" y="connsiteY3334"/>
              </a:cxn>
              <a:cxn ang="0">
                <a:pos x="connsiteX3335" y="connsiteY3335"/>
              </a:cxn>
              <a:cxn ang="0">
                <a:pos x="connsiteX3336" y="connsiteY3336"/>
              </a:cxn>
              <a:cxn ang="0">
                <a:pos x="connsiteX3337" y="connsiteY3337"/>
              </a:cxn>
              <a:cxn ang="0">
                <a:pos x="connsiteX3338" y="connsiteY3338"/>
              </a:cxn>
              <a:cxn ang="0">
                <a:pos x="connsiteX3339" y="connsiteY3339"/>
              </a:cxn>
              <a:cxn ang="0">
                <a:pos x="connsiteX3340" y="connsiteY3340"/>
              </a:cxn>
              <a:cxn ang="0">
                <a:pos x="connsiteX3341" y="connsiteY3341"/>
              </a:cxn>
              <a:cxn ang="0">
                <a:pos x="connsiteX3342" y="connsiteY3342"/>
              </a:cxn>
              <a:cxn ang="0">
                <a:pos x="connsiteX3343" y="connsiteY3343"/>
              </a:cxn>
              <a:cxn ang="0">
                <a:pos x="connsiteX3344" y="connsiteY3344"/>
              </a:cxn>
              <a:cxn ang="0">
                <a:pos x="connsiteX3345" y="connsiteY3345"/>
              </a:cxn>
              <a:cxn ang="0">
                <a:pos x="connsiteX3346" y="connsiteY3346"/>
              </a:cxn>
              <a:cxn ang="0">
                <a:pos x="connsiteX3347" y="connsiteY3347"/>
              </a:cxn>
              <a:cxn ang="0">
                <a:pos x="connsiteX3348" y="connsiteY3348"/>
              </a:cxn>
              <a:cxn ang="0">
                <a:pos x="connsiteX3349" y="connsiteY3349"/>
              </a:cxn>
              <a:cxn ang="0">
                <a:pos x="connsiteX3350" y="connsiteY3350"/>
              </a:cxn>
              <a:cxn ang="0">
                <a:pos x="connsiteX3351" y="connsiteY3351"/>
              </a:cxn>
              <a:cxn ang="0">
                <a:pos x="connsiteX3352" y="connsiteY3352"/>
              </a:cxn>
              <a:cxn ang="0">
                <a:pos x="connsiteX3353" y="connsiteY3353"/>
              </a:cxn>
              <a:cxn ang="0">
                <a:pos x="connsiteX3354" y="connsiteY3354"/>
              </a:cxn>
              <a:cxn ang="0">
                <a:pos x="connsiteX3355" y="connsiteY3355"/>
              </a:cxn>
              <a:cxn ang="0">
                <a:pos x="connsiteX3356" y="connsiteY3356"/>
              </a:cxn>
              <a:cxn ang="0">
                <a:pos x="connsiteX3357" y="connsiteY3357"/>
              </a:cxn>
              <a:cxn ang="0">
                <a:pos x="connsiteX3358" y="connsiteY3358"/>
              </a:cxn>
              <a:cxn ang="0">
                <a:pos x="connsiteX3359" y="connsiteY3359"/>
              </a:cxn>
              <a:cxn ang="0">
                <a:pos x="connsiteX3360" y="connsiteY3360"/>
              </a:cxn>
              <a:cxn ang="0">
                <a:pos x="connsiteX3361" y="connsiteY3361"/>
              </a:cxn>
              <a:cxn ang="0">
                <a:pos x="connsiteX3362" y="connsiteY3362"/>
              </a:cxn>
              <a:cxn ang="0">
                <a:pos x="connsiteX3363" y="connsiteY3363"/>
              </a:cxn>
              <a:cxn ang="0">
                <a:pos x="connsiteX3364" y="connsiteY3364"/>
              </a:cxn>
              <a:cxn ang="0">
                <a:pos x="connsiteX3365" y="connsiteY3365"/>
              </a:cxn>
              <a:cxn ang="0">
                <a:pos x="connsiteX3366" y="connsiteY3366"/>
              </a:cxn>
              <a:cxn ang="0">
                <a:pos x="connsiteX3367" y="connsiteY3367"/>
              </a:cxn>
              <a:cxn ang="0">
                <a:pos x="connsiteX3368" y="connsiteY3368"/>
              </a:cxn>
              <a:cxn ang="0">
                <a:pos x="connsiteX3369" y="connsiteY3369"/>
              </a:cxn>
              <a:cxn ang="0">
                <a:pos x="connsiteX3370" y="connsiteY3370"/>
              </a:cxn>
              <a:cxn ang="0">
                <a:pos x="connsiteX3371" y="connsiteY3371"/>
              </a:cxn>
              <a:cxn ang="0">
                <a:pos x="connsiteX3372" y="connsiteY3372"/>
              </a:cxn>
              <a:cxn ang="0">
                <a:pos x="connsiteX3373" y="connsiteY3373"/>
              </a:cxn>
              <a:cxn ang="0">
                <a:pos x="connsiteX3374" y="connsiteY3374"/>
              </a:cxn>
              <a:cxn ang="0">
                <a:pos x="connsiteX3375" y="connsiteY3375"/>
              </a:cxn>
              <a:cxn ang="0">
                <a:pos x="connsiteX3376" y="connsiteY3376"/>
              </a:cxn>
              <a:cxn ang="0">
                <a:pos x="connsiteX3377" y="connsiteY3377"/>
              </a:cxn>
              <a:cxn ang="0">
                <a:pos x="connsiteX3378" y="connsiteY3378"/>
              </a:cxn>
              <a:cxn ang="0">
                <a:pos x="connsiteX3379" y="connsiteY3379"/>
              </a:cxn>
              <a:cxn ang="0">
                <a:pos x="connsiteX3380" y="connsiteY3380"/>
              </a:cxn>
              <a:cxn ang="0">
                <a:pos x="connsiteX3381" y="connsiteY3381"/>
              </a:cxn>
              <a:cxn ang="0">
                <a:pos x="connsiteX3382" y="connsiteY3382"/>
              </a:cxn>
              <a:cxn ang="0">
                <a:pos x="connsiteX3383" y="connsiteY3383"/>
              </a:cxn>
              <a:cxn ang="0">
                <a:pos x="connsiteX3384" y="connsiteY3384"/>
              </a:cxn>
              <a:cxn ang="0">
                <a:pos x="connsiteX3385" y="connsiteY3385"/>
              </a:cxn>
              <a:cxn ang="0">
                <a:pos x="connsiteX3386" y="connsiteY3386"/>
              </a:cxn>
              <a:cxn ang="0">
                <a:pos x="connsiteX3387" y="connsiteY3387"/>
              </a:cxn>
              <a:cxn ang="0">
                <a:pos x="connsiteX3388" y="connsiteY3388"/>
              </a:cxn>
              <a:cxn ang="0">
                <a:pos x="connsiteX3389" y="connsiteY3389"/>
              </a:cxn>
              <a:cxn ang="0">
                <a:pos x="connsiteX3390" y="connsiteY3390"/>
              </a:cxn>
              <a:cxn ang="0">
                <a:pos x="connsiteX3391" y="connsiteY3391"/>
              </a:cxn>
              <a:cxn ang="0">
                <a:pos x="connsiteX3392" y="connsiteY3392"/>
              </a:cxn>
              <a:cxn ang="0">
                <a:pos x="connsiteX3393" y="connsiteY3393"/>
              </a:cxn>
              <a:cxn ang="0">
                <a:pos x="connsiteX3394" y="connsiteY3394"/>
              </a:cxn>
              <a:cxn ang="0">
                <a:pos x="connsiteX3395" y="connsiteY3395"/>
              </a:cxn>
              <a:cxn ang="0">
                <a:pos x="connsiteX3396" y="connsiteY3396"/>
              </a:cxn>
              <a:cxn ang="0">
                <a:pos x="connsiteX3397" y="connsiteY3397"/>
              </a:cxn>
              <a:cxn ang="0">
                <a:pos x="connsiteX3398" y="connsiteY3398"/>
              </a:cxn>
              <a:cxn ang="0">
                <a:pos x="connsiteX3399" y="connsiteY3399"/>
              </a:cxn>
              <a:cxn ang="0">
                <a:pos x="connsiteX3400" y="connsiteY3400"/>
              </a:cxn>
              <a:cxn ang="0">
                <a:pos x="connsiteX3401" y="connsiteY3401"/>
              </a:cxn>
              <a:cxn ang="0">
                <a:pos x="connsiteX3402" y="connsiteY3402"/>
              </a:cxn>
              <a:cxn ang="0">
                <a:pos x="connsiteX3403" y="connsiteY3403"/>
              </a:cxn>
              <a:cxn ang="0">
                <a:pos x="connsiteX3404" y="connsiteY3404"/>
              </a:cxn>
              <a:cxn ang="0">
                <a:pos x="connsiteX3405" y="connsiteY3405"/>
              </a:cxn>
              <a:cxn ang="0">
                <a:pos x="connsiteX3406" y="connsiteY3406"/>
              </a:cxn>
              <a:cxn ang="0">
                <a:pos x="connsiteX3407" y="connsiteY3407"/>
              </a:cxn>
              <a:cxn ang="0">
                <a:pos x="connsiteX3408" y="connsiteY3408"/>
              </a:cxn>
              <a:cxn ang="0">
                <a:pos x="connsiteX3409" y="connsiteY3409"/>
              </a:cxn>
              <a:cxn ang="0">
                <a:pos x="connsiteX3410" y="connsiteY3410"/>
              </a:cxn>
              <a:cxn ang="0">
                <a:pos x="connsiteX3411" y="connsiteY3411"/>
              </a:cxn>
              <a:cxn ang="0">
                <a:pos x="connsiteX3412" y="connsiteY3412"/>
              </a:cxn>
              <a:cxn ang="0">
                <a:pos x="connsiteX3413" y="connsiteY3413"/>
              </a:cxn>
              <a:cxn ang="0">
                <a:pos x="connsiteX3414" y="connsiteY3414"/>
              </a:cxn>
              <a:cxn ang="0">
                <a:pos x="connsiteX3415" y="connsiteY3415"/>
              </a:cxn>
              <a:cxn ang="0">
                <a:pos x="connsiteX3416" y="connsiteY3416"/>
              </a:cxn>
              <a:cxn ang="0">
                <a:pos x="connsiteX3417" y="connsiteY3417"/>
              </a:cxn>
              <a:cxn ang="0">
                <a:pos x="connsiteX3418" y="connsiteY3418"/>
              </a:cxn>
              <a:cxn ang="0">
                <a:pos x="connsiteX3419" y="connsiteY3419"/>
              </a:cxn>
              <a:cxn ang="0">
                <a:pos x="connsiteX3420" y="connsiteY3420"/>
              </a:cxn>
              <a:cxn ang="0">
                <a:pos x="connsiteX3421" y="connsiteY3421"/>
              </a:cxn>
              <a:cxn ang="0">
                <a:pos x="connsiteX3422" y="connsiteY3422"/>
              </a:cxn>
              <a:cxn ang="0">
                <a:pos x="connsiteX3423" y="connsiteY3423"/>
              </a:cxn>
              <a:cxn ang="0">
                <a:pos x="connsiteX3424" y="connsiteY3424"/>
              </a:cxn>
              <a:cxn ang="0">
                <a:pos x="connsiteX3425" y="connsiteY3425"/>
              </a:cxn>
              <a:cxn ang="0">
                <a:pos x="connsiteX3426" y="connsiteY3426"/>
              </a:cxn>
              <a:cxn ang="0">
                <a:pos x="connsiteX3427" y="connsiteY3427"/>
              </a:cxn>
              <a:cxn ang="0">
                <a:pos x="connsiteX3428" y="connsiteY3428"/>
              </a:cxn>
              <a:cxn ang="0">
                <a:pos x="connsiteX3429" y="connsiteY3429"/>
              </a:cxn>
              <a:cxn ang="0">
                <a:pos x="connsiteX3430" y="connsiteY3430"/>
              </a:cxn>
              <a:cxn ang="0">
                <a:pos x="connsiteX3431" y="connsiteY3431"/>
              </a:cxn>
              <a:cxn ang="0">
                <a:pos x="connsiteX3432" y="connsiteY3432"/>
              </a:cxn>
              <a:cxn ang="0">
                <a:pos x="connsiteX3433" y="connsiteY3433"/>
              </a:cxn>
              <a:cxn ang="0">
                <a:pos x="connsiteX3434" y="connsiteY3434"/>
              </a:cxn>
              <a:cxn ang="0">
                <a:pos x="connsiteX3435" y="connsiteY3435"/>
              </a:cxn>
              <a:cxn ang="0">
                <a:pos x="connsiteX3436" y="connsiteY3436"/>
              </a:cxn>
              <a:cxn ang="0">
                <a:pos x="connsiteX3437" y="connsiteY3437"/>
              </a:cxn>
              <a:cxn ang="0">
                <a:pos x="connsiteX3438" y="connsiteY3438"/>
              </a:cxn>
              <a:cxn ang="0">
                <a:pos x="connsiteX3439" y="connsiteY3439"/>
              </a:cxn>
              <a:cxn ang="0">
                <a:pos x="connsiteX3440" y="connsiteY3440"/>
              </a:cxn>
              <a:cxn ang="0">
                <a:pos x="connsiteX3441" y="connsiteY3441"/>
              </a:cxn>
              <a:cxn ang="0">
                <a:pos x="connsiteX3442" y="connsiteY3442"/>
              </a:cxn>
              <a:cxn ang="0">
                <a:pos x="connsiteX3443" y="connsiteY3443"/>
              </a:cxn>
              <a:cxn ang="0">
                <a:pos x="connsiteX3444" y="connsiteY3444"/>
              </a:cxn>
              <a:cxn ang="0">
                <a:pos x="connsiteX3445" y="connsiteY3445"/>
              </a:cxn>
              <a:cxn ang="0">
                <a:pos x="connsiteX3446" y="connsiteY3446"/>
              </a:cxn>
              <a:cxn ang="0">
                <a:pos x="connsiteX3447" y="connsiteY3447"/>
              </a:cxn>
              <a:cxn ang="0">
                <a:pos x="connsiteX3448" y="connsiteY3448"/>
              </a:cxn>
              <a:cxn ang="0">
                <a:pos x="connsiteX3449" y="connsiteY3449"/>
              </a:cxn>
              <a:cxn ang="0">
                <a:pos x="connsiteX3450" y="connsiteY3450"/>
              </a:cxn>
              <a:cxn ang="0">
                <a:pos x="connsiteX3451" y="connsiteY3451"/>
              </a:cxn>
              <a:cxn ang="0">
                <a:pos x="connsiteX3452" y="connsiteY3452"/>
              </a:cxn>
              <a:cxn ang="0">
                <a:pos x="connsiteX3453" y="connsiteY3453"/>
              </a:cxn>
              <a:cxn ang="0">
                <a:pos x="connsiteX3454" y="connsiteY3454"/>
              </a:cxn>
              <a:cxn ang="0">
                <a:pos x="connsiteX3455" y="connsiteY3455"/>
              </a:cxn>
              <a:cxn ang="0">
                <a:pos x="connsiteX3456" y="connsiteY3456"/>
              </a:cxn>
              <a:cxn ang="0">
                <a:pos x="connsiteX3457" y="connsiteY3457"/>
              </a:cxn>
              <a:cxn ang="0">
                <a:pos x="connsiteX3458" y="connsiteY3458"/>
              </a:cxn>
              <a:cxn ang="0">
                <a:pos x="connsiteX3459" y="connsiteY3459"/>
              </a:cxn>
              <a:cxn ang="0">
                <a:pos x="connsiteX3460" y="connsiteY3460"/>
              </a:cxn>
              <a:cxn ang="0">
                <a:pos x="connsiteX3461" y="connsiteY3461"/>
              </a:cxn>
              <a:cxn ang="0">
                <a:pos x="connsiteX3462" y="connsiteY3462"/>
              </a:cxn>
              <a:cxn ang="0">
                <a:pos x="connsiteX3463" y="connsiteY3463"/>
              </a:cxn>
              <a:cxn ang="0">
                <a:pos x="connsiteX3464" y="connsiteY3464"/>
              </a:cxn>
              <a:cxn ang="0">
                <a:pos x="connsiteX3465" y="connsiteY3465"/>
              </a:cxn>
              <a:cxn ang="0">
                <a:pos x="connsiteX3466" y="connsiteY3466"/>
              </a:cxn>
              <a:cxn ang="0">
                <a:pos x="connsiteX3467" y="connsiteY3467"/>
              </a:cxn>
              <a:cxn ang="0">
                <a:pos x="connsiteX3468" y="connsiteY3468"/>
              </a:cxn>
              <a:cxn ang="0">
                <a:pos x="connsiteX3469" y="connsiteY3469"/>
              </a:cxn>
              <a:cxn ang="0">
                <a:pos x="connsiteX3470" y="connsiteY3470"/>
              </a:cxn>
              <a:cxn ang="0">
                <a:pos x="connsiteX3471" y="connsiteY3471"/>
              </a:cxn>
              <a:cxn ang="0">
                <a:pos x="connsiteX3472" y="connsiteY3472"/>
              </a:cxn>
              <a:cxn ang="0">
                <a:pos x="connsiteX3473" y="connsiteY3473"/>
              </a:cxn>
              <a:cxn ang="0">
                <a:pos x="connsiteX3474" y="connsiteY3474"/>
              </a:cxn>
              <a:cxn ang="0">
                <a:pos x="connsiteX3475" y="connsiteY3475"/>
              </a:cxn>
              <a:cxn ang="0">
                <a:pos x="connsiteX3476" y="connsiteY3476"/>
              </a:cxn>
              <a:cxn ang="0">
                <a:pos x="connsiteX3477" y="connsiteY3477"/>
              </a:cxn>
              <a:cxn ang="0">
                <a:pos x="connsiteX3478" y="connsiteY3478"/>
              </a:cxn>
              <a:cxn ang="0">
                <a:pos x="connsiteX3479" y="connsiteY3479"/>
              </a:cxn>
              <a:cxn ang="0">
                <a:pos x="connsiteX3480" y="connsiteY3480"/>
              </a:cxn>
              <a:cxn ang="0">
                <a:pos x="connsiteX3481" y="connsiteY3481"/>
              </a:cxn>
              <a:cxn ang="0">
                <a:pos x="connsiteX3482" y="connsiteY3482"/>
              </a:cxn>
              <a:cxn ang="0">
                <a:pos x="connsiteX3483" y="connsiteY3483"/>
              </a:cxn>
              <a:cxn ang="0">
                <a:pos x="connsiteX3484" y="connsiteY3484"/>
              </a:cxn>
              <a:cxn ang="0">
                <a:pos x="connsiteX3485" y="connsiteY3485"/>
              </a:cxn>
              <a:cxn ang="0">
                <a:pos x="connsiteX3486" y="connsiteY3486"/>
              </a:cxn>
              <a:cxn ang="0">
                <a:pos x="connsiteX3487" y="connsiteY3487"/>
              </a:cxn>
              <a:cxn ang="0">
                <a:pos x="connsiteX3488" y="connsiteY3488"/>
              </a:cxn>
              <a:cxn ang="0">
                <a:pos x="connsiteX3489" y="connsiteY3489"/>
              </a:cxn>
              <a:cxn ang="0">
                <a:pos x="connsiteX3490" y="connsiteY3490"/>
              </a:cxn>
              <a:cxn ang="0">
                <a:pos x="connsiteX3491" y="connsiteY3491"/>
              </a:cxn>
              <a:cxn ang="0">
                <a:pos x="connsiteX3492" y="connsiteY3492"/>
              </a:cxn>
              <a:cxn ang="0">
                <a:pos x="connsiteX3493" y="connsiteY3493"/>
              </a:cxn>
              <a:cxn ang="0">
                <a:pos x="connsiteX3494" y="connsiteY3494"/>
              </a:cxn>
              <a:cxn ang="0">
                <a:pos x="connsiteX3495" y="connsiteY3495"/>
              </a:cxn>
              <a:cxn ang="0">
                <a:pos x="connsiteX3496" y="connsiteY3496"/>
              </a:cxn>
              <a:cxn ang="0">
                <a:pos x="connsiteX3497" y="connsiteY3497"/>
              </a:cxn>
              <a:cxn ang="0">
                <a:pos x="connsiteX3498" y="connsiteY3498"/>
              </a:cxn>
              <a:cxn ang="0">
                <a:pos x="connsiteX3499" y="connsiteY3499"/>
              </a:cxn>
              <a:cxn ang="0">
                <a:pos x="connsiteX3500" y="connsiteY3500"/>
              </a:cxn>
              <a:cxn ang="0">
                <a:pos x="connsiteX3501" y="connsiteY3501"/>
              </a:cxn>
              <a:cxn ang="0">
                <a:pos x="connsiteX3502" y="connsiteY3502"/>
              </a:cxn>
              <a:cxn ang="0">
                <a:pos x="connsiteX3503" y="connsiteY3503"/>
              </a:cxn>
              <a:cxn ang="0">
                <a:pos x="connsiteX3504" y="connsiteY3504"/>
              </a:cxn>
              <a:cxn ang="0">
                <a:pos x="connsiteX3505" y="connsiteY3505"/>
              </a:cxn>
              <a:cxn ang="0">
                <a:pos x="connsiteX3506" y="connsiteY3506"/>
              </a:cxn>
              <a:cxn ang="0">
                <a:pos x="connsiteX3507" y="connsiteY3507"/>
              </a:cxn>
              <a:cxn ang="0">
                <a:pos x="connsiteX3508" y="connsiteY3508"/>
              </a:cxn>
              <a:cxn ang="0">
                <a:pos x="connsiteX3509" y="connsiteY3509"/>
              </a:cxn>
              <a:cxn ang="0">
                <a:pos x="connsiteX3510" y="connsiteY3510"/>
              </a:cxn>
              <a:cxn ang="0">
                <a:pos x="connsiteX3511" y="connsiteY3511"/>
              </a:cxn>
              <a:cxn ang="0">
                <a:pos x="connsiteX3512" y="connsiteY3512"/>
              </a:cxn>
              <a:cxn ang="0">
                <a:pos x="connsiteX3513" y="connsiteY3513"/>
              </a:cxn>
              <a:cxn ang="0">
                <a:pos x="connsiteX3514" y="connsiteY3514"/>
              </a:cxn>
              <a:cxn ang="0">
                <a:pos x="connsiteX3515" y="connsiteY3515"/>
              </a:cxn>
              <a:cxn ang="0">
                <a:pos x="connsiteX3516" y="connsiteY3516"/>
              </a:cxn>
              <a:cxn ang="0">
                <a:pos x="connsiteX3517" y="connsiteY3517"/>
              </a:cxn>
              <a:cxn ang="0">
                <a:pos x="connsiteX3518" y="connsiteY3518"/>
              </a:cxn>
              <a:cxn ang="0">
                <a:pos x="connsiteX3519" y="connsiteY3519"/>
              </a:cxn>
              <a:cxn ang="0">
                <a:pos x="connsiteX3520" y="connsiteY3520"/>
              </a:cxn>
              <a:cxn ang="0">
                <a:pos x="connsiteX3521" y="connsiteY3521"/>
              </a:cxn>
              <a:cxn ang="0">
                <a:pos x="connsiteX3522" y="connsiteY3522"/>
              </a:cxn>
              <a:cxn ang="0">
                <a:pos x="connsiteX3523" y="connsiteY3523"/>
              </a:cxn>
              <a:cxn ang="0">
                <a:pos x="connsiteX3524" y="connsiteY3524"/>
              </a:cxn>
              <a:cxn ang="0">
                <a:pos x="connsiteX3525" y="connsiteY3525"/>
              </a:cxn>
              <a:cxn ang="0">
                <a:pos x="connsiteX3526" y="connsiteY3526"/>
              </a:cxn>
              <a:cxn ang="0">
                <a:pos x="connsiteX3527" y="connsiteY3527"/>
              </a:cxn>
              <a:cxn ang="0">
                <a:pos x="connsiteX3528" y="connsiteY3528"/>
              </a:cxn>
              <a:cxn ang="0">
                <a:pos x="connsiteX3529" y="connsiteY3529"/>
              </a:cxn>
              <a:cxn ang="0">
                <a:pos x="connsiteX3530" y="connsiteY3530"/>
              </a:cxn>
              <a:cxn ang="0">
                <a:pos x="connsiteX3531" y="connsiteY3531"/>
              </a:cxn>
              <a:cxn ang="0">
                <a:pos x="connsiteX3532" y="connsiteY3532"/>
              </a:cxn>
              <a:cxn ang="0">
                <a:pos x="connsiteX3533" y="connsiteY3533"/>
              </a:cxn>
              <a:cxn ang="0">
                <a:pos x="connsiteX3534" y="connsiteY3534"/>
              </a:cxn>
              <a:cxn ang="0">
                <a:pos x="connsiteX3535" y="connsiteY3535"/>
              </a:cxn>
              <a:cxn ang="0">
                <a:pos x="connsiteX3536" y="connsiteY3536"/>
              </a:cxn>
              <a:cxn ang="0">
                <a:pos x="connsiteX3537" y="connsiteY3537"/>
              </a:cxn>
              <a:cxn ang="0">
                <a:pos x="connsiteX3538" y="connsiteY3538"/>
              </a:cxn>
              <a:cxn ang="0">
                <a:pos x="connsiteX3539" y="connsiteY3539"/>
              </a:cxn>
              <a:cxn ang="0">
                <a:pos x="connsiteX3540" y="connsiteY3540"/>
              </a:cxn>
              <a:cxn ang="0">
                <a:pos x="connsiteX3541" y="connsiteY3541"/>
              </a:cxn>
              <a:cxn ang="0">
                <a:pos x="connsiteX3542" y="connsiteY3542"/>
              </a:cxn>
              <a:cxn ang="0">
                <a:pos x="connsiteX3543" y="connsiteY3543"/>
              </a:cxn>
              <a:cxn ang="0">
                <a:pos x="connsiteX3544" y="connsiteY3544"/>
              </a:cxn>
              <a:cxn ang="0">
                <a:pos x="connsiteX3545" y="connsiteY3545"/>
              </a:cxn>
              <a:cxn ang="0">
                <a:pos x="connsiteX3546" y="connsiteY3546"/>
              </a:cxn>
              <a:cxn ang="0">
                <a:pos x="connsiteX3547" y="connsiteY3547"/>
              </a:cxn>
              <a:cxn ang="0">
                <a:pos x="connsiteX3548" y="connsiteY3548"/>
              </a:cxn>
              <a:cxn ang="0">
                <a:pos x="connsiteX3549" y="connsiteY3549"/>
              </a:cxn>
              <a:cxn ang="0">
                <a:pos x="connsiteX3550" y="connsiteY3550"/>
              </a:cxn>
              <a:cxn ang="0">
                <a:pos x="connsiteX3551" y="connsiteY3551"/>
              </a:cxn>
              <a:cxn ang="0">
                <a:pos x="connsiteX3552" y="connsiteY3552"/>
              </a:cxn>
              <a:cxn ang="0">
                <a:pos x="connsiteX3553" y="connsiteY3553"/>
              </a:cxn>
              <a:cxn ang="0">
                <a:pos x="connsiteX3554" y="connsiteY3554"/>
              </a:cxn>
              <a:cxn ang="0">
                <a:pos x="connsiteX3555" y="connsiteY3555"/>
              </a:cxn>
              <a:cxn ang="0">
                <a:pos x="connsiteX3556" y="connsiteY3556"/>
              </a:cxn>
              <a:cxn ang="0">
                <a:pos x="connsiteX3557" y="connsiteY3557"/>
              </a:cxn>
              <a:cxn ang="0">
                <a:pos x="connsiteX3558" y="connsiteY3558"/>
              </a:cxn>
              <a:cxn ang="0">
                <a:pos x="connsiteX3559" y="connsiteY3559"/>
              </a:cxn>
              <a:cxn ang="0">
                <a:pos x="connsiteX3560" y="connsiteY3560"/>
              </a:cxn>
              <a:cxn ang="0">
                <a:pos x="connsiteX3561" y="connsiteY3561"/>
              </a:cxn>
              <a:cxn ang="0">
                <a:pos x="connsiteX3562" y="connsiteY3562"/>
              </a:cxn>
              <a:cxn ang="0">
                <a:pos x="connsiteX3563" y="connsiteY3563"/>
              </a:cxn>
              <a:cxn ang="0">
                <a:pos x="connsiteX3564" y="connsiteY3564"/>
              </a:cxn>
              <a:cxn ang="0">
                <a:pos x="connsiteX3565" y="connsiteY3565"/>
              </a:cxn>
              <a:cxn ang="0">
                <a:pos x="connsiteX3566" y="connsiteY3566"/>
              </a:cxn>
              <a:cxn ang="0">
                <a:pos x="connsiteX3567" y="connsiteY3567"/>
              </a:cxn>
              <a:cxn ang="0">
                <a:pos x="connsiteX3568" y="connsiteY3568"/>
              </a:cxn>
              <a:cxn ang="0">
                <a:pos x="connsiteX3569" y="connsiteY3569"/>
              </a:cxn>
              <a:cxn ang="0">
                <a:pos x="connsiteX3570" y="connsiteY3570"/>
              </a:cxn>
              <a:cxn ang="0">
                <a:pos x="connsiteX3571" y="connsiteY3571"/>
              </a:cxn>
              <a:cxn ang="0">
                <a:pos x="connsiteX3572" y="connsiteY3572"/>
              </a:cxn>
              <a:cxn ang="0">
                <a:pos x="connsiteX3573" y="connsiteY3573"/>
              </a:cxn>
              <a:cxn ang="0">
                <a:pos x="connsiteX3574" y="connsiteY3574"/>
              </a:cxn>
              <a:cxn ang="0">
                <a:pos x="connsiteX3575" y="connsiteY3575"/>
              </a:cxn>
              <a:cxn ang="0">
                <a:pos x="connsiteX3576" y="connsiteY3576"/>
              </a:cxn>
              <a:cxn ang="0">
                <a:pos x="connsiteX3577" y="connsiteY3577"/>
              </a:cxn>
              <a:cxn ang="0">
                <a:pos x="connsiteX3578" y="connsiteY3578"/>
              </a:cxn>
              <a:cxn ang="0">
                <a:pos x="connsiteX3579" y="connsiteY3579"/>
              </a:cxn>
              <a:cxn ang="0">
                <a:pos x="connsiteX3580" y="connsiteY3580"/>
              </a:cxn>
              <a:cxn ang="0">
                <a:pos x="connsiteX3581" y="connsiteY3581"/>
              </a:cxn>
              <a:cxn ang="0">
                <a:pos x="connsiteX3582" y="connsiteY3582"/>
              </a:cxn>
              <a:cxn ang="0">
                <a:pos x="connsiteX3583" y="connsiteY3583"/>
              </a:cxn>
              <a:cxn ang="0">
                <a:pos x="connsiteX3584" y="connsiteY3584"/>
              </a:cxn>
              <a:cxn ang="0">
                <a:pos x="connsiteX3585" y="connsiteY3585"/>
              </a:cxn>
              <a:cxn ang="0">
                <a:pos x="connsiteX3586" y="connsiteY3586"/>
              </a:cxn>
              <a:cxn ang="0">
                <a:pos x="connsiteX3587" y="connsiteY3587"/>
              </a:cxn>
              <a:cxn ang="0">
                <a:pos x="connsiteX3588" y="connsiteY3588"/>
              </a:cxn>
              <a:cxn ang="0">
                <a:pos x="connsiteX3589" y="connsiteY3589"/>
              </a:cxn>
              <a:cxn ang="0">
                <a:pos x="connsiteX3590" y="connsiteY3590"/>
              </a:cxn>
              <a:cxn ang="0">
                <a:pos x="connsiteX3591" y="connsiteY3591"/>
              </a:cxn>
              <a:cxn ang="0">
                <a:pos x="connsiteX3592" y="connsiteY3592"/>
              </a:cxn>
              <a:cxn ang="0">
                <a:pos x="connsiteX3593" y="connsiteY3593"/>
              </a:cxn>
              <a:cxn ang="0">
                <a:pos x="connsiteX3594" y="connsiteY3594"/>
              </a:cxn>
              <a:cxn ang="0">
                <a:pos x="connsiteX3595" y="connsiteY3595"/>
              </a:cxn>
              <a:cxn ang="0">
                <a:pos x="connsiteX3596" y="connsiteY3596"/>
              </a:cxn>
              <a:cxn ang="0">
                <a:pos x="connsiteX3597" y="connsiteY3597"/>
              </a:cxn>
              <a:cxn ang="0">
                <a:pos x="connsiteX3598" y="connsiteY3598"/>
              </a:cxn>
              <a:cxn ang="0">
                <a:pos x="connsiteX3599" y="connsiteY3599"/>
              </a:cxn>
              <a:cxn ang="0">
                <a:pos x="connsiteX3600" y="connsiteY3600"/>
              </a:cxn>
              <a:cxn ang="0">
                <a:pos x="connsiteX3601" y="connsiteY3601"/>
              </a:cxn>
              <a:cxn ang="0">
                <a:pos x="connsiteX3602" y="connsiteY3602"/>
              </a:cxn>
              <a:cxn ang="0">
                <a:pos x="connsiteX3603" y="connsiteY3603"/>
              </a:cxn>
              <a:cxn ang="0">
                <a:pos x="connsiteX3604" y="connsiteY3604"/>
              </a:cxn>
              <a:cxn ang="0">
                <a:pos x="connsiteX3605" y="connsiteY3605"/>
              </a:cxn>
              <a:cxn ang="0">
                <a:pos x="connsiteX3606" y="connsiteY3606"/>
              </a:cxn>
              <a:cxn ang="0">
                <a:pos x="connsiteX3607" y="connsiteY3607"/>
              </a:cxn>
              <a:cxn ang="0">
                <a:pos x="connsiteX3608" y="connsiteY3608"/>
              </a:cxn>
              <a:cxn ang="0">
                <a:pos x="connsiteX3609" y="connsiteY3609"/>
              </a:cxn>
              <a:cxn ang="0">
                <a:pos x="connsiteX3610" y="connsiteY3610"/>
              </a:cxn>
              <a:cxn ang="0">
                <a:pos x="connsiteX3611" y="connsiteY3611"/>
              </a:cxn>
              <a:cxn ang="0">
                <a:pos x="connsiteX3612" y="connsiteY3612"/>
              </a:cxn>
              <a:cxn ang="0">
                <a:pos x="connsiteX3613" y="connsiteY3613"/>
              </a:cxn>
              <a:cxn ang="0">
                <a:pos x="connsiteX3614" y="connsiteY3614"/>
              </a:cxn>
              <a:cxn ang="0">
                <a:pos x="connsiteX3615" y="connsiteY3615"/>
              </a:cxn>
              <a:cxn ang="0">
                <a:pos x="connsiteX3616" y="connsiteY3616"/>
              </a:cxn>
              <a:cxn ang="0">
                <a:pos x="connsiteX3617" y="connsiteY3617"/>
              </a:cxn>
              <a:cxn ang="0">
                <a:pos x="connsiteX3618" y="connsiteY3618"/>
              </a:cxn>
              <a:cxn ang="0">
                <a:pos x="connsiteX3619" y="connsiteY3619"/>
              </a:cxn>
              <a:cxn ang="0">
                <a:pos x="connsiteX3620" y="connsiteY3620"/>
              </a:cxn>
              <a:cxn ang="0">
                <a:pos x="connsiteX3621" y="connsiteY3621"/>
              </a:cxn>
              <a:cxn ang="0">
                <a:pos x="connsiteX3622" y="connsiteY3622"/>
              </a:cxn>
              <a:cxn ang="0">
                <a:pos x="connsiteX3623" y="connsiteY3623"/>
              </a:cxn>
              <a:cxn ang="0">
                <a:pos x="connsiteX3624" y="connsiteY3624"/>
              </a:cxn>
              <a:cxn ang="0">
                <a:pos x="connsiteX3625" y="connsiteY3625"/>
              </a:cxn>
              <a:cxn ang="0">
                <a:pos x="connsiteX3626" y="connsiteY3626"/>
              </a:cxn>
              <a:cxn ang="0">
                <a:pos x="connsiteX3627" y="connsiteY3627"/>
              </a:cxn>
              <a:cxn ang="0">
                <a:pos x="connsiteX3628" y="connsiteY3628"/>
              </a:cxn>
              <a:cxn ang="0">
                <a:pos x="connsiteX3629" y="connsiteY3629"/>
              </a:cxn>
              <a:cxn ang="0">
                <a:pos x="connsiteX3630" y="connsiteY3630"/>
              </a:cxn>
              <a:cxn ang="0">
                <a:pos x="connsiteX3631" y="connsiteY3631"/>
              </a:cxn>
              <a:cxn ang="0">
                <a:pos x="connsiteX3632" y="connsiteY3632"/>
              </a:cxn>
              <a:cxn ang="0">
                <a:pos x="connsiteX3633" y="connsiteY3633"/>
              </a:cxn>
              <a:cxn ang="0">
                <a:pos x="connsiteX3634" y="connsiteY3634"/>
              </a:cxn>
              <a:cxn ang="0">
                <a:pos x="connsiteX3635" y="connsiteY3635"/>
              </a:cxn>
              <a:cxn ang="0">
                <a:pos x="connsiteX3636" y="connsiteY3636"/>
              </a:cxn>
              <a:cxn ang="0">
                <a:pos x="connsiteX3637" y="connsiteY3637"/>
              </a:cxn>
              <a:cxn ang="0">
                <a:pos x="connsiteX3638" y="connsiteY3638"/>
              </a:cxn>
              <a:cxn ang="0">
                <a:pos x="connsiteX3639" y="connsiteY3639"/>
              </a:cxn>
              <a:cxn ang="0">
                <a:pos x="connsiteX3640" y="connsiteY3640"/>
              </a:cxn>
              <a:cxn ang="0">
                <a:pos x="connsiteX3641" y="connsiteY3641"/>
              </a:cxn>
              <a:cxn ang="0">
                <a:pos x="connsiteX3642" y="connsiteY3642"/>
              </a:cxn>
              <a:cxn ang="0">
                <a:pos x="connsiteX3643" y="connsiteY3643"/>
              </a:cxn>
              <a:cxn ang="0">
                <a:pos x="connsiteX3644" y="connsiteY3644"/>
              </a:cxn>
              <a:cxn ang="0">
                <a:pos x="connsiteX3645" y="connsiteY3645"/>
              </a:cxn>
              <a:cxn ang="0">
                <a:pos x="connsiteX3646" y="connsiteY3646"/>
              </a:cxn>
              <a:cxn ang="0">
                <a:pos x="connsiteX3647" y="connsiteY3647"/>
              </a:cxn>
              <a:cxn ang="0">
                <a:pos x="connsiteX3648" y="connsiteY3648"/>
              </a:cxn>
              <a:cxn ang="0">
                <a:pos x="connsiteX3649" y="connsiteY3649"/>
              </a:cxn>
              <a:cxn ang="0">
                <a:pos x="connsiteX3650" y="connsiteY3650"/>
              </a:cxn>
              <a:cxn ang="0">
                <a:pos x="connsiteX3651" y="connsiteY3651"/>
              </a:cxn>
              <a:cxn ang="0">
                <a:pos x="connsiteX3652" y="connsiteY3652"/>
              </a:cxn>
              <a:cxn ang="0">
                <a:pos x="connsiteX3653" y="connsiteY3653"/>
              </a:cxn>
              <a:cxn ang="0">
                <a:pos x="connsiteX3654" y="connsiteY3654"/>
              </a:cxn>
              <a:cxn ang="0">
                <a:pos x="connsiteX3655" y="connsiteY3655"/>
              </a:cxn>
              <a:cxn ang="0">
                <a:pos x="connsiteX3656" y="connsiteY3656"/>
              </a:cxn>
              <a:cxn ang="0">
                <a:pos x="connsiteX3657" y="connsiteY3657"/>
              </a:cxn>
              <a:cxn ang="0">
                <a:pos x="connsiteX3658" y="connsiteY3658"/>
              </a:cxn>
              <a:cxn ang="0">
                <a:pos x="connsiteX3659" y="connsiteY3659"/>
              </a:cxn>
              <a:cxn ang="0">
                <a:pos x="connsiteX3660" y="connsiteY3660"/>
              </a:cxn>
              <a:cxn ang="0">
                <a:pos x="connsiteX3661" y="connsiteY3661"/>
              </a:cxn>
              <a:cxn ang="0">
                <a:pos x="connsiteX3662" y="connsiteY3662"/>
              </a:cxn>
              <a:cxn ang="0">
                <a:pos x="connsiteX3663" y="connsiteY3663"/>
              </a:cxn>
              <a:cxn ang="0">
                <a:pos x="connsiteX3664" y="connsiteY3664"/>
              </a:cxn>
              <a:cxn ang="0">
                <a:pos x="connsiteX3665" y="connsiteY3665"/>
              </a:cxn>
              <a:cxn ang="0">
                <a:pos x="connsiteX3666" y="connsiteY3666"/>
              </a:cxn>
              <a:cxn ang="0">
                <a:pos x="connsiteX3667" y="connsiteY3667"/>
              </a:cxn>
              <a:cxn ang="0">
                <a:pos x="connsiteX3668" y="connsiteY3668"/>
              </a:cxn>
              <a:cxn ang="0">
                <a:pos x="connsiteX3669" y="connsiteY3669"/>
              </a:cxn>
              <a:cxn ang="0">
                <a:pos x="connsiteX3670" y="connsiteY3670"/>
              </a:cxn>
              <a:cxn ang="0">
                <a:pos x="connsiteX3671" y="connsiteY3671"/>
              </a:cxn>
              <a:cxn ang="0">
                <a:pos x="connsiteX3672" y="connsiteY3672"/>
              </a:cxn>
              <a:cxn ang="0">
                <a:pos x="connsiteX3673" y="connsiteY3673"/>
              </a:cxn>
              <a:cxn ang="0">
                <a:pos x="connsiteX3674" y="connsiteY3674"/>
              </a:cxn>
              <a:cxn ang="0">
                <a:pos x="connsiteX3675" y="connsiteY3675"/>
              </a:cxn>
              <a:cxn ang="0">
                <a:pos x="connsiteX3676" y="connsiteY3676"/>
              </a:cxn>
              <a:cxn ang="0">
                <a:pos x="connsiteX3677" y="connsiteY3677"/>
              </a:cxn>
              <a:cxn ang="0">
                <a:pos x="connsiteX3678" y="connsiteY3678"/>
              </a:cxn>
              <a:cxn ang="0">
                <a:pos x="connsiteX3679" y="connsiteY3679"/>
              </a:cxn>
              <a:cxn ang="0">
                <a:pos x="connsiteX3680" y="connsiteY3680"/>
              </a:cxn>
              <a:cxn ang="0">
                <a:pos x="connsiteX3681" y="connsiteY3681"/>
              </a:cxn>
              <a:cxn ang="0">
                <a:pos x="connsiteX3682" y="connsiteY3682"/>
              </a:cxn>
              <a:cxn ang="0">
                <a:pos x="connsiteX3683" y="connsiteY3683"/>
              </a:cxn>
              <a:cxn ang="0">
                <a:pos x="connsiteX3684" y="connsiteY3684"/>
              </a:cxn>
              <a:cxn ang="0">
                <a:pos x="connsiteX3685" y="connsiteY3685"/>
              </a:cxn>
              <a:cxn ang="0">
                <a:pos x="connsiteX3686" y="connsiteY3686"/>
              </a:cxn>
              <a:cxn ang="0">
                <a:pos x="connsiteX3687" y="connsiteY3687"/>
              </a:cxn>
              <a:cxn ang="0">
                <a:pos x="connsiteX3688" y="connsiteY3688"/>
              </a:cxn>
              <a:cxn ang="0">
                <a:pos x="connsiteX3689" y="connsiteY3689"/>
              </a:cxn>
              <a:cxn ang="0">
                <a:pos x="connsiteX3690" y="connsiteY3690"/>
              </a:cxn>
              <a:cxn ang="0">
                <a:pos x="connsiteX3691" y="connsiteY3691"/>
              </a:cxn>
              <a:cxn ang="0">
                <a:pos x="connsiteX3692" y="connsiteY3692"/>
              </a:cxn>
              <a:cxn ang="0">
                <a:pos x="connsiteX3693" y="connsiteY3693"/>
              </a:cxn>
              <a:cxn ang="0">
                <a:pos x="connsiteX3694" y="connsiteY3694"/>
              </a:cxn>
              <a:cxn ang="0">
                <a:pos x="connsiteX3695" y="connsiteY3695"/>
              </a:cxn>
              <a:cxn ang="0">
                <a:pos x="connsiteX3696" y="connsiteY3696"/>
              </a:cxn>
              <a:cxn ang="0">
                <a:pos x="connsiteX3697" y="connsiteY3697"/>
              </a:cxn>
              <a:cxn ang="0">
                <a:pos x="connsiteX3698" y="connsiteY3698"/>
              </a:cxn>
              <a:cxn ang="0">
                <a:pos x="connsiteX3699" y="connsiteY3699"/>
              </a:cxn>
              <a:cxn ang="0">
                <a:pos x="connsiteX3700" y="connsiteY3700"/>
              </a:cxn>
              <a:cxn ang="0">
                <a:pos x="connsiteX3701" y="connsiteY3701"/>
              </a:cxn>
              <a:cxn ang="0">
                <a:pos x="connsiteX3702" y="connsiteY3702"/>
              </a:cxn>
              <a:cxn ang="0">
                <a:pos x="connsiteX3703" y="connsiteY3703"/>
              </a:cxn>
              <a:cxn ang="0">
                <a:pos x="connsiteX3704" y="connsiteY3704"/>
              </a:cxn>
              <a:cxn ang="0">
                <a:pos x="connsiteX3705" y="connsiteY3705"/>
              </a:cxn>
              <a:cxn ang="0">
                <a:pos x="connsiteX3706" y="connsiteY3706"/>
              </a:cxn>
              <a:cxn ang="0">
                <a:pos x="connsiteX3707" y="connsiteY3707"/>
              </a:cxn>
              <a:cxn ang="0">
                <a:pos x="connsiteX3708" y="connsiteY3708"/>
              </a:cxn>
              <a:cxn ang="0">
                <a:pos x="connsiteX3709" y="connsiteY3709"/>
              </a:cxn>
              <a:cxn ang="0">
                <a:pos x="connsiteX3710" y="connsiteY3710"/>
              </a:cxn>
              <a:cxn ang="0">
                <a:pos x="connsiteX3711" y="connsiteY3711"/>
              </a:cxn>
              <a:cxn ang="0">
                <a:pos x="connsiteX3712" y="connsiteY3712"/>
              </a:cxn>
              <a:cxn ang="0">
                <a:pos x="connsiteX3713" y="connsiteY3713"/>
              </a:cxn>
              <a:cxn ang="0">
                <a:pos x="connsiteX3714" y="connsiteY3714"/>
              </a:cxn>
              <a:cxn ang="0">
                <a:pos x="connsiteX3715" y="connsiteY3715"/>
              </a:cxn>
              <a:cxn ang="0">
                <a:pos x="connsiteX3716" y="connsiteY3716"/>
              </a:cxn>
              <a:cxn ang="0">
                <a:pos x="connsiteX3717" y="connsiteY3717"/>
              </a:cxn>
              <a:cxn ang="0">
                <a:pos x="connsiteX3718" y="connsiteY3718"/>
              </a:cxn>
              <a:cxn ang="0">
                <a:pos x="connsiteX3719" y="connsiteY3719"/>
              </a:cxn>
              <a:cxn ang="0">
                <a:pos x="connsiteX3720" y="connsiteY3720"/>
              </a:cxn>
              <a:cxn ang="0">
                <a:pos x="connsiteX3721" y="connsiteY3721"/>
              </a:cxn>
              <a:cxn ang="0">
                <a:pos x="connsiteX3722" y="connsiteY3722"/>
              </a:cxn>
              <a:cxn ang="0">
                <a:pos x="connsiteX3723" y="connsiteY3723"/>
              </a:cxn>
              <a:cxn ang="0">
                <a:pos x="connsiteX3724" y="connsiteY3724"/>
              </a:cxn>
              <a:cxn ang="0">
                <a:pos x="connsiteX3725" y="connsiteY3725"/>
              </a:cxn>
              <a:cxn ang="0">
                <a:pos x="connsiteX3726" y="connsiteY3726"/>
              </a:cxn>
              <a:cxn ang="0">
                <a:pos x="connsiteX3727" y="connsiteY3727"/>
              </a:cxn>
              <a:cxn ang="0">
                <a:pos x="connsiteX3728" y="connsiteY3728"/>
              </a:cxn>
              <a:cxn ang="0">
                <a:pos x="connsiteX3729" y="connsiteY3729"/>
              </a:cxn>
              <a:cxn ang="0">
                <a:pos x="connsiteX3730" y="connsiteY3730"/>
              </a:cxn>
              <a:cxn ang="0">
                <a:pos x="connsiteX3731" y="connsiteY3731"/>
              </a:cxn>
              <a:cxn ang="0">
                <a:pos x="connsiteX3732" y="connsiteY3732"/>
              </a:cxn>
              <a:cxn ang="0">
                <a:pos x="connsiteX3733" y="connsiteY3733"/>
              </a:cxn>
              <a:cxn ang="0">
                <a:pos x="connsiteX3734" y="connsiteY3734"/>
              </a:cxn>
              <a:cxn ang="0">
                <a:pos x="connsiteX3735" y="connsiteY3735"/>
              </a:cxn>
              <a:cxn ang="0">
                <a:pos x="connsiteX3736" y="connsiteY3736"/>
              </a:cxn>
              <a:cxn ang="0">
                <a:pos x="connsiteX3737" y="connsiteY3737"/>
              </a:cxn>
              <a:cxn ang="0">
                <a:pos x="connsiteX3738" y="connsiteY3738"/>
              </a:cxn>
              <a:cxn ang="0">
                <a:pos x="connsiteX3739" y="connsiteY3739"/>
              </a:cxn>
              <a:cxn ang="0">
                <a:pos x="connsiteX3740" y="connsiteY3740"/>
              </a:cxn>
              <a:cxn ang="0">
                <a:pos x="connsiteX3741" y="connsiteY3741"/>
              </a:cxn>
              <a:cxn ang="0">
                <a:pos x="connsiteX3742" y="connsiteY3742"/>
              </a:cxn>
              <a:cxn ang="0">
                <a:pos x="connsiteX3743" y="connsiteY3743"/>
              </a:cxn>
              <a:cxn ang="0">
                <a:pos x="connsiteX3744" y="connsiteY3744"/>
              </a:cxn>
              <a:cxn ang="0">
                <a:pos x="connsiteX3745" y="connsiteY3745"/>
              </a:cxn>
              <a:cxn ang="0">
                <a:pos x="connsiteX3746" y="connsiteY3746"/>
              </a:cxn>
              <a:cxn ang="0">
                <a:pos x="connsiteX3747" y="connsiteY3747"/>
              </a:cxn>
              <a:cxn ang="0">
                <a:pos x="connsiteX3748" y="connsiteY3748"/>
              </a:cxn>
              <a:cxn ang="0">
                <a:pos x="connsiteX3749" y="connsiteY3749"/>
              </a:cxn>
              <a:cxn ang="0">
                <a:pos x="connsiteX3750" y="connsiteY3750"/>
              </a:cxn>
              <a:cxn ang="0">
                <a:pos x="connsiteX3751" y="connsiteY3751"/>
              </a:cxn>
              <a:cxn ang="0">
                <a:pos x="connsiteX3752" y="connsiteY3752"/>
              </a:cxn>
              <a:cxn ang="0">
                <a:pos x="connsiteX3753" y="connsiteY3753"/>
              </a:cxn>
              <a:cxn ang="0">
                <a:pos x="connsiteX3754" y="connsiteY3754"/>
              </a:cxn>
              <a:cxn ang="0">
                <a:pos x="connsiteX3755" y="connsiteY3755"/>
              </a:cxn>
              <a:cxn ang="0">
                <a:pos x="connsiteX3756" y="connsiteY3756"/>
              </a:cxn>
              <a:cxn ang="0">
                <a:pos x="connsiteX3757" y="connsiteY3757"/>
              </a:cxn>
              <a:cxn ang="0">
                <a:pos x="connsiteX3758" y="connsiteY3758"/>
              </a:cxn>
              <a:cxn ang="0">
                <a:pos x="connsiteX3759" y="connsiteY3759"/>
              </a:cxn>
              <a:cxn ang="0">
                <a:pos x="connsiteX3760" y="connsiteY3760"/>
              </a:cxn>
              <a:cxn ang="0">
                <a:pos x="connsiteX3761" y="connsiteY3761"/>
              </a:cxn>
              <a:cxn ang="0">
                <a:pos x="connsiteX3762" y="connsiteY3762"/>
              </a:cxn>
              <a:cxn ang="0">
                <a:pos x="connsiteX3763" y="connsiteY3763"/>
              </a:cxn>
              <a:cxn ang="0">
                <a:pos x="connsiteX3764" y="connsiteY3764"/>
              </a:cxn>
              <a:cxn ang="0">
                <a:pos x="connsiteX3765" y="connsiteY3765"/>
              </a:cxn>
              <a:cxn ang="0">
                <a:pos x="connsiteX3766" y="connsiteY3766"/>
              </a:cxn>
              <a:cxn ang="0">
                <a:pos x="connsiteX3767" y="connsiteY3767"/>
              </a:cxn>
              <a:cxn ang="0">
                <a:pos x="connsiteX3768" y="connsiteY3768"/>
              </a:cxn>
              <a:cxn ang="0">
                <a:pos x="connsiteX3769" y="connsiteY3769"/>
              </a:cxn>
              <a:cxn ang="0">
                <a:pos x="connsiteX3770" y="connsiteY3770"/>
              </a:cxn>
              <a:cxn ang="0">
                <a:pos x="connsiteX3771" y="connsiteY3771"/>
              </a:cxn>
              <a:cxn ang="0">
                <a:pos x="connsiteX3772" y="connsiteY3772"/>
              </a:cxn>
              <a:cxn ang="0">
                <a:pos x="connsiteX3773" y="connsiteY3773"/>
              </a:cxn>
              <a:cxn ang="0">
                <a:pos x="connsiteX3774" y="connsiteY3774"/>
              </a:cxn>
              <a:cxn ang="0">
                <a:pos x="connsiteX3775" y="connsiteY3775"/>
              </a:cxn>
              <a:cxn ang="0">
                <a:pos x="connsiteX3776" y="connsiteY3776"/>
              </a:cxn>
              <a:cxn ang="0">
                <a:pos x="connsiteX3777" y="connsiteY3777"/>
              </a:cxn>
              <a:cxn ang="0">
                <a:pos x="connsiteX3778" y="connsiteY3778"/>
              </a:cxn>
              <a:cxn ang="0">
                <a:pos x="connsiteX3779" y="connsiteY3779"/>
              </a:cxn>
              <a:cxn ang="0">
                <a:pos x="connsiteX3780" y="connsiteY3780"/>
              </a:cxn>
              <a:cxn ang="0">
                <a:pos x="connsiteX3781" y="connsiteY3781"/>
              </a:cxn>
              <a:cxn ang="0">
                <a:pos x="connsiteX3782" y="connsiteY3782"/>
              </a:cxn>
              <a:cxn ang="0">
                <a:pos x="connsiteX3783" y="connsiteY3783"/>
              </a:cxn>
              <a:cxn ang="0">
                <a:pos x="connsiteX3784" y="connsiteY3784"/>
              </a:cxn>
              <a:cxn ang="0">
                <a:pos x="connsiteX3785" y="connsiteY3785"/>
              </a:cxn>
              <a:cxn ang="0">
                <a:pos x="connsiteX3786" y="connsiteY3786"/>
              </a:cxn>
              <a:cxn ang="0">
                <a:pos x="connsiteX3787" y="connsiteY3787"/>
              </a:cxn>
              <a:cxn ang="0">
                <a:pos x="connsiteX3788" y="connsiteY3788"/>
              </a:cxn>
              <a:cxn ang="0">
                <a:pos x="connsiteX3789" y="connsiteY3789"/>
              </a:cxn>
              <a:cxn ang="0">
                <a:pos x="connsiteX3790" y="connsiteY3790"/>
              </a:cxn>
              <a:cxn ang="0">
                <a:pos x="connsiteX3791" y="connsiteY3791"/>
              </a:cxn>
              <a:cxn ang="0">
                <a:pos x="connsiteX3792" y="connsiteY3792"/>
              </a:cxn>
              <a:cxn ang="0">
                <a:pos x="connsiteX3793" y="connsiteY3793"/>
              </a:cxn>
              <a:cxn ang="0">
                <a:pos x="connsiteX3794" y="connsiteY3794"/>
              </a:cxn>
              <a:cxn ang="0">
                <a:pos x="connsiteX3795" y="connsiteY3795"/>
              </a:cxn>
              <a:cxn ang="0">
                <a:pos x="connsiteX3796" y="connsiteY3796"/>
              </a:cxn>
              <a:cxn ang="0">
                <a:pos x="connsiteX3797" y="connsiteY3797"/>
              </a:cxn>
              <a:cxn ang="0">
                <a:pos x="connsiteX3798" y="connsiteY3798"/>
              </a:cxn>
              <a:cxn ang="0">
                <a:pos x="connsiteX3799" y="connsiteY3799"/>
              </a:cxn>
              <a:cxn ang="0">
                <a:pos x="connsiteX3800" y="connsiteY3800"/>
              </a:cxn>
              <a:cxn ang="0">
                <a:pos x="connsiteX3801" y="connsiteY3801"/>
              </a:cxn>
              <a:cxn ang="0">
                <a:pos x="connsiteX3802" y="connsiteY3802"/>
              </a:cxn>
              <a:cxn ang="0">
                <a:pos x="connsiteX3803" y="connsiteY3803"/>
              </a:cxn>
              <a:cxn ang="0">
                <a:pos x="connsiteX3804" y="connsiteY3804"/>
              </a:cxn>
              <a:cxn ang="0">
                <a:pos x="connsiteX3805" y="connsiteY3805"/>
              </a:cxn>
              <a:cxn ang="0">
                <a:pos x="connsiteX3806" y="connsiteY3806"/>
              </a:cxn>
              <a:cxn ang="0">
                <a:pos x="connsiteX3807" y="connsiteY3807"/>
              </a:cxn>
              <a:cxn ang="0">
                <a:pos x="connsiteX3808" y="connsiteY3808"/>
              </a:cxn>
              <a:cxn ang="0">
                <a:pos x="connsiteX3809" y="connsiteY3809"/>
              </a:cxn>
              <a:cxn ang="0">
                <a:pos x="connsiteX3810" y="connsiteY3810"/>
              </a:cxn>
              <a:cxn ang="0">
                <a:pos x="connsiteX3811" y="connsiteY3811"/>
              </a:cxn>
              <a:cxn ang="0">
                <a:pos x="connsiteX3812" y="connsiteY3812"/>
              </a:cxn>
              <a:cxn ang="0">
                <a:pos x="connsiteX3813" y="connsiteY3813"/>
              </a:cxn>
              <a:cxn ang="0">
                <a:pos x="connsiteX3814" y="connsiteY3814"/>
              </a:cxn>
              <a:cxn ang="0">
                <a:pos x="connsiteX3815" y="connsiteY3815"/>
              </a:cxn>
              <a:cxn ang="0">
                <a:pos x="connsiteX3816" y="connsiteY3816"/>
              </a:cxn>
              <a:cxn ang="0">
                <a:pos x="connsiteX3817" y="connsiteY3817"/>
              </a:cxn>
              <a:cxn ang="0">
                <a:pos x="connsiteX3818" y="connsiteY3818"/>
              </a:cxn>
              <a:cxn ang="0">
                <a:pos x="connsiteX3819" y="connsiteY3819"/>
              </a:cxn>
              <a:cxn ang="0">
                <a:pos x="connsiteX3820" y="connsiteY3820"/>
              </a:cxn>
              <a:cxn ang="0">
                <a:pos x="connsiteX3821" y="connsiteY3821"/>
              </a:cxn>
              <a:cxn ang="0">
                <a:pos x="connsiteX3822" y="connsiteY3822"/>
              </a:cxn>
              <a:cxn ang="0">
                <a:pos x="connsiteX3823" y="connsiteY3823"/>
              </a:cxn>
              <a:cxn ang="0">
                <a:pos x="connsiteX3824" y="connsiteY3824"/>
              </a:cxn>
              <a:cxn ang="0">
                <a:pos x="connsiteX3825" y="connsiteY3825"/>
              </a:cxn>
              <a:cxn ang="0">
                <a:pos x="connsiteX3826" y="connsiteY3826"/>
              </a:cxn>
              <a:cxn ang="0">
                <a:pos x="connsiteX3827" y="connsiteY3827"/>
              </a:cxn>
              <a:cxn ang="0">
                <a:pos x="connsiteX3828" y="connsiteY3828"/>
              </a:cxn>
              <a:cxn ang="0">
                <a:pos x="connsiteX3829" y="connsiteY3829"/>
              </a:cxn>
              <a:cxn ang="0">
                <a:pos x="connsiteX3830" y="connsiteY3830"/>
              </a:cxn>
              <a:cxn ang="0">
                <a:pos x="connsiteX3831" y="connsiteY3831"/>
              </a:cxn>
              <a:cxn ang="0">
                <a:pos x="connsiteX3832" y="connsiteY3832"/>
              </a:cxn>
              <a:cxn ang="0">
                <a:pos x="connsiteX3833" y="connsiteY3833"/>
              </a:cxn>
              <a:cxn ang="0">
                <a:pos x="connsiteX3834" y="connsiteY3834"/>
              </a:cxn>
              <a:cxn ang="0">
                <a:pos x="connsiteX3835" y="connsiteY3835"/>
              </a:cxn>
              <a:cxn ang="0">
                <a:pos x="connsiteX3836" y="connsiteY3836"/>
              </a:cxn>
              <a:cxn ang="0">
                <a:pos x="connsiteX3837" y="connsiteY3837"/>
              </a:cxn>
              <a:cxn ang="0">
                <a:pos x="connsiteX3838" y="connsiteY3838"/>
              </a:cxn>
              <a:cxn ang="0">
                <a:pos x="connsiteX3839" y="connsiteY3839"/>
              </a:cxn>
              <a:cxn ang="0">
                <a:pos x="connsiteX3840" y="connsiteY3840"/>
              </a:cxn>
              <a:cxn ang="0">
                <a:pos x="connsiteX3841" y="connsiteY3841"/>
              </a:cxn>
              <a:cxn ang="0">
                <a:pos x="connsiteX3842" y="connsiteY3842"/>
              </a:cxn>
              <a:cxn ang="0">
                <a:pos x="connsiteX3843" y="connsiteY3843"/>
              </a:cxn>
              <a:cxn ang="0">
                <a:pos x="connsiteX3844" y="connsiteY3844"/>
              </a:cxn>
              <a:cxn ang="0">
                <a:pos x="connsiteX3845" y="connsiteY3845"/>
              </a:cxn>
              <a:cxn ang="0">
                <a:pos x="connsiteX3846" y="connsiteY3846"/>
              </a:cxn>
              <a:cxn ang="0">
                <a:pos x="connsiteX3847" y="connsiteY3847"/>
              </a:cxn>
              <a:cxn ang="0">
                <a:pos x="connsiteX3848" y="connsiteY3848"/>
              </a:cxn>
              <a:cxn ang="0">
                <a:pos x="connsiteX3849" y="connsiteY3849"/>
              </a:cxn>
              <a:cxn ang="0">
                <a:pos x="connsiteX3850" y="connsiteY3850"/>
              </a:cxn>
              <a:cxn ang="0">
                <a:pos x="connsiteX3851" y="connsiteY3851"/>
              </a:cxn>
              <a:cxn ang="0">
                <a:pos x="connsiteX3852" y="connsiteY3852"/>
              </a:cxn>
              <a:cxn ang="0">
                <a:pos x="connsiteX3853" y="connsiteY3853"/>
              </a:cxn>
              <a:cxn ang="0">
                <a:pos x="connsiteX3854" y="connsiteY3854"/>
              </a:cxn>
              <a:cxn ang="0">
                <a:pos x="connsiteX3855" y="connsiteY3855"/>
              </a:cxn>
              <a:cxn ang="0">
                <a:pos x="connsiteX3856" y="connsiteY3856"/>
              </a:cxn>
              <a:cxn ang="0">
                <a:pos x="connsiteX3857" y="connsiteY3857"/>
              </a:cxn>
              <a:cxn ang="0">
                <a:pos x="connsiteX3858" y="connsiteY3858"/>
              </a:cxn>
              <a:cxn ang="0">
                <a:pos x="connsiteX3859" y="connsiteY3859"/>
              </a:cxn>
              <a:cxn ang="0">
                <a:pos x="connsiteX3860" y="connsiteY3860"/>
              </a:cxn>
              <a:cxn ang="0">
                <a:pos x="connsiteX3861" y="connsiteY3861"/>
              </a:cxn>
              <a:cxn ang="0">
                <a:pos x="connsiteX3862" y="connsiteY3862"/>
              </a:cxn>
              <a:cxn ang="0">
                <a:pos x="connsiteX3863" y="connsiteY3863"/>
              </a:cxn>
              <a:cxn ang="0">
                <a:pos x="connsiteX3864" y="connsiteY3864"/>
              </a:cxn>
              <a:cxn ang="0">
                <a:pos x="connsiteX3865" y="connsiteY3865"/>
              </a:cxn>
              <a:cxn ang="0">
                <a:pos x="connsiteX3866" y="connsiteY3866"/>
              </a:cxn>
              <a:cxn ang="0">
                <a:pos x="connsiteX3867" y="connsiteY3867"/>
              </a:cxn>
              <a:cxn ang="0">
                <a:pos x="connsiteX3868" y="connsiteY3868"/>
              </a:cxn>
              <a:cxn ang="0">
                <a:pos x="connsiteX3869" y="connsiteY3869"/>
              </a:cxn>
              <a:cxn ang="0">
                <a:pos x="connsiteX3870" y="connsiteY3870"/>
              </a:cxn>
              <a:cxn ang="0">
                <a:pos x="connsiteX3871" y="connsiteY3871"/>
              </a:cxn>
              <a:cxn ang="0">
                <a:pos x="connsiteX3872" y="connsiteY3872"/>
              </a:cxn>
              <a:cxn ang="0">
                <a:pos x="connsiteX3873" y="connsiteY3873"/>
              </a:cxn>
              <a:cxn ang="0">
                <a:pos x="connsiteX3874" y="connsiteY3874"/>
              </a:cxn>
              <a:cxn ang="0">
                <a:pos x="connsiteX3875" y="connsiteY3875"/>
              </a:cxn>
              <a:cxn ang="0">
                <a:pos x="connsiteX3876" y="connsiteY3876"/>
              </a:cxn>
              <a:cxn ang="0">
                <a:pos x="connsiteX3877" y="connsiteY3877"/>
              </a:cxn>
              <a:cxn ang="0">
                <a:pos x="connsiteX3878" y="connsiteY3878"/>
              </a:cxn>
              <a:cxn ang="0">
                <a:pos x="connsiteX3879" y="connsiteY3879"/>
              </a:cxn>
              <a:cxn ang="0">
                <a:pos x="connsiteX3880" y="connsiteY3880"/>
              </a:cxn>
              <a:cxn ang="0">
                <a:pos x="connsiteX3881" y="connsiteY3881"/>
              </a:cxn>
              <a:cxn ang="0">
                <a:pos x="connsiteX3882" y="connsiteY3882"/>
              </a:cxn>
              <a:cxn ang="0">
                <a:pos x="connsiteX3883" y="connsiteY3883"/>
              </a:cxn>
              <a:cxn ang="0">
                <a:pos x="connsiteX3884" y="connsiteY3884"/>
              </a:cxn>
              <a:cxn ang="0">
                <a:pos x="connsiteX3885" y="connsiteY3885"/>
              </a:cxn>
              <a:cxn ang="0">
                <a:pos x="connsiteX3886" y="connsiteY3886"/>
              </a:cxn>
              <a:cxn ang="0">
                <a:pos x="connsiteX3887" y="connsiteY3887"/>
              </a:cxn>
              <a:cxn ang="0">
                <a:pos x="connsiteX3888" y="connsiteY3888"/>
              </a:cxn>
              <a:cxn ang="0">
                <a:pos x="connsiteX3889" y="connsiteY3889"/>
              </a:cxn>
              <a:cxn ang="0">
                <a:pos x="connsiteX3890" y="connsiteY3890"/>
              </a:cxn>
              <a:cxn ang="0">
                <a:pos x="connsiteX3891" y="connsiteY3891"/>
              </a:cxn>
              <a:cxn ang="0">
                <a:pos x="connsiteX3892" y="connsiteY3892"/>
              </a:cxn>
              <a:cxn ang="0">
                <a:pos x="connsiteX3893" y="connsiteY3893"/>
              </a:cxn>
              <a:cxn ang="0">
                <a:pos x="connsiteX3894" y="connsiteY3894"/>
              </a:cxn>
              <a:cxn ang="0">
                <a:pos x="connsiteX3895" y="connsiteY3895"/>
              </a:cxn>
              <a:cxn ang="0">
                <a:pos x="connsiteX3896" y="connsiteY3896"/>
              </a:cxn>
              <a:cxn ang="0">
                <a:pos x="connsiteX3897" y="connsiteY3897"/>
              </a:cxn>
              <a:cxn ang="0">
                <a:pos x="connsiteX3898" y="connsiteY3898"/>
              </a:cxn>
              <a:cxn ang="0">
                <a:pos x="connsiteX3899" y="connsiteY3899"/>
              </a:cxn>
              <a:cxn ang="0">
                <a:pos x="connsiteX3900" y="connsiteY3900"/>
              </a:cxn>
              <a:cxn ang="0">
                <a:pos x="connsiteX3901" y="connsiteY3901"/>
              </a:cxn>
              <a:cxn ang="0">
                <a:pos x="connsiteX3902" y="connsiteY3902"/>
              </a:cxn>
              <a:cxn ang="0">
                <a:pos x="connsiteX3903" y="connsiteY3903"/>
              </a:cxn>
              <a:cxn ang="0">
                <a:pos x="connsiteX3904" y="connsiteY3904"/>
              </a:cxn>
              <a:cxn ang="0">
                <a:pos x="connsiteX3905" y="connsiteY3905"/>
              </a:cxn>
              <a:cxn ang="0">
                <a:pos x="connsiteX3906" y="connsiteY3906"/>
              </a:cxn>
              <a:cxn ang="0">
                <a:pos x="connsiteX3907" y="connsiteY3907"/>
              </a:cxn>
              <a:cxn ang="0">
                <a:pos x="connsiteX3908" y="connsiteY3908"/>
              </a:cxn>
              <a:cxn ang="0">
                <a:pos x="connsiteX3909" y="connsiteY3909"/>
              </a:cxn>
              <a:cxn ang="0">
                <a:pos x="connsiteX3910" y="connsiteY3910"/>
              </a:cxn>
              <a:cxn ang="0">
                <a:pos x="connsiteX3911" y="connsiteY3911"/>
              </a:cxn>
              <a:cxn ang="0">
                <a:pos x="connsiteX3912" y="connsiteY3912"/>
              </a:cxn>
              <a:cxn ang="0">
                <a:pos x="connsiteX3913" y="connsiteY3913"/>
              </a:cxn>
              <a:cxn ang="0">
                <a:pos x="connsiteX3914" y="connsiteY3914"/>
              </a:cxn>
              <a:cxn ang="0">
                <a:pos x="connsiteX3915" y="connsiteY3915"/>
              </a:cxn>
              <a:cxn ang="0">
                <a:pos x="connsiteX3916" y="connsiteY3916"/>
              </a:cxn>
              <a:cxn ang="0">
                <a:pos x="connsiteX3917" y="connsiteY3917"/>
              </a:cxn>
              <a:cxn ang="0">
                <a:pos x="connsiteX3918" y="connsiteY3918"/>
              </a:cxn>
              <a:cxn ang="0">
                <a:pos x="connsiteX3919" y="connsiteY3919"/>
              </a:cxn>
              <a:cxn ang="0">
                <a:pos x="connsiteX3920" y="connsiteY3920"/>
              </a:cxn>
              <a:cxn ang="0">
                <a:pos x="connsiteX3921" y="connsiteY3921"/>
              </a:cxn>
              <a:cxn ang="0">
                <a:pos x="connsiteX3922" y="connsiteY3922"/>
              </a:cxn>
              <a:cxn ang="0">
                <a:pos x="connsiteX3923" y="connsiteY3923"/>
              </a:cxn>
              <a:cxn ang="0">
                <a:pos x="connsiteX3924" y="connsiteY3924"/>
              </a:cxn>
              <a:cxn ang="0">
                <a:pos x="connsiteX3925" y="connsiteY3925"/>
              </a:cxn>
              <a:cxn ang="0">
                <a:pos x="connsiteX3926" y="connsiteY3926"/>
              </a:cxn>
              <a:cxn ang="0">
                <a:pos x="connsiteX3927" y="connsiteY3927"/>
              </a:cxn>
              <a:cxn ang="0">
                <a:pos x="connsiteX3928" y="connsiteY3928"/>
              </a:cxn>
              <a:cxn ang="0">
                <a:pos x="connsiteX3929" y="connsiteY3929"/>
              </a:cxn>
              <a:cxn ang="0">
                <a:pos x="connsiteX3930" y="connsiteY3930"/>
              </a:cxn>
              <a:cxn ang="0">
                <a:pos x="connsiteX3931" y="connsiteY3931"/>
              </a:cxn>
              <a:cxn ang="0">
                <a:pos x="connsiteX3932" y="connsiteY3932"/>
              </a:cxn>
              <a:cxn ang="0">
                <a:pos x="connsiteX3933" y="connsiteY3933"/>
              </a:cxn>
              <a:cxn ang="0">
                <a:pos x="connsiteX3934" y="connsiteY3934"/>
              </a:cxn>
              <a:cxn ang="0">
                <a:pos x="connsiteX3935" y="connsiteY3935"/>
              </a:cxn>
              <a:cxn ang="0">
                <a:pos x="connsiteX3936" y="connsiteY3936"/>
              </a:cxn>
              <a:cxn ang="0">
                <a:pos x="connsiteX3937" y="connsiteY3937"/>
              </a:cxn>
              <a:cxn ang="0">
                <a:pos x="connsiteX3938" y="connsiteY3938"/>
              </a:cxn>
              <a:cxn ang="0">
                <a:pos x="connsiteX3939" y="connsiteY3939"/>
              </a:cxn>
              <a:cxn ang="0">
                <a:pos x="connsiteX3940" y="connsiteY3940"/>
              </a:cxn>
              <a:cxn ang="0">
                <a:pos x="connsiteX3941" y="connsiteY3941"/>
              </a:cxn>
              <a:cxn ang="0">
                <a:pos x="connsiteX3942" y="connsiteY3942"/>
              </a:cxn>
              <a:cxn ang="0">
                <a:pos x="connsiteX3943" y="connsiteY3943"/>
              </a:cxn>
              <a:cxn ang="0">
                <a:pos x="connsiteX3944" y="connsiteY3944"/>
              </a:cxn>
              <a:cxn ang="0">
                <a:pos x="connsiteX3945" y="connsiteY3945"/>
              </a:cxn>
              <a:cxn ang="0">
                <a:pos x="connsiteX3946" y="connsiteY3946"/>
              </a:cxn>
              <a:cxn ang="0">
                <a:pos x="connsiteX3947" y="connsiteY3947"/>
              </a:cxn>
              <a:cxn ang="0">
                <a:pos x="connsiteX3948" y="connsiteY3948"/>
              </a:cxn>
              <a:cxn ang="0">
                <a:pos x="connsiteX3949" y="connsiteY3949"/>
              </a:cxn>
              <a:cxn ang="0">
                <a:pos x="connsiteX3950" y="connsiteY3950"/>
              </a:cxn>
              <a:cxn ang="0">
                <a:pos x="connsiteX3951" y="connsiteY3951"/>
              </a:cxn>
              <a:cxn ang="0">
                <a:pos x="connsiteX3952" y="connsiteY3952"/>
              </a:cxn>
              <a:cxn ang="0">
                <a:pos x="connsiteX3953" y="connsiteY3953"/>
              </a:cxn>
              <a:cxn ang="0">
                <a:pos x="connsiteX3954" y="connsiteY3954"/>
              </a:cxn>
              <a:cxn ang="0">
                <a:pos x="connsiteX3955" y="connsiteY3955"/>
              </a:cxn>
              <a:cxn ang="0">
                <a:pos x="connsiteX3956" y="connsiteY3956"/>
              </a:cxn>
              <a:cxn ang="0">
                <a:pos x="connsiteX3957" y="connsiteY3957"/>
              </a:cxn>
              <a:cxn ang="0">
                <a:pos x="connsiteX3958" y="connsiteY3958"/>
              </a:cxn>
              <a:cxn ang="0">
                <a:pos x="connsiteX3959" y="connsiteY3959"/>
              </a:cxn>
              <a:cxn ang="0">
                <a:pos x="connsiteX3960" y="connsiteY3960"/>
              </a:cxn>
              <a:cxn ang="0">
                <a:pos x="connsiteX3961" y="connsiteY3961"/>
              </a:cxn>
              <a:cxn ang="0">
                <a:pos x="connsiteX3962" y="connsiteY3962"/>
              </a:cxn>
              <a:cxn ang="0">
                <a:pos x="connsiteX3963" y="connsiteY3963"/>
              </a:cxn>
              <a:cxn ang="0">
                <a:pos x="connsiteX3964" y="connsiteY3964"/>
              </a:cxn>
              <a:cxn ang="0">
                <a:pos x="connsiteX3965" y="connsiteY3965"/>
              </a:cxn>
              <a:cxn ang="0">
                <a:pos x="connsiteX3966" y="connsiteY3966"/>
              </a:cxn>
              <a:cxn ang="0">
                <a:pos x="connsiteX3967" y="connsiteY3967"/>
              </a:cxn>
              <a:cxn ang="0">
                <a:pos x="connsiteX3968" y="connsiteY3968"/>
              </a:cxn>
              <a:cxn ang="0">
                <a:pos x="connsiteX3969" y="connsiteY3969"/>
              </a:cxn>
              <a:cxn ang="0">
                <a:pos x="connsiteX3970" y="connsiteY3970"/>
              </a:cxn>
              <a:cxn ang="0">
                <a:pos x="connsiteX3971" y="connsiteY3971"/>
              </a:cxn>
              <a:cxn ang="0">
                <a:pos x="connsiteX3972" y="connsiteY3972"/>
              </a:cxn>
              <a:cxn ang="0">
                <a:pos x="connsiteX3973" y="connsiteY3973"/>
              </a:cxn>
              <a:cxn ang="0">
                <a:pos x="connsiteX3974" y="connsiteY3974"/>
              </a:cxn>
              <a:cxn ang="0">
                <a:pos x="connsiteX3975" y="connsiteY3975"/>
              </a:cxn>
              <a:cxn ang="0">
                <a:pos x="connsiteX3976" y="connsiteY3976"/>
              </a:cxn>
              <a:cxn ang="0">
                <a:pos x="connsiteX3977" y="connsiteY3977"/>
              </a:cxn>
              <a:cxn ang="0">
                <a:pos x="connsiteX3978" y="connsiteY3978"/>
              </a:cxn>
              <a:cxn ang="0">
                <a:pos x="connsiteX3979" y="connsiteY3979"/>
              </a:cxn>
              <a:cxn ang="0">
                <a:pos x="connsiteX3980" y="connsiteY3980"/>
              </a:cxn>
              <a:cxn ang="0">
                <a:pos x="connsiteX3981" y="connsiteY3981"/>
              </a:cxn>
              <a:cxn ang="0">
                <a:pos x="connsiteX3982" y="connsiteY3982"/>
              </a:cxn>
              <a:cxn ang="0">
                <a:pos x="connsiteX3983" y="connsiteY3983"/>
              </a:cxn>
              <a:cxn ang="0">
                <a:pos x="connsiteX3984" y="connsiteY3984"/>
              </a:cxn>
              <a:cxn ang="0">
                <a:pos x="connsiteX3985" y="connsiteY3985"/>
              </a:cxn>
              <a:cxn ang="0">
                <a:pos x="connsiteX3986" y="connsiteY3986"/>
              </a:cxn>
              <a:cxn ang="0">
                <a:pos x="connsiteX3987" y="connsiteY3987"/>
              </a:cxn>
              <a:cxn ang="0">
                <a:pos x="connsiteX3988" y="connsiteY3988"/>
              </a:cxn>
              <a:cxn ang="0">
                <a:pos x="connsiteX3989" y="connsiteY3989"/>
              </a:cxn>
              <a:cxn ang="0">
                <a:pos x="connsiteX3990" y="connsiteY3990"/>
              </a:cxn>
              <a:cxn ang="0">
                <a:pos x="connsiteX3991" y="connsiteY3991"/>
              </a:cxn>
              <a:cxn ang="0">
                <a:pos x="connsiteX3992" y="connsiteY3992"/>
              </a:cxn>
              <a:cxn ang="0">
                <a:pos x="connsiteX3993" y="connsiteY3993"/>
              </a:cxn>
              <a:cxn ang="0">
                <a:pos x="connsiteX3994" y="connsiteY3994"/>
              </a:cxn>
              <a:cxn ang="0">
                <a:pos x="connsiteX3995" y="connsiteY3995"/>
              </a:cxn>
              <a:cxn ang="0">
                <a:pos x="connsiteX3996" y="connsiteY3996"/>
              </a:cxn>
              <a:cxn ang="0">
                <a:pos x="connsiteX3997" y="connsiteY3997"/>
              </a:cxn>
              <a:cxn ang="0">
                <a:pos x="connsiteX3998" y="connsiteY3998"/>
              </a:cxn>
              <a:cxn ang="0">
                <a:pos x="connsiteX3999" y="connsiteY3999"/>
              </a:cxn>
              <a:cxn ang="0">
                <a:pos x="connsiteX4000" y="connsiteY4000"/>
              </a:cxn>
              <a:cxn ang="0">
                <a:pos x="connsiteX4001" y="connsiteY4001"/>
              </a:cxn>
              <a:cxn ang="0">
                <a:pos x="connsiteX4002" y="connsiteY4002"/>
              </a:cxn>
              <a:cxn ang="0">
                <a:pos x="connsiteX4003" y="connsiteY4003"/>
              </a:cxn>
              <a:cxn ang="0">
                <a:pos x="connsiteX4004" y="connsiteY4004"/>
              </a:cxn>
              <a:cxn ang="0">
                <a:pos x="connsiteX4005" y="connsiteY4005"/>
              </a:cxn>
              <a:cxn ang="0">
                <a:pos x="connsiteX4006" y="connsiteY4006"/>
              </a:cxn>
              <a:cxn ang="0">
                <a:pos x="connsiteX4007" y="connsiteY4007"/>
              </a:cxn>
              <a:cxn ang="0">
                <a:pos x="connsiteX4008" y="connsiteY4008"/>
              </a:cxn>
              <a:cxn ang="0">
                <a:pos x="connsiteX4009" y="connsiteY4009"/>
              </a:cxn>
              <a:cxn ang="0">
                <a:pos x="connsiteX4010" y="connsiteY4010"/>
              </a:cxn>
              <a:cxn ang="0">
                <a:pos x="connsiteX4011" y="connsiteY4011"/>
              </a:cxn>
              <a:cxn ang="0">
                <a:pos x="connsiteX4012" y="connsiteY4012"/>
              </a:cxn>
              <a:cxn ang="0">
                <a:pos x="connsiteX4013" y="connsiteY4013"/>
              </a:cxn>
              <a:cxn ang="0">
                <a:pos x="connsiteX4014" y="connsiteY4014"/>
              </a:cxn>
              <a:cxn ang="0">
                <a:pos x="connsiteX4015" y="connsiteY4015"/>
              </a:cxn>
              <a:cxn ang="0">
                <a:pos x="connsiteX4016" y="connsiteY4016"/>
              </a:cxn>
              <a:cxn ang="0">
                <a:pos x="connsiteX4017" y="connsiteY4017"/>
              </a:cxn>
              <a:cxn ang="0">
                <a:pos x="connsiteX4018" y="connsiteY4018"/>
              </a:cxn>
              <a:cxn ang="0">
                <a:pos x="connsiteX4019" y="connsiteY4019"/>
              </a:cxn>
              <a:cxn ang="0">
                <a:pos x="connsiteX4020" y="connsiteY4020"/>
              </a:cxn>
              <a:cxn ang="0">
                <a:pos x="connsiteX4021" y="connsiteY4021"/>
              </a:cxn>
              <a:cxn ang="0">
                <a:pos x="connsiteX4022" y="connsiteY4022"/>
              </a:cxn>
              <a:cxn ang="0">
                <a:pos x="connsiteX4023" y="connsiteY4023"/>
              </a:cxn>
              <a:cxn ang="0">
                <a:pos x="connsiteX4024" y="connsiteY4024"/>
              </a:cxn>
              <a:cxn ang="0">
                <a:pos x="connsiteX4025" y="connsiteY4025"/>
              </a:cxn>
              <a:cxn ang="0">
                <a:pos x="connsiteX4026" y="connsiteY4026"/>
              </a:cxn>
              <a:cxn ang="0">
                <a:pos x="connsiteX4027" y="connsiteY4027"/>
              </a:cxn>
              <a:cxn ang="0">
                <a:pos x="connsiteX4028" y="connsiteY4028"/>
              </a:cxn>
              <a:cxn ang="0">
                <a:pos x="connsiteX4029" y="connsiteY4029"/>
              </a:cxn>
              <a:cxn ang="0">
                <a:pos x="connsiteX4030" y="connsiteY4030"/>
              </a:cxn>
              <a:cxn ang="0">
                <a:pos x="connsiteX4031" y="connsiteY4031"/>
              </a:cxn>
              <a:cxn ang="0">
                <a:pos x="connsiteX4032" y="connsiteY4032"/>
              </a:cxn>
              <a:cxn ang="0">
                <a:pos x="connsiteX4033" y="connsiteY4033"/>
              </a:cxn>
              <a:cxn ang="0">
                <a:pos x="connsiteX4034" y="connsiteY4034"/>
              </a:cxn>
              <a:cxn ang="0">
                <a:pos x="connsiteX4035" y="connsiteY4035"/>
              </a:cxn>
              <a:cxn ang="0">
                <a:pos x="connsiteX4036" y="connsiteY4036"/>
              </a:cxn>
              <a:cxn ang="0">
                <a:pos x="connsiteX4037" y="connsiteY4037"/>
              </a:cxn>
              <a:cxn ang="0">
                <a:pos x="connsiteX4038" y="connsiteY4038"/>
              </a:cxn>
              <a:cxn ang="0">
                <a:pos x="connsiteX4039" y="connsiteY4039"/>
              </a:cxn>
              <a:cxn ang="0">
                <a:pos x="connsiteX4040" y="connsiteY4040"/>
              </a:cxn>
              <a:cxn ang="0">
                <a:pos x="connsiteX4041" y="connsiteY4041"/>
              </a:cxn>
              <a:cxn ang="0">
                <a:pos x="connsiteX4042" y="connsiteY4042"/>
              </a:cxn>
              <a:cxn ang="0">
                <a:pos x="connsiteX4043" y="connsiteY4043"/>
              </a:cxn>
              <a:cxn ang="0">
                <a:pos x="connsiteX4044" y="connsiteY4044"/>
              </a:cxn>
              <a:cxn ang="0">
                <a:pos x="connsiteX4045" y="connsiteY4045"/>
              </a:cxn>
              <a:cxn ang="0">
                <a:pos x="connsiteX4046" y="connsiteY4046"/>
              </a:cxn>
              <a:cxn ang="0">
                <a:pos x="connsiteX4047" y="connsiteY4047"/>
              </a:cxn>
              <a:cxn ang="0">
                <a:pos x="connsiteX4048" y="connsiteY4048"/>
              </a:cxn>
              <a:cxn ang="0">
                <a:pos x="connsiteX4049" y="connsiteY4049"/>
              </a:cxn>
              <a:cxn ang="0">
                <a:pos x="connsiteX4050" y="connsiteY4050"/>
              </a:cxn>
              <a:cxn ang="0">
                <a:pos x="connsiteX4051" y="connsiteY4051"/>
              </a:cxn>
              <a:cxn ang="0">
                <a:pos x="connsiteX4052" y="connsiteY4052"/>
              </a:cxn>
              <a:cxn ang="0">
                <a:pos x="connsiteX4053" y="connsiteY4053"/>
              </a:cxn>
              <a:cxn ang="0">
                <a:pos x="connsiteX4054" y="connsiteY4054"/>
              </a:cxn>
              <a:cxn ang="0">
                <a:pos x="connsiteX4055" y="connsiteY4055"/>
              </a:cxn>
              <a:cxn ang="0">
                <a:pos x="connsiteX4056" y="connsiteY4056"/>
              </a:cxn>
              <a:cxn ang="0">
                <a:pos x="connsiteX4057" y="connsiteY4057"/>
              </a:cxn>
              <a:cxn ang="0">
                <a:pos x="connsiteX4058" y="connsiteY4058"/>
              </a:cxn>
              <a:cxn ang="0">
                <a:pos x="connsiteX4059" y="connsiteY4059"/>
              </a:cxn>
              <a:cxn ang="0">
                <a:pos x="connsiteX4060" y="connsiteY4060"/>
              </a:cxn>
              <a:cxn ang="0">
                <a:pos x="connsiteX4061" y="connsiteY4061"/>
              </a:cxn>
              <a:cxn ang="0">
                <a:pos x="connsiteX4062" y="connsiteY4062"/>
              </a:cxn>
              <a:cxn ang="0">
                <a:pos x="connsiteX4063" y="connsiteY4063"/>
              </a:cxn>
              <a:cxn ang="0">
                <a:pos x="connsiteX4064" y="connsiteY4064"/>
              </a:cxn>
              <a:cxn ang="0">
                <a:pos x="connsiteX4065" y="connsiteY4065"/>
              </a:cxn>
              <a:cxn ang="0">
                <a:pos x="connsiteX4066" y="connsiteY4066"/>
              </a:cxn>
              <a:cxn ang="0">
                <a:pos x="connsiteX4067" y="connsiteY4067"/>
              </a:cxn>
              <a:cxn ang="0">
                <a:pos x="connsiteX4068" y="connsiteY4068"/>
              </a:cxn>
              <a:cxn ang="0">
                <a:pos x="connsiteX4069" y="connsiteY4069"/>
              </a:cxn>
              <a:cxn ang="0">
                <a:pos x="connsiteX4070" y="connsiteY4070"/>
              </a:cxn>
              <a:cxn ang="0">
                <a:pos x="connsiteX4071" y="connsiteY4071"/>
              </a:cxn>
              <a:cxn ang="0">
                <a:pos x="connsiteX4072" y="connsiteY4072"/>
              </a:cxn>
              <a:cxn ang="0">
                <a:pos x="connsiteX4073" y="connsiteY4073"/>
              </a:cxn>
              <a:cxn ang="0">
                <a:pos x="connsiteX4074" y="connsiteY4074"/>
              </a:cxn>
              <a:cxn ang="0">
                <a:pos x="connsiteX4075" y="connsiteY4075"/>
              </a:cxn>
              <a:cxn ang="0">
                <a:pos x="connsiteX4076" y="connsiteY4076"/>
              </a:cxn>
              <a:cxn ang="0">
                <a:pos x="connsiteX4077" y="connsiteY4077"/>
              </a:cxn>
              <a:cxn ang="0">
                <a:pos x="connsiteX4078" y="connsiteY4078"/>
              </a:cxn>
              <a:cxn ang="0">
                <a:pos x="connsiteX4079" y="connsiteY4079"/>
              </a:cxn>
              <a:cxn ang="0">
                <a:pos x="connsiteX4080" y="connsiteY4080"/>
              </a:cxn>
              <a:cxn ang="0">
                <a:pos x="connsiteX4081" y="connsiteY4081"/>
              </a:cxn>
              <a:cxn ang="0">
                <a:pos x="connsiteX4082" y="connsiteY4082"/>
              </a:cxn>
              <a:cxn ang="0">
                <a:pos x="connsiteX4083" y="connsiteY4083"/>
              </a:cxn>
              <a:cxn ang="0">
                <a:pos x="connsiteX4084" y="connsiteY4084"/>
              </a:cxn>
              <a:cxn ang="0">
                <a:pos x="connsiteX4085" y="connsiteY4085"/>
              </a:cxn>
              <a:cxn ang="0">
                <a:pos x="connsiteX4086" y="connsiteY4086"/>
              </a:cxn>
              <a:cxn ang="0">
                <a:pos x="connsiteX4087" y="connsiteY4087"/>
              </a:cxn>
              <a:cxn ang="0">
                <a:pos x="connsiteX4088" y="connsiteY4088"/>
              </a:cxn>
              <a:cxn ang="0">
                <a:pos x="connsiteX4089" y="connsiteY4089"/>
              </a:cxn>
              <a:cxn ang="0">
                <a:pos x="connsiteX4090" y="connsiteY4090"/>
              </a:cxn>
              <a:cxn ang="0">
                <a:pos x="connsiteX4091" y="connsiteY4091"/>
              </a:cxn>
              <a:cxn ang="0">
                <a:pos x="connsiteX4092" y="connsiteY4092"/>
              </a:cxn>
              <a:cxn ang="0">
                <a:pos x="connsiteX4093" y="connsiteY4093"/>
              </a:cxn>
              <a:cxn ang="0">
                <a:pos x="connsiteX4094" y="connsiteY4094"/>
              </a:cxn>
              <a:cxn ang="0">
                <a:pos x="connsiteX4095" y="connsiteY4095"/>
              </a:cxn>
              <a:cxn ang="0">
                <a:pos x="connsiteX4096" y="connsiteY4096"/>
              </a:cxn>
              <a:cxn ang="0">
                <a:pos x="connsiteX4097" y="connsiteY4097"/>
              </a:cxn>
              <a:cxn ang="0">
                <a:pos x="connsiteX4098" y="connsiteY4098"/>
              </a:cxn>
              <a:cxn ang="0">
                <a:pos x="connsiteX4099" y="connsiteY4099"/>
              </a:cxn>
              <a:cxn ang="0">
                <a:pos x="connsiteX4100" y="connsiteY4100"/>
              </a:cxn>
              <a:cxn ang="0">
                <a:pos x="connsiteX4101" y="connsiteY4101"/>
              </a:cxn>
              <a:cxn ang="0">
                <a:pos x="connsiteX4102" y="connsiteY4102"/>
              </a:cxn>
              <a:cxn ang="0">
                <a:pos x="connsiteX4103" y="connsiteY4103"/>
              </a:cxn>
              <a:cxn ang="0">
                <a:pos x="connsiteX4104" y="connsiteY4104"/>
              </a:cxn>
              <a:cxn ang="0">
                <a:pos x="connsiteX4105" y="connsiteY4105"/>
              </a:cxn>
              <a:cxn ang="0">
                <a:pos x="connsiteX4106" y="connsiteY4106"/>
              </a:cxn>
              <a:cxn ang="0">
                <a:pos x="connsiteX4107" y="connsiteY4107"/>
              </a:cxn>
              <a:cxn ang="0">
                <a:pos x="connsiteX4108" y="connsiteY4108"/>
              </a:cxn>
              <a:cxn ang="0">
                <a:pos x="connsiteX4109" y="connsiteY4109"/>
              </a:cxn>
              <a:cxn ang="0">
                <a:pos x="connsiteX4110" y="connsiteY4110"/>
              </a:cxn>
              <a:cxn ang="0">
                <a:pos x="connsiteX4111" y="connsiteY4111"/>
              </a:cxn>
              <a:cxn ang="0">
                <a:pos x="connsiteX4112" y="connsiteY4112"/>
              </a:cxn>
              <a:cxn ang="0">
                <a:pos x="connsiteX4113" y="connsiteY4113"/>
              </a:cxn>
              <a:cxn ang="0">
                <a:pos x="connsiteX4114" y="connsiteY4114"/>
              </a:cxn>
              <a:cxn ang="0">
                <a:pos x="connsiteX4115" y="connsiteY4115"/>
              </a:cxn>
              <a:cxn ang="0">
                <a:pos x="connsiteX4116" y="connsiteY4116"/>
              </a:cxn>
              <a:cxn ang="0">
                <a:pos x="connsiteX4117" y="connsiteY4117"/>
              </a:cxn>
              <a:cxn ang="0">
                <a:pos x="connsiteX4118" y="connsiteY4118"/>
              </a:cxn>
              <a:cxn ang="0">
                <a:pos x="connsiteX4119" y="connsiteY4119"/>
              </a:cxn>
              <a:cxn ang="0">
                <a:pos x="connsiteX4120" y="connsiteY4120"/>
              </a:cxn>
              <a:cxn ang="0">
                <a:pos x="connsiteX4121" y="connsiteY4121"/>
              </a:cxn>
              <a:cxn ang="0">
                <a:pos x="connsiteX4122" y="connsiteY4122"/>
              </a:cxn>
              <a:cxn ang="0">
                <a:pos x="connsiteX4123" y="connsiteY4123"/>
              </a:cxn>
              <a:cxn ang="0">
                <a:pos x="connsiteX4124" y="connsiteY4124"/>
              </a:cxn>
              <a:cxn ang="0">
                <a:pos x="connsiteX4125" y="connsiteY4125"/>
              </a:cxn>
              <a:cxn ang="0">
                <a:pos x="connsiteX4126" y="connsiteY4126"/>
              </a:cxn>
              <a:cxn ang="0">
                <a:pos x="connsiteX4127" y="connsiteY4127"/>
              </a:cxn>
              <a:cxn ang="0">
                <a:pos x="connsiteX4128" y="connsiteY4128"/>
              </a:cxn>
              <a:cxn ang="0">
                <a:pos x="connsiteX4129" y="connsiteY4129"/>
              </a:cxn>
              <a:cxn ang="0">
                <a:pos x="connsiteX4130" y="connsiteY4130"/>
              </a:cxn>
              <a:cxn ang="0">
                <a:pos x="connsiteX4131" y="connsiteY4131"/>
              </a:cxn>
              <a:cxn ang="0">
                <a:pos x="connsiteX4132" y="connsiteY4132"/>
              </a:cxn>
              <a:cxn ang="0">
                <a:pos x="connsiteX4133" y="connsiteY4133"/>
              </a:cxn>
              <a:cxn ang="0">
                <a:pos x="connsiteX4134" y="connsiteY4134"/>
              </a:cxn>
              <a:cxn ang="0">
                <a:pos x="connsiteX4135" y="connsiteY4135"/>
              </a:cxn>
              <a:cxn ang="0">
                <a:pos x="connsiteX4136" y="connsiteY4136"/>
              </a:cxn>
              <a:cxn ang="0">
                <a:pos x="connsiteX4137" y="connsiteY4137"/>
              </a:cxn>
              <a:cxn ang="0">
                <a:pos x="connsiteX4138" y="connsiteY4138"/>
              </a:cxn>
              <a:cxn ang="0">
                <a:pos x="connsiteX4139" y="connsiteY4139"/>
              </a:cxn>
              <a:cxn ang="0">
                <a:pos x="connsiteX4140" y="connsiteY4140"/>
              </a:cxn>
              <a:cxn ang="0">
                <a:pos x="connsiteX4141" y="connsiteY4141"/>
              </a:cxn>
              <a:cxn ang="0">
                <a:pos x="connsiteX4142" y="connsiteY4142"/>
              </a:cxn>
              <a:cxn ang="0">
                <a:pos x="connsiteX4143" y="connsiteY4143"/>
              </a:cxn>
              <a:cxn ang="0">
                <a:pos x="connsiteX4144" y="connsiteY4144"/>
              </a:cxn>
              <a:cxn ang="0">
                <a:pos x="connsiteX4145" y="connsiteY4145"/>
              </a:cxn>
              <a:cxn ang="0">
                <a:pos x="connsiteX4146" y="connsiteY4146"/>
              </a:cxn>
              <a:cxn ang="0">
                <a:pos x="connsiteX4147" y="connsiteY4147"/>
              </a:cxn>
              <a:cxn ang="0">
                <a:pos x="connsiteX4148" y="connsiteY4148"/>
              </a:cxn>
              <a:cxn ang="0">
                <a:pos x="connsiteX4149" y="connsiteY4149"/>
              </a:cxn>
              <a:cxn ang="0">
                <a:pos x="connsiteX4150" y="connsiteY4150"/>
              </a:cxn>
              <a:cxn ang="0">
                <a:pos x="connsiteX4151" y="connsiteY4151"/>
              </a:cxn>
              <a:cxn ang="0">
                <a:pos x="connsiteX4152" y="connsiteY4152"/>
              </a:cxn>
              <a:cxn ang="0">
                <a:pos x="connsiteX4153" y="connsiteY4153"/>
              </a:cxn>
              <a:cxn ang="0">
                <a:pos x="connsiteX4154" y="connsiteY4154"/>
              </a:cxn>
              <a:cxn ang="0">
                <a:pos x="connsiteX4155" y="connsiteY4155"/>
              </a:cxn>
              <a:cxn ang="0">
                <a:pos x="connsiteX4156" y="connsiteY4156"/>
              </a:cxn>
              <a:cxn ang="0">
                <a:pos x="connsiteX4157" y="connsiteY4157"/>
              </a:cxn>
              <a:cxn ang="0">
                <a:pos x="connsiteX4158" y="connsiteY4158"/>
              </a:cxn>
              <a:cxn ang="0">
                <a:pos x="connsiteX4159" y="connsiteY4159"/>
              </a:cxn>
              <a:cxn ang="0">
                <a:pos x="connsiteX4160" y="connsiteY4160"/>
              </a:cxn>
              <a:cxn ang="0">
                <a:pos x="connsiteX4161" y="connsiteY4161"/>
              </a:cxn>
              <a:cxn ang="0">
                <a:pos x="connsiteX4162" y="connsiteY4162"/>
              </a:cxn>
              <a:cxn ang="0">
                <a:pos x="connsiteX4163" y="connsiteY4163"/>
              </a:cxn>
              <a:cxn ang="0">
                <a:pos x="connsiteX4164" y="connsiteY4164"/>
              </a:cxn>
              <a:cxn ang="0">
                <a:pos x="connsiteX4165" y="connsiteY4165"/>
              </a:cxn>
              <a:cxn ang="0">
                <a:pos x="connsiteX4166" y="connsiteY4166"/>
              </a:cxn>
              <a:cxn ang="0">
                <a:pos x="connsiteX4167" y="connsiteY4167"/>
              </a:cxn>
              <a:cxn ang="0">
                <a:pos x="connsiteX4168" y="connsiteY4168"/>
              </a:cxn>
              <a:cxn ang="0">
                <a:pos x="connsiteX4169" y="connsiteY4169"/>
              </a:cxn>
              <a:cxn ang="0">
                <a:pos x="connsiteX4170" y="connsiteY4170"/>
              </a:cxn>
              <a:cxn ang="0">
                <a:pos x="connsiteX4171" y="connsiteY4171"/>
              </a:cxn>
              <a:cxn ang="0">
                <a:pos x="connsiteX4172" y="connsiteY4172"/>
              </a:cxn>
              <a:cxn ang="0">
                <a:pos x="connsiteX4173" y="connsiteY4173"/>
              </a:cxn>
              <a:cxn ang="0">
                <a:pos x="connsiteX4174" y="connsiteY4174"/>
              </a:cxn>
              <a:cxn ang="0">
                <a:pos x="connsiteX4175" y="connsiteY4175"/>
              </a:cxn>
              <a:cxn ang="0">
                <a:pos x="connsiteX4176" y="connsiteY4176"/>
              </a:cxn>
              <a:cxn ang="0">
                <a:pos x="connsiteX4177" y="connsiteY4177"/>
              </a:cxn>
              <a:cxn ang="0">
                <a:pos x="connsiteX4178" y="connsiteY4178"/>
              </a:cxn>
              <a:cxn ang="0">
                <a:pos x="connsiteX4179" y="connsiteY4179"/>
              </a:cxn>
              <a:cxn ang="0">
                <a:pos x="connsiteX4180" y="connsiteY4180"/>
              </a:cxn>
              <a:cxn ang="0">
                <a:pos x="connsiteX4181" y="connsiteY4181"/>
              </a:cxn>
              <a:cxn ang="0">
                <a:pos x="connsiteX4182" y="connsiteY4182"/>
              </a:cxn>
              <a:cxn ang="0">
                <a:pos x="connsiteX4183" y="connsiteY4183"/>
              </a:cxn>
              <a:cxn ang="0">
                <a:pos x="connsiteX4184" y="connsiteY4184"/>
              </a:cxn>
              <a:cxn ang="0">
                <a:pos x="connsiteX4185" y="connsiteY4185"/>
              </a:cxn>
              <a:cxn ang="0">
                <a:pos x="connsiteX4186" y="connsiteY4186"/>
              </a:cxn>
              <a:cxn ang="0">
                <a:pos x="connsiteX4187" y="connsiteY4187"/>
              </a:cxn>
              <a:cxn ang="0">
                <a:pos x="connsiteX4188" y="connsiteY4188"/>
              </a:cxn>
              <a:cxn ang="0">
                <a:pos x="connsiteX4189" y="connsiteY4189"/>
              </a:cxn>
              <a:cxn ang="0">
                <a:pos x="connsiteX4190" y="connsiteY4190"/>
              </a:cxn>
              <a:cxn ang="0">
                <a:pos x="connsiteX4191" y="connsiteY4191"/>
              </a:cxn>
              <a:cxn ang="0">
                <a:pos x="connsiteX4192" y="connsiteY4192"/>
              </a:cxn>
              <a:cxn ang="0">
                <a:pos x="connsiteX4193" y="connsiteY4193"/>
              </a:cxn>
              <a:cxn ang="0">
                <a:pos x="connsiteX4194" y="connsiteY4194"/>
              </a:cxn>
              <a:cxn ang="0">
                <a:pos x="connsiteX4195" y="connsiteY4195"/>
              </a:cxn>
              <a:cxn ang="0">
                <a:pos x="connsiteX4196" y="connsiteY4196"/>
              </a:cxn>
              <a:cxn ang="0">
                <a:pos x="connsiteX4197" y="connsiteY4197"/>
              </a:cxn>
              <a:cxn ang="0">
                <a:pos x="connsiteX4198" y="connsiteY4198"/>
              </a:cxn>
              <a:cxn ang="0">
                <a:pos x="connsiteX4199" y="connsiteY4199"/>
              </a:cxn>
              <a:cxn ang="0">
                <a:pos x="connsiteX4200" y="connsiteY4200"/>
              </a:cxn>
              <a:cxn ang="0">
                <a:pos x="connsiteX4201" y="connsiteY4201"/>
              </a:cxn>
              <a:cxn ang="0">
                <a:pos x="connsiteX4202" y="connsiteY4202"/>
              </a:cxn>
            </a:cxnLst>
            <a:rect l="l" t="t" r="r" b="b"/>
            <a:pathLst>
              <a:path w="9043663" h="3664183">
                <a:moveTo>
                  <a:pt x="7739255" y="3664184"/>
                </a:moveTo>
                <a:lnTo>
                  <a:pt x="7760756" y="3664184"/>
                </a:lnTo>
                <a:lnTo>
                  <a:pt x="7760756" y="3659001"/>
                </a:lnTo>
                <a:lnTo>
                  <a:pt x="7739255" y="3659001"/>
                </a:lnTo>
                <a:lnTo>
                  <a:pt x="7739255" y="3664184"/>
                </a:lnTo>
                <a:close/>
                <a:moveTo>
                  <a:pt x="8835818" y="2418257"/>
                </a:moveTo>
                <a:lnTo>
                  <a:pt x="8857320" y="2441062"/>
                </a:lnTo>
                <a:lnTo>
                  <a:pt x="8880016" y="2441062"/>
                </a:lnTo>
                <a:lnTo>
                  <a:pt x="8876431" y="2436915"/>
                </a:lnTo>
                <a:lnTo>
                  <a:pt x="8870459" y="2425513"/>
                </a:lnTo>
                <a:lnTo>
                  <a:pt x="8845374" y="2420331"/>
                </a:lnTo>
                <a:lnTo>
                  <a:pt x="8835818" y="2418257"/>
                </a:lnTo>
                <a:close/>
                <a:moveTo>
                  <a:pt x="1781020" y="1545487"/>
                </a:moveTo>
                <a:lnTo>
                  <a:pt x="1781020" y="1557926"/>
                </a:lnTo>
                <a:lnTo>
                  <a:pt x="1808494" y="1553780"/>
                </a:lnTo>
                <a:lnTo>
                  <a:pt x="1794160" y="1541341"/>
                </a:lnTo>
                <a:lnTo>
                  <a:pt x="1781020" y="1545487"/>
                </a:lnTo>
                <a:close/>
                <a:moveTo>
                  <a:pt x="2389028" y="1688530"/>
                </a:moveTo>
                <a:lnTo>
                  <a:pt x="2372305" y="1695786"/>
                </a:lnTo>
                <a:lnTo>
                  <a:pt x="2372305" y="1712371"/>
                </a:lnTo>
                <a:lnTo>
                  <a:pt x="2393806" y="1700969"/>
                </a:lnTo>
                <a:lnTo>
                  <a:pt x="2389028" y="1688530"/>
                </a:lnTo>
                <a:close/>
                <a:moveTo>
                  <a:pt x="2403362" y="1743467"/>
                </a:moveTo>
                <a:lnTo>
                  <a:pt x="2389028" y="1735175"/>
                </a:lnTo>
                <a:lnTo>
                  <a:pt x="2385444" y="1739321"/>
                </a:lnTo>
                <a:lnTo>
                  <a:pt x="2399778" y="1747614"/>
                </a:lnTo>
                <a:lnTo>
                  <a:pt x="2403362" y="1743467"/>
                </a:lnTo>
                <a:close/>
                <a:moveTo>
                  <a:pt x="1961392" y="1415919"/>
                </a:moveTo>
                <a:lnTo>
                  <a:pt x="1925556" y="1406591"/>
                </a:lnTo>
                <a:lnTo>
                  <a:pt x="1924362" y="1411773"/>
                </a:lnTo>
                <a:lnTo>
                  <a:pt x="1960197" y="1421102"/>
                </a:lnTo>
                <a:lnTo>
                  <a:pt x="1961392" y="1415919"/>
                </a:lnTo>
                <a:close/>
                <a:moveTo>
                  <a:pt x="1966170" y="1434577"/>
                </a:moveTo>
                <a:lnTo>
                  <a:pt x="1981698" y="1421102"/>
                </a:lnTo>
                <a:lnTo>
                  <a:pt x="1981698" y="1421102"/>
                </a:lnTo>
                <a:lnTo>
                  <a:pt x="1982893" y="1419029"/>
                </a:lnTo>
                <a:lnTo>
                  <a:pt x="1985282" y="1416956"/>
                </a:lnTo>
                <a:lnTo>
                  <a:pt x="1985282" y="1416956"/>
                </a:lnTo>
                <a:lnTo>
                  <a:pt x="1985282" y="1416956"/>
                </a:lnTo>
                <a:lnTo>
                  <a:pt x="1982893" y="1415919"/>
                </a:lnTo>
                <a:lnTo>
                  <a:pt x="1980504" y="1413846"/>
                </a:lnTo>
                <a:lnTo>
                  <a:pt x="1980504" y="1413846"/>
                </a:lnTo>
                <a:lnTo>
                  <a:pt x="1967364" y="1404517"/>
                </a:lnTo>
                <a:lnTo>
                  <a:pt x="1964975" y="1402444"/>
                </a:lnTo>
                <a:lnTo>
                  <a:pt x="1961392" y="1406591"/>
                </a:lnTo>
                <a:lnTo>
                  <a:pt x="1963781" y="1408663"/>
                </a:lnTo>
                <a:lnTo>
                  <a:pt x="1975726" y="1416956"/>
                </a:lnTo>
                <a:lnTo>
                  <a:pt x="1961392" y="1429394"/>
                </a:lnTo>
                <a:lnTo>
                  <a:pt x="1966170" y="1434577"/>
                </a:lnTo>
                <a:close/>
                <a:moveTo>
                  <a:pt x="2006783" y="1454271"/>
                </a:moveTo>
                <a:lnTo>
                  <a:pt x="1997227" y="1449089"/>
                </a:lnTo>
                <a:lnTo>
                  <a:pt x="1986476" y="1443906"/>
                </a:lnTo>
                <a:lnTo>
                  <a:pt x="1986476" y="1443906"/>
                </a:lnTo>
                <a:lnTo>
                  <a:pt x="1984087" y="1442870"/>
                </a:lnTo>
                <a:lnTo>
                  <a:pt x="1981698" y="1447016"/>
                </a:lnTo>
                <a:lnTo>
                  <a:pt x="1994838" y="1453235"/>
                </a:lnTo>
                <a:lnTo>
                  <a:pt x="2003200" y="1457381"/>
                </a:lnTo>
                <a:lnTo>
                  <a:pt x="2002005" y="1461527"/>
                </a:lnTo>
                <a:lnTo>
                  <a:pt x="2000811" y="1467747"/>
                </a:lnTo>
                <a:lnTo>
                  <a:pt x="2000811" y="1467747"/>
                </a:lnTo>
                <a:lnTo>
                  <a:pt x="2000811" y="1469819"/>
                </a:lnTo>
                <a:lnTo>
                  <a:pt x="2006783" y="1470856"/>
                </a:lnTo>
                <a:lnTo>
                  <a:pt x="2009172" y="1461527"/>
                </a:lnTo>
                <a:lnTo>
                  <a:pt x="2010367" y="1455308"/>
                </a:lnTo>
                <a:lnTo>
                  <a:pt x="2011561" y="1453235"/>
                </a:lnTo>
                <a:lnTo>
                  <a:pt x="2010367" y="1453235"/>
                </a:lnTo>
                <a:lnTo>
                  <a:pt x="2010367" y="1452198"/>
                </a:lnTo>
                <a:lnTo>
                  <a:pt x="2006783" y="1454271"/>
                </a:lnTo>
                <a:close/>
                <a:moveTo>
                  <a:pt x="2013950" y="1467747"/>
                </a:moveTo>
                <a:lnTo>
                  <a:pt x="2013950" y="1467747"/>
                </a:lnTo>
                <a:lnTo>
                  <a:pt x="2011561" y="1465673"/>
                </a:lnTo>
                <a:lnTo>
                  <a:pt x="2006783" y="1468783"/>
                </a:lnTo>
                <a:lnTo>
                  <a:pt x="2011561" y="1473966"/>
                </a:lnTo>
                <a:lnTo>
                  <a:pt x="2017534" y="1481222"/>
                </a:lnTo>
                <a:lnTo>
                  <a:pt x="2017534" y="1481222"/>
                </a:lnTo>
                <a:lnTo>
                  <a:pt x="2019923" y="1483295"/>
                </a:lnTo>
                <a:lnTo>
                  <a:pt x="2024701" y="1480185"/>
                </a:lnTo>
                <a:lnTo>
                  <a:pt x="2019923" y="1475002"/>
                </a:lnTo>
                <a:lnTo>
                  <a:pt x="2013950" y="1467747"/>
                </a:lnTo>
                <a:close/>
                <a:moveTo>
                  <a:pt x="2013950" y="1493660"/>
                </a:moveTo>
                <a:lnTo>
                  <a:pt x="2024701" y="1521647"/>
                </a:lnTo>
                <a:lnTo>
                  <a:pt x="2030673" y="1519574"/>
                </a:lnTo>
                <a:lnTo>
                  <a:pt x="2019923" y="1491587"/>
                </a:lnTo>
                <a:lnTo>
                  <a:pt x="2013950" y="1493660"/>
                </a:lnTo>
                <a:close/>
                <a:moveTo>
                  <a:pt x="2030673" y="1533049"/>
                </a:moveTo>
                <a:lnTo>
                  <a:pt x="2034257" y="1537195"/>
                </a:lnTo>
                <a:lnTo>
                  <a:pt x="2036646" y="1536159"/>
                </a:lnTo>
                <a:lnTo>
                  <a:pt x="2053369" y="1526829"/>
                </a:lnTo>
                <a:lnTo>
                  <a:pt x="2054564" y="1526829"/>
                </a:lnTo>
                <a:lnTo>
                  <a:pt x="2055758" y="1524757"/>
                </a:lnTo>
                <a:lnTo>
                  <a:pt x="2056953" y="1523720"/>
                </a:lnTo>
                <a:lnTo>
                  <a:pt x="2055758" y="1522683"/>
                </a:lnTo>
                <a:lnTo>
                  <a:pt x="2055758" y="1521647"/>
                </a:lnTo>
                <a:lnTo>
                  <a:pt x="2053369" y="1520610"/>
                </a:lnTo>
                <a:lnTo>
                  <a:pt x="2052175" y="1519574"/>
                </a:lnTo>
                <a:lnTo>
                  <a:pt x="2050980" y="1520610"/>
                </a:lnTo>
                <a:lnTo>
                  <a:pt x="2031868" y="1515428"/>
                </a:lnTo>
                <a:lnTo>
                  <a:pt x="2029479" y="1520610"/>
                </a:lnTo>
                <a:lnTo>
                  <a:pt x="2045008" y="1524757"/>
                </a:lnTo>
                <a:lnTo>
                  <a:pt x="2031868" y="1532012"/>
                </a:lnTo>
                <a:lnTo>
                  <a:pt x="2030673" y="1533049"/>
                </a:lnTo>
                <a:close/>
                <a:moveTo>
                  <a:pt x="2071287" y="1534085"/>
                </a:moveTo>
                <a:lnTo>
                  <a:pt x="2089205" y="1534085"/>
                </a:lnTo>
                <a:lnTo>
                  <a:pt x="2089205" y="1528903"/>
                </a:lnTo>
                <a:lnTo>
                  <a:pt x="2071287" y="1528903"/>
                </a:lnTo>
                <a:lnTo>
                  <a:pt x="2071287" y="1534085"/>
                </a:lnTo>
                <a:close/>
                <a:moveTo>
                  <a:pt x="2085621" y="1545487"/>
                </a:moveTo>
                <a:lnTo>
                  <a:pt x="2088010" y="1550670"/>
                </a:lnTo>
                <a:lnTo>
                  <a:pt x="2090399" y="1549634"/>
                </a:lnTo>
                <a:lnTo>
                  <a:pt x="2098761" y="1547560"/>
                </a:lnTo>
                <a:lnTo>
                  <a:pt x="2107122" y="1548597"/>
                </a:lnTo>
                <a:lnTo>
                  <a:pt x="2116678" y="1549634"/>
                </a:lnTo>
                <a:lnTo>
                  <a:pt x="2116678" y="1549634"/>
                </a:lnTo>
                <a:lnTo>
                  <a:pt x="2119067" y="1549634"/>
                </a:lnTo>
                <a:lnTo>
                  <a:pt x="2120262" y="1544451"/>
                </a:lnTo>
                <a:lnTo>
                  <a:pt x="2108317" y="1542378"/>
                </a:lnTo>
                <a:lnTo>
                  <a:pt x="2101150" y="1541341"/>
                </a:lnTo>
                <a:lnTo>
                  <a:pt x="2101150" y="1540305"/>
                </a:lnTo>
                <a:lnTo>
                  <a:pt x="2098761" y="1541341"/>
                </a:lnTo>
                <a:lnTo>
                  <a:pt x="2096372" y="1541341"/>
                </a:lnTo>
                <a:lnTo>
                  <a:pt x="2096372" y="1542378"/>
                </a:lnTo>
                <a:lnTo>
                  <a:pt x="2089205" y="1544451"/>
                </a:lnTo>
                <a:lnTo>
                  <a:pt x="2085621" y="1545487"/>
                </a:lnTo>
                <a:close/>
                <a:moveTo>
                  <a:pt x="1852691" y="1466710"/>
                </a:moveTo>
                <a:lnTo>
                  <a:pt x="1834773" y="1466710"/>
                </a:lnTo>
                <a:lnTo>
                  <a:pt x="1834773" y="1471893"/>
                </a:lnTo>
                <a:lnTo>
                  <a:pt x="1852691" y="1471893"/>
                </a:lnTo>
                <a:lnTo>
                  <a:pt x="1852691" y="1466710"/>
                </a:lnTo>
                <a:close/>
                <a:moveTo>
                  <a:pt x="2491756" y="53900"/>
                </a:moveTo>
                <a:lnTo>
                  <a:pt x="2421279" y="62193"/>
                </a:lnTo>
                <a:lnTo>
                  <a:pt x="2512063" y="70485"/>
                </a:lnTo>
                <a:lnTo>
                  <a:pt x="2491756" y="53900"/>
                </a:lnTo>
                <a:close/>
                <a:moveTo>
                  <a:pt x="50170" y="682046"/>
                </a:moveTo>
                <a:lnTo>
                  <a:pt x="1195" y="690338"/>
                </a:lnTo>
                <a:lnTo>
                  <a:pt x="1195" y="693448"/>
                </a:lnTo>
                <a:lnTo>
                  <a:pt x="0" y="693448"/>
                </a:lnTo>
                <a:lnTo>
                  <a:pt x="1195" y="696558"/>
                </a:lnTo>
                <a:lnTo>
                  <a:pt x="0" y="696558"/>
                </a:lnTo>
                <a:lnTo>
                  <a:pt x="1195" y="700704"/>
                </a:lnTo>
                <a:lnTo>
                  <a:pt x="1195" y="706923"/>
                </a:lnTo>
                <a:lnTo>
                  <a:pt x="53753" y="691375"/>
                </a:lnTo>
                <a:lnTo>
                  <a:pt x="53753" y="690338"/>
                </a:lnTo>
                <a:lnTo>
                  <a:pt x="53753" y="691375"/>
                </a:lnTo>
                <a:lnTo>
                  <a:pt x="142147" y="663388"/>
                </a:lnTo>
                <a:lnTo>
                  <a:pt x="86005" y="663388"/>
                </a:lnTo>
                <a:lnTo>
                  <a:pt x="50170" y="682046"/>
                </a:lnTo>
                <a:close/>
                <a:moveTo>
                  <a:pt x="413302" y="430166"/>
                </a:moveTo>
                <a:lnTo>
                  <a:pt x="403746" y="430166"/>
                </a:lnTo>
                <a:lnTo>
                  <a:pt x="403746" y="435349"/>
                </a:lnTo>
                <a:lnTo>
                  <a:pt x="413302" y="435349"/>
                </a:lnTo>
                <a:lnTo>
                  <a:pt x="413302" y="430166"/>
                </a:lnTo>
                <a:close/>
                <a:moveTo>
                  <a:pt x="2184766" y="1649142"/>
                </a:moveTo>
                <a:lnTo>
                  <a:pt x="2200294" y="1635667"/>
                </a:lnTo>
                <a:lnTo>
                  <a:pt x="2185960" y="1617009"/>
                </a:lnTo>
                <a:lnTo>
                  <a:pt x="2165654" y="1617009"/>
                </a:lnTo>
                <a:lnTo>
                  <a:pt x="2179988" y="1606643"/>
                </a:lnTo>
                <a:lnTo>
                  <a:pt x="2157292" y="1606643"/>
                </a:lnTo>
                <a:lnTo>
                  <a:pt x="2148930" y="1601461"/>
                </a:lnTo>
                <a:lnTo>
                  <a:pt x="2099955" y="1596278"/>
                </a:lnTo>
                <a:lnTo>
                  <a:pt x="2099955" y="1596278"/>
                </a:lnTo>
                <a:lnTo>
                  <a:pt x="2059342" y="1590059"/>
                </a:lnTo>
                <a:lnTo>
                  <a:pt x="2043813" y="1603534"/>
                </a:lnTo>
                <a:lnTo>
                  <a:pt x="2058147" y="1603534"/>
                </a:lnTo>
                <a:lnTo>
                  <a:pt x="2071287" y="1632557"/>
                </a:lnTo>
                <a:lnTo>
                  <a:pt x="2050980" y="1636703"/>
                </a:lnTo>
                <a:lnTo>
                  <a:pt x="2023506" y="1631520"/>
                </a:lnTo>
                <a:lnTo>
                  <a:pt x="2009172" y="1639813"/>
                </a:lnTo>
                <a:lnTo>
                  <a:pt x="2031868" y="1650178"/>
                </a:lnTo>
                <a:lnTo>
                  <a:pt x="2084427" y="1648105"/>
                </a:lnTo>
                <a:lnTo>
                  <a:pt x="2098761" y="1666763"/>
                </a:lnTo>
                <a:lnTo>
                  <a:pt x="2109512" y="1642922"/>
                </a:lnTo>
                <a:lnTo>
                  <a:pt x="2121457" y="1639813"/>
                </a:lnTo>
                <a:lnTo>
                  <a:pt x="2119067" y="1650178"/>
                </a:lnTo>
                <a:lnTo>
                  <a:pt x="2170432" y="1638776"/>
                </a:lnTo>
                <a:lnTo>
                  <a:pt x="2184766" y="1649142"/>
                </a:lnTo>
                <a:close/>
                <a:moveTo>
                  <a:pt x="1896888" y="1646032"/>
                </a:moveTo>
                <a:lnTo>
                  <a:pt x="1932723" y="1658471"/>
                </a:lnTo>
                <a:lnTo>
                  <a:pt x="1963781" y="1652251"/>
                </a:lnTo>
                <a:lnTo>
                  <a:pt x="1959003" y="1642922"/>
                </a:lnTo>
                <a:lnTo>
                  <a:pt x="1917195" y="1634630"/>
                </a:lnTo>
                <a:lnTo>
                  <a:pt x="1896888" y="1646032"/>
                </a:lnTo>
                <a:close/>
                <a:moveTo>
                  <a:pt x="2018728" y="1573474"/>
                </a:moveTo>
                <a:lnTo>
                  <a:pt x="1997227" y="1573474"/>
                </a:lnTo>
                <a:lnTo>
                  <a:pt x="1999616" y="1564145"/>
                </a:lnTo>
                <a:lnTo>
                  <a:pt x="1973337" y="1557926"/>
                </a:lnTo>
                <a:lnTo>
                  <a:pt x="1923167" y="1529939"/>
                </a:lnTo>
                <a:lnTo>
                  <a:pt x="1838357" y="1506099"/>
                </a:lnTo>
                <a:lnTo>
                  <a:pt x="1777437" y="1514391"/>
                </a:lnTo>
                <a:lnTo>
                  <a:pt x="1727267" y="1545487"/>
                </a:lnTo>
                <a:lnTo>
                  <a:pt x="1751157" y="1545487"/>
                </a:lnTo>
                <a:lnTo>
                  <a:pt x="1798938" y="1524757"/>
                </a:lnTo>
                <a:lnTo>
                  <a:pt x="1818050" y="1525793"/>
                </a:lnTo>
                <a:lnTo>
                  <a:pt x="1810883" y="1527866"/>
                </a:lnTo>
                <a:lnTo>
                  <a:pt x="1819245" y="1539268"/>
                </a:lnTo>
                <a:lnTo>
                  <a:pt x="1905250" y="1551707"/>
                </a:lnTo>
                <a:lnTo>
                  <a:pt x="1923167" y="1575547"/>
                </a:lnTo>
                <a:lnTo>
                  <a:pt x="1939890" y="1575547"/>
                </a:lnTo>
                <a:lnTo>
                  <a:pt x="1942280" y="1582803"/>
                </a:lnTo>
                <a:lnTo>
                  <a:pt x="1919584" y="1602497"/>
                </a:lnTo>
                <a:lnTo>
                  <a:pt x="2039035" y="1593168"/>
                </a:lnTo>
                <a:lnTo>
                  <a:pt x="2018728" y="1573474"/>
                </a:lnTo>
                <a:close/>
                <a:moveTo>
                  <a:pt x="2226574" y="1635667"/>
                </a:moveTo>
                <a:lnTo>
                  <a:pt x="2221796" y="1651215"/>
                </a:lnTo>
                <a:lnTo>
                  <a:pt x="2258826" y="1651215"/>
                </a:lnTo>
                <a:lnTo>
                  <a:pt x="2271965" y="1642922"/>
                </a:lnTo>
                <a:lnTo>
                  <a:pt x="2258826" y="1634630"/>
                </a:lnTo>
                <a:lnTo>
                  <a:pt x="2226574" y="1634630"/>
                </a:lnTo>
                <a:close/>
                <a:moveTo>
                  <a:pt x="1945863" y="1496770"/>
                </a:moveTo>
                <a:lnTo>
                  <a:pt x="1950641" y="1502989"/>
                </a:lnTo>
                <a:lnTo>
                  <a:pt x="1954225" y="1468783"/>
                </a:lnTo>
                <a:lnTo>
                  <a:pt x="1942280" y="1451162"/>
                </a:lnTo>
                <a:lnTo>
                  <a:pt x="1939890" y="1454271"/>
                </a:lnTo>
                <a:lnTo>
                  <a:pt x="1926751" y="1468783"/>
                </a:lnTo>
                <a:lnTo>
                  <a:pt x="1927945" y="1469819"/>
                </a:lnTo>
                <a:lnTo>
                  <a:pt x="1926751" y="1470856"/>
                </a:lnTo>
                <a:lnTo>
                  <a:pt x="1945863" y="1496770"/>
                </a:lnTo>
                <a:close/>
                <a:moveTo>
                  <a:pt x="2066509" y="1570364"/>
                </a:moveTo>
                <a:lnTo>
                  <a:pt x="2084427" y="1548597"/>
                </a:lnTo>
                <a:lnTo>
                  <a:pt x="2041424" y="1570364"/>
                </a:lnTo>
                <a:lnTo>
                  <a:pt x="2066509" y="1570364"/>
                </a:lnTo>
                <a:close/>
                <a:moveTo>
                  <a:pt x="2562232" y="775335"/>
                </a:moveTo>
                <a:lnTo>
                  <a:pt x="2550287" y="773262"/>
                </a:lnTo>
                <a:lnTo>
                  <a:pt x="2559843" y="779481"/>
                </a:lnTo>
                <a:lnTo>
                  <a:pt x="2590900" y="803322"/>
                </a:lnTo>
                <a:lnTo>
                  <a:pt x="2624347" y="803322"/>
                </a:lnTo>
                <a:lnTo>
                  <a:pt x="2635098" y="804358"/>
                </a:lnTo>
                <a:lnTo>
                  <a:pt x="2625541" y="799176"/>
                </a:lnTo>
                <a:lnTo>
                  <a:pt x="2599262" y="781554"/>
                </a:lnTo>
                <a:lnTo>
                  <a:pt x="2562232" y="775335"/>
                </a:lnTo>
                <a:close/>
                <a:moveTo>
                  <a:pt x="2366332" y="445714"/>
                </a:moveTo>
                <a:lnTo>
                  <a:pt x="2328107" y="450897"/>
                </a:lnTo>
                <a:lnTo>
                  <a:pt x="2291078" y="471628"/>
                </a:lnTo>
                <a:lnTo>
                  <a:pt x="2367526" y="450897"/>
                </a:lnTo>
                <a:lnTo>
                  <a:pt x="2366332" y="445714"/>
                </a:lnTo>
                <a:close/>
                <a:moveTo>
                  <a:pt x="2390222" y="486139"/>
                </a:moveTo>
                <a:lnTo>
                  <a:pt x="2426058" y="458152"/>
                </a:lnTo>
                <a:lnTo>
                  <a:pt x="2398584" y="458152"/>
                </a:lnTo>
                <a:lnTo>
                  <a:pt x="2384250" y="475774"/>
                </a:lnTo>
                <a:lnTo>
                  <a:pt x="2390222" y="486139"/>
                </a:lnTo>
                <a:close/>
                <a:moveTo>
                  <a:pt x="2841748" y="806431"/>
                </a:moveTo>
                <a:lnTo>
                  <a:pt x="2846526" y="802285"/>
                </a:lnTo>
                <a:lnTo>
                  <a:pt x="2819053" y="810577"/>
                </a:lnTo>
                <a:lnTo>
                  <a:pt x="2817858" y="807468"/>
                </a:lnTo>
                <a:lnTo>
                  <a:pt x="2841748" y="793993"/>
                </a:lnTo>
                <a:lnTo>
                  <a:pt x="2834581" y="793993"/>
                </a:lnTo>
                <a:lnTo>
                  <a:pt x="2838165" y="790883"/>
                </a:lnTo>
                <a:lnTo>
                  <a:pt x="2786801" y="790883"/>
                </a:lnTo>
                <a:lnTo>
                  <a:pt x="2780828" y="781554"/>
                </a:lnTo>
                <a:lnTo>
                  <a:pt x="2802329" y="774298"/>
                </a:lnTo>
                <a:lnTo>
                  <a:pt x="2787995" y="772225"/>
                </a:lnTo>
                <a:lnTo>
                  <a:pt x="2777245" y="767043"/>
                </a:lnTo>
                <a:lnTo>
                  <a:pt x="2772467" y="769116"/>
                </a:lnTo>
                <a:lnTo>
                  <a:pt x="2819053" y="725581"/>
                </a:lnTo>
                <a:lnTo>
                  <a:pt x="2815469" y="726618"/>
                </a:lnTo>
                <a:lnTo>
                  <a:pt x="2816664" y="725581"/>
                </a:lnTo>
                <a:lnTo>
                  <a:pt x="2776050" y="735946"/>
                </a:lnTo>
                <a:lnTo>
                  <a:pt x="2688851" y="808504"/>
                </a:lnTo>
                <a:lnTo>
                  <a:pt x="2690045" y="809541"/>
                </a:lnTo>
                <a:lnTo>
                  <a:pt x="2687656" y="811614"/>
                </a:lnTo>
                <a:lnTo>
                  <a:pt x="2692434" y="814724"/>
                </a:lnTo>
                <a:lnTo>
                  <a:pt x="2669738" y="830272"/>
                </a:lnTo>
                <a:lnTo>
                  <a:pt x="2668544" y="831308"/>
                </a:lnTo>
                <a:lnTo>
                  <a:pt x="2668544" y="845820"/>
                </a:lnTo>
                <a:lnTo>
                  <a:pt x="2753354" y="845820"/>
                </a:lnTo>
                <a:lnTo>
                  <a:pt x="2740215" y="857222"/>
                </a:lnTo>
                <a:lnTo>
                  <a:pt x="2742604" y="858259"/>
                </a:lnTo>
                <a:lnTo>
                  <a:pt x="2740215" y="860332"/>
                </a:lnTo>
                <a:lnTo>
                  <a:pt x="2756938" y="864478"/>
                </a:lnTo>
                <a:lnTo>
                  <a:pt x="2758132" y="865514"/>
                </a:lnTo>
                <a:lnTo>
                  <a:pt x="2759327" y="864478"/>
                </a:lnTo>
                <a:lnTo>
                  <a:pt x="2779634" y="849966"/>
                </a:lnTo>
                <a:lnTo>
                  <a:pt x="2793968" y="849966"/>
                </a:lnTo>
                <a:lnTo>
                  <a:pt x="2778439" y="869660"/>
                </a:lnTo>
                <a:lnTo>
                  <a:pt x="2784412" y="866551"/>
                </a:lnTo>
                <a:lnTo>
                  <a:pt x="2784412" y="867587"/>
                </a:lnTo>
                <a:lnTo>
                  <a:pt x="2797551" y="863441"/>
                </a:lnTo>
                <a:lnTo>
                  <a:pt x="2797551" y="864478"/>
                </a:lnTo>
                <a:lnTo>
                  <a:pt x="2793968" y="868624"/>
                </a:lnTo>
                <a:lnTo>
                  <a:pt x="2819053" y="868624"/>
                </a:lnTo>
                <a:lnTo>
                  <a:pt x="2840554" y="833381"/>
                </a:lnTo>
                <a:lnTo>
                  <a:pt x="2827414" y="835455"/>
                </a:lnTo>
                <a:lnTo>
                  <a:pt x="2845332" y="815760"/>
                </a:lnTo>
                <a:lnTo>
                  <a:pt x="2835776" y="820943"/>
                </a:lnTo>
                <a:lnTo>
                  <a:pt x="2836970" y="818870"/>
                </a:lnTo>
                <a:lnTo>
                  <a:pt x="2820247" y="828199"/>
                </a:lnTo>
                <a:lnTo>
                  <a:pt x="2846526" y="807468"/>
                </a:lnTo>
                <a:lnTo>
                  <a:pt x="2841748" y="806431"/>
                </a:lnTo>
                <a:close/>
                <a:moveTo>
                  <a:pt x="2839359" y="314073"/>
                </a:moveTo>
                <a:lnTo>
                  <a:pt x="2805913" y="314073"/>
                </a:lnTo>
                <a:lnTo>
                  <a:pt x="2791579" y="307854"/>
                </a:lnTo>
                <a:lnTo>
                  <a:pt x="2799940" y="298525"/>
                </a:lnTo>
                <a:lnTo>
                  <a:pt x="2841748" y="292305"/>
                </a:lnTo>
                <a:lnTo>
                  <a:pt x="2816664" y="282977"/>
                </a:lnTo>
                <a:lnTo>
                  <a:pt x="2836970" y="272611"/>
                </a:lnTo>
                <a:lnTo>
                  <a:pt x="2779634" y="239442"/>
                </a:lnTo>
                <a:lnTo>
                  <a:pt x="2736631" y="234259"/>
                </a:lnTo>
                <a:lnTo>
                  <a:pt x="2742604" y="213528"/>
                </a:lnTo>
                <a:lnTo>
                  <a:pt x="2711546" y="211455"/>
                </a:lnTo>
                <a:lnTo>
                  <a:pt x="2719908" y="192797"/>
                </a:lnTo>
                <a:lnTo>
                  <a:pt x="2645848" y="189688"/>
                </a:lnTo>
                <a:lnTo>
                  <a:pt x="2624347" y="211455"/>
                </a:lnTo>
                <a:lnTo>
                  <a:pt x="2638681" y="214565"/>
                </a:lnTo>
                <a:lnTo>
                  <a:pt x="2602846" y="220784"/>
                </a:lnTo>
                <a:lnTo>
                  <a:pt x="2636292" y="189688"/>
                </a:lnTo>
                <a:lnTo>
                  <a:pt x="2596873" y="186578"/>
                </a:lnTo>
                <a:lnTo>
                  <a:pt x="2568205" y="192797"/>
                </a:lnTo>
                <a:lnTo>
                  <a:pt x="2596873" y="184505"/>
                </a:lnTo>
                <a:lnTo>
                  <a:pt x="2520424" y="184505"/>
                </a:lnTo>
                <a:lnTo>
                  <a:pt x="2459504" y="200053"/>
                </a:lnTo>
                <a:lnTo>
                  <a:pt x="2396195" y="235295"/>
                </a:lnTo>
                <a:lnTo>
                  <a:pt x="2418890" y="264319"/>
                </a:lnTo>
                <a:lnTo>
                  <a:pt x="2449948" y="272611"/>
                </a:lnTo>
                <a:lnTo>
                  <a:pt x="2539536" y="275721"/>
                </a:lnTo>
                <a:lnTo>
                  <a:pt x="2561038" y="286086"/>
                </a:lnTo>
                <a:lnTo>
                  <a:pt x="2612402" y="268465"/>
                </a:lnTo>
                <a:lnTo>
                  <a:pt x="2612402" y="279867"/>
                </a:lnTo>
                <a:lnTo>
                  <a:pt x="2639876" y="289196"/>
                </a:lnTo>
                <a:lnTo>
                  <a:pt x="2610013" y="312000"/>
                </a:lnTo>
                <a:lnTo>
                  <a:pt x="2604040" y="312000"/>
                </a:lnTo>
                <a:lnTo>
                  <a:pt x="2571788" y="325475"/>
                </a:lnTo>
                <a:lnTo>
                  <a:pt x="2568205" y="343096"/>
                </a:lnTo>
                <a:lnTo>
                  <a:pt x="2605235" y="343096"/>
                </a:lnTo>
                <a:lnTo>
                  <a:pt x="2637487" y="323402"/>
                </a:lnTo>
                <a:lnTo>
                  <a:pt x="2632708" y="312000"/>
                </a:lnTo>
                <a:lnTo>
                  <a:pt x="2614791" y="312000"/>
                </a:lnTo>
                <a:lnTo>
                  <a:pt x="2649432" y="299561"/>
                </a:lnTo>
                <a:lnTo>
                  <a:pt x="2654210" y="310963"/>
                </a:lnTo>
                <a:lnTo>
                  <a:pt x="2674516" y="318219"/>
                </a:lnTo>
                <a:lnTo>
                  <a:pt x="2669738" y="337913"/>
                </a:lnTo>
                <a:lnTo>
                  <a:pt x="2599262" y="364864"/>
                </a:lnTo>
                <a:lnTo>
                  <a:pt x="2607624" y="375229"/>
                </a:lnTo>
                <a:lnTo>
                  <a:pt x="2582539" y="381448"/>
                </a:lnTo>
                <a:lnTo>
                  <a:pt x="2525202" y="376266"/>
                </a:lnTo>
                <a:lnTo>
                  <a:pt x="2479811" y="395960"/>
                </a:lnTo>
                <a:lnTo>
                  <a:pt x="2488172" y="413581"/>
                </a:lnTo>
                <a:lnTo>
                  <a:pt x="2544314" y="405289"/>
                </a:lnTo>
                <a:lnTo>
                  <a:pt x="2600457" y="415654"/>
                </a:lnTo>
                <a:lnTo>
                  <a:pt x="2612402" y="421873"/>
                </a:lnTo>
                <a:lnTo>
                  <a:pt x="2602846" y="435349"/>
                </a:lnTo>
                <a:lnTo>
                  <a:pt x="2620763" y="441568"/>
                </a:lnTo>
                <a:lnTo>
                  <a:pt x="2672127" y="462299"/>
                </a:lnTo>
                <a:lnTo>
                  <a:pt x="2716324" y="470591"/>
                </a:lnTo>
                <a:lnTo>
                  <a:pt x="2719908" y="456079"/>
                </a:lnTo>
                <a:lnTo>
                  <a:pt x="2684073" y="430166"/>
                </a:lnTo>
                <a:lnTo>
                  <a:pt x="2684073" y="422910"/>
                </a:lnTo>
                <a:lnTo>
                  <a:pt x="2733048" y="444677"/>
                </a:lnTo>
                <a:lnTo>
                  <a:pt x="2768883" y="444677"/>
                </a:lnTo>
                <a:lnTo>
                  <a:pt x="2785606" y="423946"/>
                </a:lnTo>
                <a:lnTo>
                  <a:pt x="2776050" y="413581"/>
                </a:lnTo>
                <a:lnTo>
                  <a:pt x="2782023" y="403216"/>
                </a:lnTo>
                <a:lnTo>
                  <a:pt x="2755743" y="372119"/>
                </a:lnTo>
                <a:lnTo>
                  <a:pt x="2767688" y="357608"/>
                </a:lnTo>
                <a:lnTo>
                  <a:pt x="2790384" y="373156"/>
                </a:lnTo>
                <a:lnTo>
                  <a:pt x="2790384" y="386631"/>
                </a:lnTo>
                <a:lnTo>
                  <a:pt x="2817858" y="395960"/>
                </a:lnTo>
                <a:lnTo>
                  <a:pt x="2900279" y="351388"/>
                </a:lnTo>
                <a:lnTo>
                  <a:pt x="2839359" y="314073"/>
                </a:lnTo>
                <a:close/>
                <a:moveTo>
                  <a:pt x="2494145" y="232186"/>
                </a:moveTo>
                <a:lnTo>
                  <a:pt x="2486978" y="228040"/>
                </a:lnTo>
                <a:lnTo>
                  <a:pt x="2504895" y="212492"/>
                </a:lnTo>
                <a:lnTo>
                  <a:pt x="2516841" y="208345"/>
                </a:lnTo>
                <a:lnTo>
                  <a:pt x="2494145" y="232186"/>
                </a:lnTo>
                <a:close/>
                <a:moveTo>
                  <a:pt x="2347220" y="163774"/>
                </a:moveTo>
                <a:lnTo>
                  <a:pt x="2410529" y="174139"/>
                </a:lnTo>
                <a:lnTo>
                  <a:pt x="2424863" y="158591"/>
                </a:lnTo>
                <a:lnTo>
                  <a:pt x="2418890" y="153409"/>
                </a:lnTo>
                <a:lnTo>
                  <a:pt x="2396195" y="153409"/>
                </a:lnTo>
                <a:lnTo>
                  <a:pt x="2347220" y="163774"/>
                </a:lnTo>
                <a:close/>
                <a:moveTo>
                  <a:pt x="2477422" y="179322"/>
                </a:moveTo>
                <a:lnTo>
                  <a:pt x="2576566" y="179322"/>
                </a:lnTo>
                <a:lnTo>
                  <a:pt x="2608818" y="174139"/>
                </a:lnTo>
                <a:lnTo>
                  <a:pt x="2629125" y="179322"/>
                </a:lnTo>
                <a:lnTo>
                  <a:pt x="2668544" y="174139"/>
                </a:lnTo>
                <a:lnTo>
                  <a:pt x="2715130" y="151336"/>
                </a:lnTo>
                <a:lnTo>
                  <a:pt x="2534758" y="148226"/>
                </a:lnTo>
                <a:lnTo>
                  <a:pt x="2522813" y="145116"/>
                </a:lnTo>
                <a:lnTo>
                  <a:pt x="2534758" y="140970"/>
                </a:lnTo>
                <a:lnTo>
                  <a:pt x="2515646" y="127495"/>
                </a:lnTo>
                <a:lnTo>
                  <a:pt x="2433225" y="122312"/>
                </a:lnTo>
                <a:lnTo>
                  <a:pt x="2417696" y="128531"/>
                </a:lnTo>
                <a:lnTo>
                  <a:pt x="2426058" y="143043"/>
                </a:lnTo>
                <a:lnTo>
                  <a:pt x="2475033" y="145116"/>
                </a:lnTo>
                <a:lnTo>
                  <a:pt x="2440392" y="173103"/>
                </a:lnTo>
                <a:lnTo>
                  <a:pt x="2477422" y="179322"/>
                </a:lnTo>
                <a:close/>
                <a:moveTo>
                  <a:pt x="2540731" y="102618"/>
                </a:moveTo>
                <a:lnTo>
                  <a:pt x="2432030" y="105727"/>
                </a:lnTo>
                <a:lnTo>
                  <a:pt x="2432030" y="110910"/>
                </a:lnTo>
                <a:lnTo>
                  <a:pt x="2497728" y="112983"/>
                </a:lnTo>
                <a:lnTo>
                  <a:pt x="2497728" y="112983"/>
                </a:lnTo>
                <a:lnTo>
                  <a:pt x="2545509" y="102618"/>
                </a:lnTo>
                <a:lnTo>
                  <a:pt x="2599262" y="102618"/>
                </a:lnTo>
                <a:lnTo>
                  <a:pt x="2712741" y="69448"/>
                </a:lnTo>
                <a:lnTo>
                  <a:pt x="2715130" y="69448"/>
                </a:lnTo>
                <a:lnTo>
                  <a:pt x="2704379" y="79814"/>
                </a:lnTo>
                <a:lnTo>
                  <a:pt x="2613596" y="98472"/>
                </a:lnTo>
                <a:lnTo>
                  <a:pt x="2636292" y="100545"/>
                </a:lnTo>
                <a:lnTo>
                  <a:pt x="2615985" y="103654"/>
                </a:lnTo>
                <a:lnTo>
                  <a:pt x="2594484" y="110910"/>
                </a:lnTo>
                <a:lnTo>
                  <a:pt x="2607624" y="115056"/>
                </a:lnTo>
                <a:lnTo>
                  <a:pt x="2556260" y="124385"/>
                </a:lnTo>
                <a:lnTo>
                  <a:pt x="2526397" y="134751"/>
                </a:lnTo>
                <a:lnTo>
                  <a:pt x="2698407" y="131641"/>
                </a:lnTo>
                <a:lnTo>
                  <a:pt x="2698407" y="139933"/>
                </a:lnTo>
                <a:lnTo>
                  <a:pt x="2790384" y="128531"/>
                </a:lnTo>
                <a:lnTo>
                  <a:pt x="2771272" y="117130"/>
                </a:lnTo>
                <a:lnTo>
                  <a:pt x="2805913" y="107801"/>
                </a:lnTo>
                <a:lnTo>
                  <a:pt x="2805913" y="103654"/>
                </a:lnTo>
                <a:lnTo>
                  <a:pt x="2847721" y="103654"/>
                </a:lnTo>
                <a:lnTo>
                  <a:pt x="2922975" y="74631"/>
                </a:lnTo>
                <a:lnTo>
                  <a:pt x="3234743" y="16585"/>
                </a:lnTo>
                <a:lnTo>
                  <a:pt x="3083040" y="5183"/>
                </a:lnTo>
                <a:lnTo>
                  <a:pt x="2960005" y="5183"/>
                </a:lnTo>
                <a:lnTo>
                  <a:pt x="2682878" y="34206"/>
                </a:lnTo>
                <a:lnTo>
                  <a:pt x="2681684" y="34206"/>
                </a:lnTo>
                <a:lnTo>
                  <a:pt x="2673322" y="45608"/>
                </a:lnTo>
                <a:lnTo>
                  <a:pt x="2694823" y="54937"/>
                </a:lnTo>
                <a:lnTo>
                  <a:pt x="2723492" y="59083"/>
                </a:lnTo>
                <a:lnTo>
                  <a:pt x="2696018" y="67375"/>
                </a:lnTo>
                <a:lnTo>
                  <a:pt x="2688851" y="66339"/>
                </a:lnTo>
                <a:lnTo>
                  <a:pt x="2710352" y="59083"/>
                </a:lnTo>
                <a:lnTo>
                  <a:pt x="2653015" y="49754"/>
                </a:lnTo>
                <a:lnTo>
                  <a:pt x="2643459" y="36279"/>
                </a:lnTo>
                <a:lnTo>
                  <a:pt x="2618374" y="36279"/>
                </a:lnTo>
                <a:lnTo>
                  <a:pt x="2544314" y="61156"/>
                </a:lnTo>
                <a:lnTo>
                  <a:pt x="2556260" y="74631"/>
                </a:lnTo>
                <a:lnTo>
                  <a:pt x="2525202" y="93289"/>
                </a:lnTo>
                <a:lnTo>
                  <a:pt x="2540731" y="102618"/>
                </a:lnTo>
                <a:close/>
                <a:moveTo>
                  <a:pt x="2310190" y="93289"/>
                </a:moveTo>
                <a:lnTo>
                  <a:pt x="2326913" y="98472"/>
                </a:lnTo>
                <a:lnTo>
                  <a:pt x="2379472" y="103654"/>
                </a:lnTo>
                <a:lnTo>
                  <a:pt x="2385444" y="108837"/>
                </a:lnTo>
                <a:lnTo>
                  <a:pt x="2498923" y="97435"/>
                </a:lnTo>
                <a:lnTo>
                  <a:pt x="2458309" y="79814"/>
                </a:lnTo>
                <a:lnTo>
                  <a:pt x="2418890" y="98472"/>
                </a:lnTo>
                <a:lnTo>
                  <a:pt x="2408140" y="98472"/>
                </a:lnTo>
                <a:lnTo>
                  <a:pt x="2424863" y="81887"/>
                </a:lnTo>
                <a:lnTo>
                  <a:pt x="2409334" y="75668"/>
                </a:lnTo>
                <a:lnTo>
                  <a:pt x="2291078" y="75668"/>
                </a:lnTo>
                <a:lnTo>
                  <a:pt x="2335275" y="83960"/>
                </a:lnTo>
                <a:lnTo>
                  <a:pt x="2310190" y="93289"/>
                </a:lnTo>
                <a:close/>
                <a:moveTo>
                  <a:pt x="2300634" y="102618"/>
                </a:moveTo>
                <a:lnTo>
                  <a:pt x="2269576" y="105727"/>
                </a:lnTo>
                <a:lnTo>
                  <a:pt x="2255242" y="118166"/>
                </a:lnTo>
                <a:lnTo>
                  <a:pt x="2287494" y="121276"/>
                </a:lnTo>
                <a:lnTo>
                  <a:pt x="2300634" y="102618"/>
                </a:lnTo>
                <a:close/>
                <a:moveTo>
                  <a:pt x="2282716" y="165847"/>
                </a:moveTo>
                <a:lnTo>
                  <a:pt x="2334080" y="165847"/>
                </a:lnTo>
                <a:lnTo>
                  <a:pt x="2385444" y="130605"/>
                </a:lnTo>
                <a:lnTo>
                  <a:pt x="2326913" y="124385"/>
                </a:lnTo>
                <a:lnTo>
                  <a:pt x="2286299" y="139933"/>
                </a:lnTo>
                <a:lnTo>
                  <a:pt x="2271965" y="127495"/>
                </a:lnTo>
                <a:lnTo>
                  <a:pt x="2244491" y="130605"/>
                </a:lnTo>
                <a:lnTo>
                  <a:pt x="2244491" y="161701"/>
                </a:lnTo>
                <a:lnTo>
                  <a:pt x="2282716" y="156518"/>
                </a:lnTo>
                <a:lnTo>
                  <a:pt x="2282716" y="165847"/>
                </a:lnTo>
                <a:close/>
                <a:moveTo>
                  <a:pt x="2205073" y="155482"/>
                </a:moveTo>
                <a:lnTo>
                  <a:pt x="2205073" y="160664"/>
                </a:lnTo>
                <a:lnTo>
                  <a:pt x="2238519" y="160664"/>
                </a:lnTo>
                <a:lnTo>
                  <a:pt x="2220601" y="152372"/>
                </a:lnTo>
                <a:lnTo>
                  <a:pt x="2205073" y="155482"/>
                </a:lnTo>
                <a:close/>
                <a:moveTo>
                  <a:pt x="2314968" y="181395"/>
                </a:moveTo>
                <a:lnTo>
                  <a:pt x="2232546" y="186578"/>
                </a:lnTo>
                <a:lnTo>
                  <a:pt x="2213434" y="195907"/>
                </a:lnTo>
                <a:lnTo>
                  <a:pt x="2218212" y="205236"/>
                </a:lnTo>
                <a:lnTo>
                  <a:pt x="2172821" y="207309"/>
                </a:lnTo>
                <a:lnTo>
                  <a:pt x="2164459" y="228040"/>
                </a:lnTo>
                <a:lnTo>
                  <a:pt x="2190738" y="228040"/>
                </a:lnTo>
                <a:lnTo>
                  <a:pt x="2202683" y="248771"/>
                </a:lnTo>
                <a:lnTo>
                  <a:pt x="2271965" y="238405"/>
                </a:lnTo>
                <a:lnTo>
                  <a:pt x="2303023" y="205236"/>
                </a:lnTo>
                <a:lnTo>
                  <a:pt x="2287494" y="205236"/>
                </a:lnTo>
                <a:lnTo>
                  <a:pt x="2305412" y="196943"/>
                </a:lnTo>
                <a:lnTo>
                  <a:pt x="2314968" y="181395"/>
                </a:lnTo>
                <a:close/>
                <a:moveTo>
                  <a:pt x="2119067" y="107801"/>
                </a:moveTo>
                <a:lnTo>
                  <a:pt x="2111900" y="114020"/>
                </a:lnTo>
                <a:lnTo>
                  <a:pt x="2119067" y="114020"/>
                </a:lnTo>
                <a:lnTo>
                  <a:pt x="2142958" y="114020"/>
                </a:lnTo>
                <a:lnTo>
                  <a:pt x="2205073" y="105727"/>
                </a:lnTo>
                <a:lnTo>
                  <a:pt x="2205073" y="100545"/>
                </a:lnTo>
                <a:lnTo>
                  <a:pt x="2154903" y="102618"/>
                </a:lnTo>
                <a:lnTo>
                  <a:pt x="2238519" y="95362"/>
                </a:lnTo>
                <a:lnTo>
                  <a:pt x="2238519" y="90179"/>
                </a:lnTo>
                <a:lnTo>
                  <a:pt x="2142958" y="98472"/>
                </a:lnTo>
                <a:lnTo>
                  <a:pt x="2142958" y="102618"/>
                </a:lnTo>
                <a:lnTo>
                  <a:pt x="2126235" y="103654"/>
                </a:lnTo>
                <a:lnTo>
                  <a:pt x="2136985" y="97435"/>
                </a:lnTo>
                <a:lnTo>
                  <a:pt x="2076065" y="103654"/>
                </a:lnTo>
                <a:lnTo>
                  <a:pt x="2116678" y="109874"/>
                </a:lnTo>
                <a:lnTo>
                  <a:pt x="2119067" y="107801"/>
                </a:lnTo>
                <a:close/>
                <a:moveTo>
                  <a:pt x="1921973" y="148226"/>
                </a:moveTo>
                <a:lnTo>
                  <a:pt x="1921973" y="148226"/>
                </a:lnTo>
                <a:lnTo>
                  <a:pt x="1975726" y="135787"/>
                </a:lnTo>
                <a:lnTo>
                  <a:pt x="1987671" y="138897"/>
                </a:lnTo>
                <a:lnTo>
                  <a:pt x="1910027" y="158591"/>
                </a:lnTo>
                <a:lnTo>
                  <a:pt x="1942280" y="158591"/>
                </a:lnTo>
                <a:lnTo>
                  <a:pt x="1938696" y="159628"/>
                </a:lnTo>
                <a:lnTo>
                  <a:pt x="1992449" y="165847"/>
                </a:lnTo>
                <a:lnTo>
                  <a:pt x="2018728" y="160664"/>
                </a:lnTo>
                <a:lnTo>
                  <a:pt x="2021117" y="161701"/>
                </a:lnTo>
                <a:lnTo>
                  <a:pt x="1984087" y="171030"/>
                </a:lnTo>
                <a:lnTo>
                  <a:pt x="2019923" y="178286"/>
                </a:lnTo>
                <a:lnTo>
                  <a:pt x="2169237" y="164810"/>
                </a:lnTo>
                <a:lnTo>
                  <a:pt x="2215823" y="143043"/>
                </a:lnTo>
                <a:lnTo>
                  <a:pt x="2169237" y="134751"/>
                </a:lnTo>
                <a:lnTo>
                  <a:pt x="2172821" y="122312"/>
                </a:lnTo>
                <a:lnTo>
                  <a:pt x="2111900" y="136824"/>
                </a:lnTo>
                <a:lnTo>
                  <a:pt x="2126235" y="139933"/>
                </a:lnTo>
                <a:lnTo>
                  <a:pt x="2117873" y="143043"/>
                </a:lnTo>
                <a:lnTo>
                  <a:pt x="2117873" y="147189"/>
                </a:lnTo>
                <a:lnTo>
                  <a:pt x="2084427" y="147189"/>
                </a:lnTo>
                <a:lnTo>
                  <a:pt x="2084427" y="134751"/>
                </a:lnTo>
                <a:lnTo>
                  <a:pt x="2033062" y="129568"/>
                </a:lnTo>
                <a:lnTo>
                  <a:pt x="1982893" y="145116"/>
                </a:lnTo>
                <a:lnTo>
                  <a:pt x="1990060" y="142007"/>
                </a:lnTo>
                <a:lnTo>
                  <a:pt x="1988865" y="137860"/>
                </a:lnTo>
                <a:lnTo>
                  <a:pt x="1994838" y="139933"/>
                </a:lnTo>
                <a:lnTo>
                  <a:pt x="2076065" y="114020"/>
                </a:lnTo>
                <a:lnTo>
                  <a:pt x="2093983" y="108837"/>
                </a:lnTo>
                <a:lnTo>
                  <a:pt x="2092788" y="108837"/>
                </a:lnTo>
                <a:lnTo>
                  <a:pt x="2092788" y="108837"/>
                </a:lnTo>
                <a:lnTo>
                  <a:pt x="2000811" y="108837"/>
                </a:lnTo>
                <a:lnTo>
                  <a:pt x="1858664" y="135787"/>
                </a:lnTo>
                <a:lnTo>
                  <a:pt x="1868220" y="148226"/>
                </a:lnTo>
                <a:lnTo>
                  <a:pt x="1921973" y="148226"/>
                </a:lnTo>
                <a:close/>
                <a:moveTo>
                  <a:pt x="1690237" y="251880"/>
                </a:moveTo>
                <a:lnTo>
                  <a:pt x="1758324" y="240478"/>
                </a:lnTo>
                <a:lnTo>
                  <a:pt x="1829995" y="217674"/>
                </a:lnTo>
                <a:lnTo>
                  <a:pt x="1847913" y="214565"/>
                </a:lnTo>
                <a:lnTo>
                  <a:pt x="1791771" y="236332"/>
                </a:lnTo>
                <a:lnTo>
                  <a:pt x="1809688" y="241515"/>
                </a:lnTo>
                <a:lnTo>
                  <a:pt x="1794160" y="248771"/>
                </a:lnTo>
                <a:lnTo>
                  <a:pt x="1807299" y="256026"/>
                </a:lnTo>
                <a:lnTo>
                  <a:pt x="1864636" y="261209"/>
                </a:lnTo>
                <a:lnTo>
                  <a:pt x="1792965" y="266392"/>
                </a:lnTo>
                <a:lnTo>
                  <a:pt x="1781020" y="284013"/>
                </a:lnTo>
                <a:lnTo>
                  <a:pt x="1834773" y="289196"/>
                </a:lnTo>
                <a:lnTo>
                  <a:pt x="1821634" y="308890"/>
                </a:lnTo>
                <a:lnTo>
                  <a:pt x="2009172" y="285050"/>
                </a:lnTo>
                <a:lnTo>
                  <a:pt x="2035451" y="300598"/>
                </a:lnTo>
                <a:lnTo>
                  <a:pt x="2066509" y="297488"/>
                </a:lnTo>
                <a:lnTo>
                  <a:pt x="2154903" y="262246"/>
                </a:lnTo>
                <a:lnTo>
                  <a:pt x="2091594" y="256026"/>
                </a:lnTo>
                <a:lnTo>
                  <a:pt x="2085621" y="248771"/>
                </a:lnTo>
                <a:lnTo>
                  <a:pt x="2101150" y="237369"/>
                </a:lnTo>
                <a:lnTo>
                  <a:pt x="2116678" y="216638"/>
                </a:lnTo>
                <a:lnTo>
                  <a:pt x="2176404" y="194870"/>
                </a:lnTo>
                <a:lnTo>
                  <a:pt x="2126235" y="188651"/>
                </a:lnTo>
                <a:lnTo>
                  <a:pt x="2066509" y="209382"/>
                </a:lnTo>
                <a:lnTo>
                  <a:pt x="1998422" y="204199"/>
                </a:lnTo>
                <a:lnTo>
                  <a:pt x="1963781" y="208345"/>
                </a:lnTo>
                <a:lnTo>
                  <a:pt x="1974531" y="195907"/>
                </a:lnTo>
                <a:lnTo>
                  <a:pt x="1947057" y="195907"/>
                </a:lnTo>
                <a:lnTo>
                  <a:pt x="1953030" y="194870"/>
                </a:lnTo>
                <a:lnTo>
                  <a:pt x="1924362" y="173103"/>
                </a:lnTo>
                <a:lnTo>
                  <a:pt x="1859858" y="169993"/>
                </a:lnTo>
                <a:lnTo>
                  <a:pt x="1777437" y="178286"/>
                </a:lnTo>
                <a:lnTo>
                  <a:pt x="1767880" y="191761"/>
                </a:lnTo>
                <a:lnTo>
                  <a:pt x="1683070" y="223894"/>
                </a:lnTo>
                <a:lnTo>
                  <a:pt x="1697404" y="233222"/>
                </a:lnTo>
                <a:lnTo>
                  <a:pt x="1690237" y="251880"/>
                </a:lnTo>
                <a:close/>
                <a:moveTo>
                  <a:pt x="612786" y="559734"/>
                </a:moveTo>
                <a:lnTo>
                  <a:pt x="610397" y="551441"/>
                </a:lnTo>
                <a:lnTo>
                  <a:pt x="606813" y="552478"/>
                </a:lnTo>
                <a:lnTo>
                  <a:pt x="606813" y="551441"/>
                </a:lnTo>
                <a:lnTo>
                  <a:pt x="508863" y="583574"/>
                </a:lnTo>
                <a:lnTo>
                  <a:pt x="506474" y="584611"/>
                </a:lnTo>
                <a:lnTo>
                  <a:pt x="506474" y="600159"/>
                </a:lnTo>
                <a:lnTo>
                  <a:pt x="510057" y="599123"/>
                </a:lnTo>
                <a:lnTo>
                  <a:pt x="581728" y="580465"/>
                </a:lnTo>
                <a:lnTo>
                  <a:pt x="591284" y="573209"/>
                </a:lnTo>
                <a:lnTo>
                  <a:pt x="615175" y="566990"/>
                </a:lnTo>
                <a:lnTo>
                  <a:pt x="613980" y="564917"/>
                </a:lnTo>
                <a:lnTo>
                  <a:pt x="616369" y="564917"/>
                </a:lnTo>
                <a:lnTo>
                  <a:pt x="612786" y="559734"/>
                </a:lnTo>
                <a:close/>
                <a:moveTo>
                  <a:pt x="977112" y="663388"/>
                </a:moveTo>
                <a:lnTo>
                  <a:pt x="935304" y="663388"/>
                </a:lnTo>
                <a:lnTo>
                  <a:pt x="918581" y="679973"/>
                </a:lnTo>
                <a:lnTo>
                  <a:pt x="912609" y="710033"/>
                </a:lnTo>
                <a:lnTo>
                  <a:pt x="930526" y="725581"/>
                </a:lnTo>
                <a:lnTo>
                  <a:pt x="930526" y="699667"/>
                </a:lnTo>
                <a:lnTo>
                  <a:pt x="977112" y="663388"/>
                </a:lnTo>
                <a:close/>
                <a:moveTo>
                  <a:pt x="2279132" y="609488"/>
                </a:moveTo>
                <a:lnTo>
                  <a:pt x="2280327" y="613634"/>
                </a:lnTo>
                <a:lnTo>
                  <a:pt x="2250464" y="630219"/>
                </a:lnTo>
                <a:lnTo>
                  <a:pt x="2250464" y="630219"/>
                </a:lnTo>
                <a:lnTo>
                  <a:pt x="2248075" y="631255"/>
                </a:lnTo>
                <a:lnTo>
                  <a:pt x="2271965" y="624000"/>
                </a:lnTo>
                <a:lnTo>
                  <a:pt x="2289883" y="618817"/>
                </a:lnTo>
                <a:lnTo>
                  <a:pt x="2289883" y="619853"/>
                </a:lnTo>
                <a:lnTo>
                  <a:pt x="2289883" y="619853"/>
                </a:lnTo>
                <a:lnTo>
                  <a:pt x="2289883" y="619853"/>
                </a:lnTo>
                <a:lnTo>
                  <a:pt x="2289883" y="619853"/>
                </a:lnTo>
                <a:lnTo>
                  <a:pt x="2291078" y="619853"/>
                </a:lnTo>
                <a:lnTo>
                  <a:pt x="2294661" y="622963"/>
                </a:lnTo>
                <a:lnTo>
                  <a:pt x="2312579" y="607415"/>
                </a:lnTo>
                <a:lnTo>
                  <a:pt x="2306606" y="609488"/>
                </a:lnTo>
                <a:lnTo>
                  <a:pt x="2316162" y="598086"/>
                </a:lnTo>
                <a:lnTo>
                  <a:pt x="2279132" y="609488"/>
                </a:lnTo>
                <a:close/>
                <a:moveTo>
                  <a:pt x="8283953" y="655096"/>
                </a:moveTo>
                <a:lnTo>
                  <a:pt x="8286342" y="656132"/>
                </a:lnTo>
                <a:lnTo>
                  <a:pt x="8288732" y="650950"/>
                </a:lnTo>
                <a:lnTo>
                  <a:pt x="8274397" y="644730"/>
                </a:lnTo>
                <a:lnTo>
                  <a:pt x="8248118" y="634365"/>
                </a:lnTo>
                <a:lnTo>
                  <a:pt x="8248118" y="634365"/>
                </a:lnTo>
                <a:lnTo>
                  <a:pt x="8245729" y="633329"/>
                </a:lnTo>
                <a:lnTo>
                  <a:pt x="8243339" y="638511"/>
                </a:lnTo>
                <a:lnTo>
                  <a:pt x="8257674" y="644730"/>
                </a:lnTo>
                <a:lnTo>
                  <a:pt x="8283953" y="655096"/>
                </a:lnTo>
                <a:lnTo>
                  <a:pt x="8283953" y="655096"/>
                </a:lnTo>
                <a:close/>
                <a:moveTo>
                  <a:pt x="8479853" y="697594"/>
                </a:moveTo>
                <a:lnTo>
                  <a:pt x="8479853" y="702777"/>
                </a:lnTo>
                <a:lnTo>
                  <a:pt x="8509716" y="702777"/>
                </a:lnTo>
                <a:lnTo>
                  <a:pt x="8509716" y="697594"/>
                </a:lnTo>
                <a:lnTo>
                  <a:pt x="8479853" y="697594"/>
                </a:lnTo>
                <a:close/>
                <a:moveTo>
                  <a:pt x="8766537" y="728691"/>
                </a:moveTo>
                <a:lnTo>
                  <a:pt x="8742647" y="725581"/>
                </a:lnTo>
                <a:lnTo>
                  <a:pt x="8741452" y="730764"/>
                </a:lnTo>
                <a:lnTo>
                  <a:pt x="8765342" y="733873"/>
                </a:lnTo>
                <a:lnTo>
                  <a:pt x="8766537" y="728691"/>
                </a:lnTo>
                <a:close/>
                <a:moveTo>
                  <a:pt x="8786843" y="733873"/>
                </a:moveTo>
                <a:lnTo>
                  <a:pt x="8789232" y="733873"/>
                </a:lnTo>
                <a:lnTo>
                  <a:pt x="8790427" y="733873"/>
                </a:lnTo>
                <a:lnTo>
                  <a:pt x="8799983" y="730764"/>
                </a:lnTo>
                <a:lnTo>
                  <a:pt x="8823873" y="725581"/>
                </a:lnTo>
                <a:lnTo>
                  <a:pt x="8762953" y="725581"/>
                </a:lnTo>
                <a:lnTo>
                  <a:pt x="8779676" y="730764"/>
                </a:lnTo>
                <a:lnTo>
                  <a:pt x="8786843" y="733873"/>
                </a:lnTo>
                <a:close/>
                <a:moveTo>
                  <a:pt x="8831040" y="722471"/>
                </a:moveTo>
                <a:lnTo>
                  <a:pt x="8838208" y="718325"/>
                </a:lnTo>
                <a:lnTo>
                  <a:pt x="8839402" y="718325"/>
                </a:lnTo>
                <a:lnTo>
                  <a:pt x="8840596" y="716252"/>
                </a:lnTo>
                <a:lnTo>
                  <a:pt x="8842985" y="715215"/>
                </a:lnTo>
                <a:lnTo>
                  <a:pt x="8841791" y="714179"/>
                </a:lnTo>
                <a:lnTo>
                  <a:pt x="8841791" y="713142"/>
                </a:lnTo>
                <a:lnTo>
                  <a:pt x="8839402" y="712106"/>
                </a:lnTo>
                <a:lnTo>
                  <a:pt x="8838208" y="710033"/>
                </a:lnTo>
                <a:lnTo>
                  <a:pt x="8837013" y="711069"/>
                </a:lnTo>
                <a:lnTo>
                  <a:pt x="8829846" y="707960"/>
                </a:lnTo>
                <a:lnTo>
                  <a:pt x="8827457" y="712106"/>
                </a:lnTo>
                <a:lnTo>
                  <a:pt x="8831040" y="714179"/>
                </a:lnTo>
                <a:lnTo>
                  <a:pt x="8826262" y="717289"/>
                </a:lnTo>
                <a:lnTo>
                  <a:pt x="8823873" y="718325"/>
                </a:lnTo>
                <a:lnTo>
                  <a:pt x="8827457" y="722471"/>
                </a:lnTo>
                <a:lnTo>
                  <a:pt x="8831040" y="722471"/>
                </a:lnTo>
                <a:close/>
                <a:moveTo>
                  <a:pt x="8533607" y="440531"/>
                </a:moveTo>
                <a:lnTo>
                  <a:pt x="8555108" y="431202"/>
                </a:lnTo>
                <a:lnTo>
                  <a:pt x="8455963" y="420837"/>
                </a:lnTo>
                <a:lnTo>
                  <a:pt x="8477464" y="434312"/>
                </a:lnTo>
                <a:lnTo>
                  <a:pt x="8533607" y="440531"/>
                </a:lnTo>
                <a:close/>
                <a:moveTo>
                  <a:pt x="8139417" y="749421"/>
                </a:moveTo>
                <a:lnTo>
                  <a:pt x="8126277" y="772225"/>
                </a:lnTo>
                <a:lnTo>
                  <a:pt x="8131056" y="780518"/>
                </a:lnTo>
                <a:lnTo>
                  <a:pt x="8147778" y="773262"/>
                </a:lnTo>
                <a:lnTo>
                  <a:pt x="8139417" y="749421"/>
                </a:lnTo>
                <a:close/>
                <a:moveTo>
                  <a:pt x="8070135" y="541076"/>
                </a:moveTo>
                <a:lnTo>
                  <a:pt x="8083275" y="559734"/>
                </a:lnTo>
                <a:lnTo>
                  <a:pt x="8092831" y="543149"/>
                </a:lnTo>
                <a:lnTo>
                  <a:pt x="8079692" y="531747"/>
                </a:lnTo>
                <a:lnTo>
                  <a:pt x="8070135" y="541076"/>
                </a:lnTo>
                <a:close/>
                <a:moveTo>
                  <a:pt x="8031911" y="248771"/>
                </a:moveTo>
                <a:lnTo>
                  <a:pt x="8031911" y="243588"/>
                </a:lnTo>
                <a:lnTo>
                  <a:pt x="7957851" y="241515"/>
                </a:lnTo>
                <a:lnTo>
                  <a:pt x="7956656" y="246698"/>
                </a:lnTo>
                <a:lnTo>
                  <a:pt x="7986519" y="251880"/>
                </a:lnTo>
                <a:lnTo>
                  <a:pt x="8031911" y="248771"/>
                </a:lnTo>
                <a:close/>
                <a:moveTo>
                  <a:pt x="7072716" y="186578"/>
                </a:moveTo>
                <a:lnTo>
                  <a:pt x="7072716" y="195907"/>
                </a:lnTo>
                <a:lnTo>
                  <a:pt x="7174250" y="207309"/>
                </a:lnTo>
                <a:lnTo>
                  <a:pt x="7096606" y="183468"/>
                </a:lnTo>
                <a:lnTo>
                  <a:pt x="7072716" y="186578"/>
                </a:lnTo>
                <a:close/>
                <a:moveTo>
                  <a:pt x="7065549" y="186578"/>
                </a:moveTo>
                <a:lnTo>
                  <a:pt x="7067938" y="181395"/>
                </a:lnTo>
                <a:lnTo>
                  <a:pt x="7044048" y="173103"/>
                </a:lnTo>
                <a:lnTo>
                  <a:pt x="7041659" y="178286"/>
                </a:lnTo>
                <a:lnTo>
                  <a:pt x="7065549" y="186578"/>
                </a:lnTo>
                <a:close/>
                <a:moveTo>
                  <a:pt x="7224419" y="158591"/>
                </a:moveTo>
                <a:lnTo>
                  <a:pt x="7118108" y="153409"/>
                </a:lnTo>
                <a:lnTo>
                  <a:pt x="7116913" y="158591"/>
                </a:lnTo>
                <a:lnTo>
                  <a:pt x="7232781" y="175176"/>
                </a:lnTo>
                <a:lnTo>
                  <a:pt x="7224419" y="158591"/>
                </a:lnTo>
                <a:close/>
                <a:moveTo>
                  <a:pt x="7010602" y="174139"/>
                </a:moveTo>
                <a:lnTo>
                  <a:pt x="7076300" y="168957"/>
                </a:lnTo>
                <a:lnTo>
                  <a:pt x="7104968" y="155482"/>
                </a:lnTo>
                <a:lnTo>
                  <a:pt x="7008213" y="135787"/>
                </a:lnTo>
                <a:lnTo>
                  <a:pt x="7002240" y="146153"/>
                </a:lnTo>
                <a:lnTo>
                  <a:pt x="6953265" y="135787"/>
                </a:lnTo>
                <a:lnTo>
                  <a:pt x="6926986" y="145116"/>
                </a:lnTo>
                <a:lnTo>
                  <a:pt x="6948487" y="160664"/>
                </a:lnTo>
                <a:lnTo>
                  <a:pt x="7010602" y="174139"/>
                </a:lnTo>
                <a:close/>
                <a:moveTo>
                  <a:pt x="7560078" y="653023"/>
                </a:moveTo>
                <a:lnTo>
                  <a:pt x="7581579" y="657169"/>
                </a:lnTo>
                <a:lnTo>
                  <a:pt x="7581579" y="644730"/>
                </a:lnTo>
                <a:lnTo>
                  <a:pt x="7560078" y="637475"/>
                </a:lnTo>
                <a:lnTo>
                  <a:pt x="7560078" y="653023"/>
                </a:lnTo>
                <a:close/>
                <a:moveTo>
                  <a:pt x="7758367" y="1230378"/>
                </a:moveTo>
                <a:lnTo>
                  <a:pt x="7776285" y="1249036"/>
                </a:lnTo>
                <a:lnTo>
                  <a:pt x="7789424" y="1249036"/>
                </a:lnTo>
                <a:lnTo>
                  <a:pt x="7789424" y="1242816"/>
                </a:lnTo>
                <a:lnTo>
                  <a:pt x="7795397" y="1247999"/>
                </a:lnTo>
                <a:lnTo>
                  <a:pt x="7801369" y="1287388"/>
                </a:lnTo>
                <a:lnTo>
                  <a:pt x="7822871" y="1293607"/>
                </a:lnTo>
                <a:lnTo>
                  <a:pt x="7837205" y="1281169"/>
                </a:lnTo>
                <a:lnTo>
                  <a:pt x="7837205" y="1240743"/>
                </a:lnTo>
                <a:lnTo>
                  <a:pt x="7818093" y="1218976"/>
                </a:lnTo>
                <a:lnTo>
                  <a:pt x="7798981" y="1215866"/>
                </a:lnTo>
                <a:lnTo>
                  <a:pt x="7827649" y="1215866"/>
                </a:lnTo>
                <a:lnTo>
                  <a:pt x="7827649" y="1213793"/>
                </a:lnTo>
                <a:lnTo>
                  <a:pt x="7830038" y="1207574"/>
                </a:lnTo>
                <a:lnTo>
                  <a:pt x="7879013" y="1189953"/>
                </a:lnTo>
                <a:lnTo>
                  <a:pt x="7905292" y="1192026"/>
                </a:lnTo>
                <a:lnTo>
                  <a:pt x="7907681" y="1213793"/>
                </a:lnTo>
                <a:lnTo>
                  <a:pt x="7932766" y="1232451"/>
                </a:lnTo>
                <a:lnTo>
                  <a:pt x="7932766" y="1232451"/>
                </a:lnTo>
                <a:lnTo>
                  <a:pt x="7932766" y="1232451"/>
                </a:lnTo>
                <a:lnTo>
                  <a:pt x="7933961" y="1229341"/>
                </a:lnTo>
                <a:lnTo>
                  <a:pt x="7949489" y="1202391"/>
                </a:lnTo>
                <a:lnTo>
                  <a:pt x="7939933" y="1190989"/>
                </a:lnTo>
                <a:lnTo>
                  <a:pt x="7939933" y="1189953"/>
                </a:lnTo>
                <a:lnTo>
                  <a:pt x="7954268" y="1200318"/>
                </a:lnTo>
                <a:lnTo>
                  <a:pt x="7984131" y="1200318"/>
                </a:lnTo>
                <a:lnTo>
                  <a:pt x="7988908" y="1188916"/>
                </a:lnTo>
                <a:lnTo>
                  <a:pt x="8000853" y="1208611"/>
                </a:lnTo>
                <a:lnTo>
                  <a:pt x="8000853" y="1178551"/>
                </a:lnTo>
                <a:lnTo>
                  <a:pt x="8011604" y="1173368"/>
                </a:lnTo>
                <a:lnTo>
                  <a:pt x="8021160" y="1192026"/>
                </a:lnTo>
                <a:lnTo>
                  <a:pt x="8033105" y="1181660"/>
                </a:lnTo>
                <a:lnTo>
                  <a:pt x="8040272" y="1164039"/>
                </a:lnTo>
                <a:lnTo>
                  <a:pt x="8040272" y="1163003"/>
                </a:lnTo>
                <a:lnTo>
                  <a:pt x="8040272" y="1160929"/>
                </a:lnTo>
                <a:lnTo>
                  <a:pt x="8028327" y="1141235"/>
                </a:lnTo>
                <a:lnTo>
                  <a:pt x="8006826" y="1098737"/>
                </a:lnTo>
                <a:lnTo>
                  <a:pt x="8009215" y="1093554"/>
                </a:lnTo>
                <a:lnTo>
                  <a:pt x="8019966" y="1093554"/>
                </a:lnTo>
                <a:lnTo>
                  <a:pt x="8018771" y="1090444"/>
                </a:lnTo>
                <a:lnTo>
                  <a:pt x="8012798" y="1069714"/>
                </a:lnTo>
                <a:lnTo>
                  <a:pt x="7965018" y="1006484"/>
                </a:lnTo>
                <a:lnTo>
                  <a:pt x="7965018" y="1006484"/>
                </a:lnTo>
                <a:lnTo>
                  <a:pt x="7963824" y="1005448"/>
                </a:lnTo>
                <a:lnTo>
                  <a:pt x="7963824" y="1005448"/>
                </a:lnTo>
                <a:lnTo>
                  <a:pt x="7963824" y="1005448"/>
                </a:lnTo>
                <a:lnTo>
                  <a:pt x="7962629" y="1005448"/>
                </a:lnTo>
                <a:lnTo>
                  <a:pt x="7942323" y="1000265"/>
                </a:lnTo>
                <a:lnTo>
                  <a:pt x="7945906" y="997155"/>
                </a:lnTo>
                <a:lnTo>
                  <a:pt x="7943517" y="996119"/>
                </a:lnTo>
                <a:lnTo>
                  <a:pt x="7945906" y="994046"/>
                </a:lnTo>
                <a:lnTo>
                  <a:pt x="7927988" y="982644"/>
                </a:lnTo>
                <a:lnTo>
                  <a:pt x="7932766" y="983680"/>
                </a:lnTo>
                <a:lnTo>
                  <a:pt x="7933961" y="983680"/>
                </a:lnTo>
                <a:lnTo>
                  <a:pt x="7936350" y="983680"/>
                </a:lnTo>
                <a:lnTo>
                  <a:pt x="7954268" y="976425"/>
                </a:lnTo>
                <a:lnTo>
                  <a:pt x="8004437" y="995082"/>
                </a:lnTo>
                <a:lnTo>
                  <a:pt x="8004437" y="991973"/>
                </a:lnTo>
                <a:lnTo>
                  <a:pt x="8010409" y="966059"/>
                </a:lnTo>
                <a:lnTo>
                  <a:pt x="8022354" y="968132"/>
                </a:lnTo>
                <a:lnTo>
                  <a:pt x="8023549" y="968132"/>
                </a:lnTo>
                <a:lnTo>
                  <a:pt x="8054606" y="945328"/>
                </a:lnTo>
                <a:lnTo>
                  <a:pt x="8029522" y="949475"/>
                </a:lnTo>
                <a:lnTo>
                  <a:pt x="8016382" y="938072"/>
                </a:lnTo>
                <a:lnTo>
                  <a:pt x="8013993" y="925634"/>
                </a:lnTo>
                <a:lnTo>
                  <a:pt x="8012798" y="918378"/>
                </a:lnTo>
                <a:lnTo>
                  <a:pt x="8009215" y="924597"/>
                </a:lnTo>
                <a:lnTo>
                  <a:pt x="8002048" y="933926"/>
                </a:lnTo>
                <a:lnTo>
                  <a:pt x="7968601" y="926670"/>
                </a:lnTo>
                <a:lnTo>
                  <a:pt x="7942323" y="913195"/>
                </a:lnTo>
                <a:lnTo>
                  <a:pt x="7898125" y="889355"/>
                </a:lnTo>
                <a:lnTo>
                  <a:pt x="7895736" y="891428"/>
                </a:lnTo>
                <a:lnTo>
                  <a:pt x="7894542" y="890391"/>
                </a:lnTo>
                <a:lnTo>
                  <a:pt x="7894542" y="868624"/>
                </a:lnTo>
                <a:lnTo>
                  <a:pt x="7935155" y="882099"/>
                </a:lnTo>
                <a:lnTo>
                  <a:pt x="7858707" y="818870"/>
                </a:lnTo>
                <a:lnTo>
                  <a:pt x="7851539" y="795029"/>
                </a:lnTo>
                <a:lnTo>
                  <a:pt x="7893347" y="804358"/>
                </a:lnTo>
                <a:lnTo>
                  <a:pt x="7729699" y="665461"/>
                </a:lnTo>
                <a:lnTo>
                  <a:pt x="7693863" y="654059"/>
                </a:lnTo>
                <a:lnTo>
                  <a:pt x="7715365" y="675827"/>
                </a:lnTo>
                <a:lnTo>
                  <a:pt x="7712976" y="686192"/>
                </a:lnTo>
                <a:lnTo>
                  <a:pt x="7853928" y="832345"/>
                </a:lnTo>
                <a:lnTo>
                  <a:pt x="7865873" y="868624"/>
                </a:lnTo>
                <a:lnTo>
                  <a:pt x="7894542" y="890391"/>
                </a:lnTo>
                <a:lnTo>
                  <a:pt x="7887374" y="899720"/>
                </a:lnTo>
                <a:lnTo>
                  <a:pt x="7883791" y="901793"/>
                </a:lnTo>
                <a:lnTo>
                  <a:pt x="7883791" y="901793"/>
                </a:lnTo>
                <a:lnTo>
                  <a:pt x="7883791" y="901793"/>
                </a:lnTo>
                <a:lnTo>
                  <a:pt x="7886180" y="902830"/>
                </a:lnTo>
                <a:lnTo>
                  <a:pt x="7902903" y="915269"/>
                </a:lnTo>
                <a:lnTo>
                  <a:pt x="7922016" y="954657"/>
                </a:lnTo>
                <a:lnTo>
                  <a:pt x="7893347" y="951548"/>
                </a:lnTo>
                <a:lnTo>
                  <a:pt x="7905292" y="965023"/>
                </a:lnTo>
                <a:lnTo>
                  <a:pt x="7899320" y="970205"/>
                </a:lnTo>
                <a:lnTo>
                  <a:pt x="7895736" y="969169"/>
                </a:lnTo>
                <a:lnTo>
                  <a:pt x="7898125" y="971242"/>
                </a:lnTo>
                <a:lnTo>
                  <a:pt x="7895736" y="973315"/>
                </a:lnTo>
                <a:lnTo>
                  <a:pt x="7925599" y="1011667"/>
                </a:lnTo>
                <a:lnTo>
                  <a:pt x="7927988" y="1009594"/>
                </a:lnTo>
                <a:lnTo>
                  <a:pt x="7933961" y="1005448"/>
                </a:lnTo>
                <a:lnTo>
                  <a:pt x="7956656" y="1071787"/>
                </a:lnTo>
                <a:lnTo>
                  <a:pt x="7948295" y="1114285"/>
                </a:lnTo>
                <a:lnTo>
                  <a:pt x="7922016" y="1128797"/>
                </a:lnTo>
                <a:lnTo>
                  <a:pt x="7914848" y="1112212"/>
                </a:lnTo>
                <a:lnTo>
                  <a:pt x="7913654" y="1107029"/>
                </a:lnTo>
                <a:lnTo>
                  <a:pt x="7913654" y="1108066"/>
                </a:lnTo>
                <a:lnTo>
                  <a:pt x="7913654" y="1108066"/>
                </a:lnTo>
                <a:lnTo>
                  <a:pt x="7904098" y="1120504"/>
                </a:lnTo>
                <a:lnTo>
                  <a:pt x="7906487" y="1164039"/>
                </a:lnTo>
                <a:lnTo>
                  <a:pt x="7904098" y="1165076"/>
                </a:lnTo>
                <a:lnTo>
                  <a:pt x="7900515" y="1164039"/>
                </a:lnTo>
                <a:lnTo>
                  <a:pt x="7888569" y="1157820"/>
                </a:lnTo>
                <a:lnTo>
                  <a:pt x="7820482" y="1166112"/>
                </a:lnTo>
                <a:lnTo>
                  <a:pt x="7783452" y="1200318"/>
                </a:lnTo>
                <a:lnTo>
                  <a:pt x="7781063" y="1202391"/>
                </a:lnTo>
                <a:lnTo>
                  <a:pt x="7782257" y="1204464"/>
                </a:lnTo>
                <a:lnTo>
                  <a:pt x="7788230" y="1214830"/>
                </a:lnTo>
                <a:lnTo>
                  <a:pt x="7777479" y="1213793"/>
                </a:lnTo>
                <a:lnTo>
                  <a:pt x="7758367" y="1230378"/>
                </a:lnTo>
                <a:close/>
                <a:moveTo>
                  <a:pt x="7935155" y="1005448"/>
                </a:moveTo>
                <a:lnTo>
                  <a:pt x="7936350" y="1004411"/>
                </a:lnTo>
                <a:lnTo>
                  <a:pt x="7941128" y="1008557"/>
                </a:lnTo>
                <a:lnTo>
                  <a:pt x="7935155" y="1005448"/>
                </a:lnTo>
                <a:close/>
                <a:moveTo>
                  <a:pt x="7859901" y="1245926"/>
                </a:moveTo>
                <a:lnTo>
                  <a:pt x="7863484" y="1249036"/>
                </a:lnTo>
                <a:lnTo>
                  <a:pt x="7864679" y="1244890"/>
                </a:lnTo>
                <a:lnTo>
                  <a:pt x="7869457" y="1231415"/>
                </a:lnTo>
                <a:lnTo>
                  <a:pt x="7879013" y="1229341"/>
                </a:lnTo>
                <a:lnTo>
                  <a:pt x="7887374" y="1233488"/>
                </a:lnTo>
                <a:lnTo>
                  <a:pt x="7889764" y="1235561"/>
                </a:lnTo>
                <a:lnTo>
                  <a:pt x="7889764" y="1235561"/>
                </a:lnTo>
                <a:lnTo>
                  <a:pt x="7904098" y="1215866"/>
                </a:lnTo>
                <a:lnTo>
                  <a:pt x="7893347" y="1203428"/>
                </a:lnTo>
                <a:lnTo>
                  <a:pt x="7859901" y="1200318"/>
                </a:lnTo>
                <a:lnTo>
                  <a:pt x="7856317" y="1208611"/>
                </a:lnTo>
                <a:lnTo>
                  <a:pt x="7838400" y="1208611"/>
                </a:lnTo>
                <a:lnTo>
                  <a:pt x="7831232" y="1227268"/>
                </a:lnTo>
                <a:lnTo>
                  <a:pt x="7832427" y="1228305"/>
                </a:lnTo>
                <a:lnTo>
                  <a:pt x="7831232" y="1230378"/>
                </a:lnTo>
                <a:lnTo>
                  <a:pt x="7859901" y="1245926"/>
                </a:lnTo>
                <a:close/>
                <a:moveTo>
                  <a:pt x="7796592" y="1405554"/>
                </a:moveTo>
                <a:lnTo>
                  <a:pt x="7784647" y="1424212"/>
                </a:lnTo>
                <a:lnTo>
                  <a:pt x="7789424" y="1426285"/>
                </a:lnTo>
                <a:lnTo>
                  <a:pt x="7801369" y="1407627"/>
                </a:lnTo>
                <a:lnTo>
                  <a:pt x="7796592" y="1405554"/>
                </a:lnTo>
                <a:close/>
                <a:moveTo>
                  <a:pt x="7824065" y="1360982"/>
                </a:moveTo>
                <a:lnTo>
                  <a:pt x="7809731" y="1369275"/>
                </a:lnTo>
                <a:lnTo>
                  <a:pt x="7813314" y="1373421"/>
                </a:lnTo>
                <a:lnTo>
                  <a:pt x="7827649" y="1365129"/>
                </a:lnTo>
                <a:lnTo>
                  <a:pt x="7824065" y="1360982"/>
                </a:lnTo>
                <a:close/>
                <a:moveTo>
                  <a:pt x="8034300" y="925634"/>
                </a:moveTo>
                <a:lnTo>
                  <a:pt x="8028327" y="925634"/>
                </a:lnTo>
                <a:lnTo>
                  <a:pt x="8028327" y="941182"/>
                </a:lnTo>
                <a:lnTo>
                  <a:pt x="8034300" y="941182"/>
                </a:lnTo>
                <a:lnTo>
                  <a:pt x="8034300" y="925634"/>
                </a:lnTo>
                <a:close/>
                <a:moveTo>
                  <a:pt x="8058190" y="914232"/>
                </a:moveTo>
                <a:lnTo>
                  <a:pt x="8080886" y="890391"/>
                </a:lnTo>
                <a:lnTo>
                  <a:pt x="8073719" y="891428"/>
                </a:lnTo>
                <a:lnTo>
                  <a:pt x="8051023" y="894538"/>
                </a:lnTo>
                <a:lnTo>
                  <a:pt x="8045050" y="922524"/>
                </a:lnTo>
                <a:lnTo>
                  <a:pt x="8040272" y="934963"/>
                </a:lnTo>
                <a:lnTo>
                  <a:pt x="8042661" y="932890"/>
                </a:lnTo>
                <a:lnTo>
                  <a:pt x="8042661" y="932890"/>
                </a:lnTo>
                <a:lnTo>
                  <a:pt x="8058190" y="914232"/>
                </a:lnTo>
                <a:close/>
                <a:moveTo>
                  <a:pt x="8097609" y="873807"/>
                </a:moveTo>
                <a:lnTo>
                  <a:pt x="8085664" y="886245"/>
                </a:lnTo>
                <a:lnTo>
                  <a:pt x="8090442" y="889355"/>
                </a:lnTo>
                <a:lnTo>
                  <a:pt x="8102387" y="876916"/>
                </a:lnTo>
                <a:lnTo>
                  <a:pt x="8097609" y="873807"/>
                </a:lnTo>
                <a:close/>
                <a:moveTo>
                  <a:pt x="8119110" y="854112"/>
                </a:moveTo>
                <a:lnTo>
                  <a:pt x="8116721" y="859295"/>
                </a:lnTo>
                <a:lnTo>
                  <a:pt x="8121500" y="861368"/>
                </a:lnTo>
                <a:lnTo>
                  <a:pt x="8123888" y="856186"/>
                </a:lnTo>
                <a:lnTo>
                  <a:pt x="8119110" y="854112"/>
                </a:lnTo>
                <a:close/>
                <a:moveTo>
                  <a:pt x="7601886" y="1454271"/>
                </a:moveTo>
                <a:lnTo>
                  <a:pt x="7582773" y="1494697"/>
                </a:lnTo>
                <a:lnTo>
                  <a:pt x="7592329" y="1523720"/>
                </a:lnTo>
                <a:lnTo>
                  <a:pt x="7615025" y="1550670"/>
                </a:lnTo>
                <a:lnTo>
                  <a:pt x="7628165" y="1452198"/>
                </a:lnTo>
                <a:lnTo>
                  <a:pt x="7619804" y="1444942"/>
                </a:lnTo>
                <a:lnTo>
                  <a:pt x="7601886" y="1454271"/>
                </a:lnTo>
                <a:close/>
                <a:moveTo>
                  <a:pt x="8512105" y="2860862"/>
                </a:moveTo>
                <a:lnTo>
                  <a:pt x="8512105" y="2860862"/>
                </a:lnTo>
                <a:lnTo>
                  <a:pt x="8490604" y="2804889"/>
                </a:lnTo>
                <a:lnTo>
                  <a:pt x="8472686" y="2789340"/>
                </a:lnTo>
                <a:lnTo>
                  <a:pt x="8472686" y="2763427"/>
                </a:lnTo>
                <a:lnTo>
                  <a:pt x="8447601" y="2744769"/>
                </a:lnTo>
                <a:lnTo>
                  <a:pt x="8444018" y="2752025"/>
                </a:lnTo>
                <a:lnTo>
                  <a:pt x="8430878" y="2703307"/>
                </a:lnTo>
                <a:lnTo>
                  <a:pt x="8401015" y="2677393"/>
                </a:lnTo>
                <a:lnTo>
                  <a:pt x="8374736" y="2664955"/>
                </a:lnTo>
                <a:lnTo>
                  <a:pt x="8374736" y="2619347"/>
                </a:lnTo>
                <a:lnTo>
                  <a:pt x="8360402" y="2601726"/>
                </a:lnTo>
                <a:lnTo>
                  <a:pt x="8366375" y="2557155"/>
                </a:lnTo>
                <a:lnTo>
                  <a:pt x="8347262" y="2537460"/>
                </a:lnTo>
                <a:lnTo>
                  <a:pt x="8324567" y="2537460"/>
                </a:lnTo>
                <a:lnTo>
                  <a:pt x="8310233" y="2445208"/>
                </a:lnTo>
                <a:lnTo>
                  <a:pt x="8298288" y="2434842"/>
                </a:lnTo>
                <a:lnTo>
                  <a:pt x="8283953" y="2450390"/>
                </a:lnTo>
                <a:lnTo>
                  <a:pt x="8244534" y="2585141"/>
                </a:lnTo>
                <a:lnTo>
                  <a:pt x="8220644" y="2623493"/>
                </a:lnTo>
                <a:lnTo>
                  <a:pt x="8209893" y="2628676"/>
                </a:lnTo>
                <a:lnTo>
                  <a:pt x="8191975" y="2635932"/>
                </a:lnTo>
                <a:lnTo>
                  <a:pt x="8175253" y="2612091"/>
                </a:lnTo>
                <a:lnTo>
                  <a:pt x="8129861" y="2583068"/>
                </a:lnTo>
                <a:lnTo>
                  <a:pt x="8128666" y="2583068"/>
                </a:lnTo>
                <a:lnTo>
                  <a:pt x="8105970" y="2583068"/>
                </a:lnTo>
                <a:lnTo>
                  <a:pt x="8103582" y="2571666"/>
                </a:lnTo>
                <a:lnTo>
                  <a:pt x="8084469" y="2559227"/>
                </a:lnTo>
                <a:lnTo>
                  <a:pt x="8097609" y="2540570"/>
                </a:lnTo>
                <a:lnTo>
                  <a:pt x="8103582" y="2515693"/>
                </a:lnTo>
                <a:lnTo>
                  <a:pt x="8121500" y="2515693"/>
                </a:lnTo>
                <a:lnTo>
                  <a:pt x="8134639" y="2488743"/>
                </a:lnTo>
                <a:lnTo>
                  <a:pt x="8119110" y="2475267"/>
                </a:lnTo>
                <a:lnTo>
                  <a:pt x="8105970" y="2486669"/>
                </a:lnTo>
                <a:lnTo>
                  <a:pt x="8103582" y="2475267"/>
                </a:lnTo>
                <a:lnTo>
                  <a:pt x="8083275" y="2481487"/>
                </a:lnTo>
                <a:lnTo>
                  <a:pt x="7991297" y="2455573"/>
                </a:lnTo>
                <a:lnTo>
                  <a:pt x="8004437" y="2471121"/>
                </a:lnTo>
                <a:lnTo>
                  <a:pt x="7997270" y="2481487"/>
                </a:lnTo>
                <a:lnTo>
                  <a:pt x="7959045" y="2481487"/>
                </a:lnTo>
                <a:lnTo>
                  <a:pt x="7939933" y="2495998"/>
                </a:lnTo>
                <a:lnTo>
                  <a:pt x="7937544" y="2515693"/>
                </a:lnTo>
                <a:lnTo>
                  <a:pt x="7920821" y="2517766"/>
                </a:lnTo>
                <a:lnTo>
                  <a:pt x="7898125" y="2543679"/>
                </a:lnTo>
                <a:lnTo>
                  <a:pt x="7911265" y="2555081"/>
                </a:lnTo>
                <a:lnTo>
                  <a:pt x="7910071" y="2561301"/>
                </a:lnTo>
                <a:lnTo>
                  <a:pt x="7881402" y="2551972"/>
                </a:lnTo>
                <a:lnTo>
                  <a:pt x="7868263" y="2560264"/>
                </a:lnTo>
                <a:lnTo>
                  <a:pt x="7863484" y="2543679"/>
                </a:lnTo>
                <a:lnTo>
                  <a:pt x="7853928" y="2529168"/>
                </a:lnTo>
                <a:lnTo>
                  <a:pt x="7830038" y="2526058"/>
                </a:lnTo>
                <a:lnTo>
                  <a:pt x="7806148" y="2549899"/>
                </a:lnTo>
                <a:lnTo>
                  <a:pt x="7782257" y="2549899"/>
                </a:lnTo>
                <a:lnTo>
                  <a:pt x="7750005" y="2595507"/>
                </a:lnTo>
                <a:lnTo>
                  <a:pt x="7732088" y="2587214"/>
                </a:lnTo>
                <a:lnTo>
                  <a:pt x="7724921" y="2603799"/>
                </a:lnTo>
                <a:lnTo>
                  <a:pt x="7730893" y="2613128"/>
                </a:lnTo>
                <a:lnTo>
                  <a:pt x="7721338" y="2621420"/>
                </a:lnTo>
                <a:lnTo>
                  <a:pt x="7715365" y="2592397"/>
                </a:lnTo>
                <a:lnTo>
                  <a:pt x="7680724" y="2625566"/>
                </a:lnTo>
                <a:lnTo>
                  <a:pt x="7680724" y="2643188"/>
                </a:lnTo>
                <a:lnTo>
                  <a:pt x="7634137" y="2683613"/>
                </a:lnTo>
                <a:lnTo>
                  <a:pt x="7494380" y="2714709"/>
                </a:lnTo>
                <a:lnTo>
                  <a:pt x="7431070" y="2754098"/>
                </a:lnTo>
                <a:lnTo>
                  <a:pt x="7427487" y="2739586"/>
                </a:lnTo>
                <a:lnTo>
                  <a:pt x="7404791" y="2765500"/>
                </a:lnTo>
                <a:lnTo>
                  <a:pt x="7404791" y="2791413"/>
                </a:lnTo>
                <a:lnTo>
                  <a:pt x="7392846" y="2801779"/>
                </a:lnTo>
                <a:lnTo>
                  <a:pt x="7395235" y="2861898"/>
                </a:lnTo>
                <a:lnTo>
                  <a:pt x="7379706" y="2842204"/>
                </a:lnTo>
                <a:lnTo>
                  <a:pt x="7382095" y="2863971"/>
                </a:lnTo>
                <a:lnTo>
                  <a:pt x="7371344" y="2848423"/>
                </a:lnTo>
                <a:lnTo>
                  <a:pt x="7396430" y="2948968"/>
                </a:lnTo>
                <a:lnTo>
                  <a:pt x="7396430" y="3018417"/>
                </a:lnTo>
                <a:lnTo>
                  <a:pt x="7382095" y="3058842"/>
                </a:lnTo>
                <a:lnTo>
                  <a:pt x="7361788" y="3069207"/>
                </a:lnTo>
                <a:lnTo>
                  <a:pt x="7351038" y="3087865"/>
                </a:lnTo>
                <a:lnTo>
                  <a:pt x="7386874" y="3110669"/>
                </a:lnTo>
                <a:lnTo>
                  <a:pt x="7435848" y="3110669"/>
                </a:lnTo>
                <a:lnTo>
                  <a:pt x="7496768" y="3081646"/>
                </a:lnTo>
                <a:lnTo>
                  <a:pt x="7598302" y="3078536"/>
                </a:lnTo>
                <a:lnTo>
                  <a:pt x="7619804" y="3057805"/>
                </a:lnTo>
                <a:lnTo>
                  <a:pt x="7687891" y="3031892"/>
                </a:lnTo>
                <a:lnTo>
                  <a:pt x="7836011" y="3019453"/>
                </a:lnTo>
                <a:lnTo>
                  <a:pt x="7906487" y="3041221"/>
                </a:lnTo>
                <a:lnTo>
                  <a:pt x="7898125" y="3056769"/>
                </a:lnTo>
                <a:lnTo>
                  <a:pt x="7911265" y="3061951"/>
                </a:lnTo>
                <a:lnTo>
                  <a:pt x="7911265" y="3112742"/>
                </a:lnTo>
                <a:lnTo>
                  <a:pt x="7999659" y="3054696"/>
                </a:lnTo>
                <a:lnTo>
                  <a:pt x="7996076" y="3070244"/>
                </a:lnTo>
                <a:lnTo>
                  <a:pt x="7941128" y="3117925"/>
                </a:lnTo>
                <a:lnTo>
                  <a:pt x="7970990" y="3117925"/>
                </a:lnTo>
                <a:lnTo>
                  <a:pt x="7992492" y="3093048"/>
                </a:lnTo>
                <a:lnTo>
                  <a:pt x="7996076" y="3106523"/>
                </a:lnTo>
                <a:lnTo>
                  <a:pt x="7967407" y="3131400"/>
                </a:lnTo>
                <a:lnTo>
                  <a:pt x="7954268" y="3123107"/>
                </a:lnTo>
                <a:lnTo>
                  <a:pt x="7922016" y="3132437"/>
                </a:lnTo>
                <a:lnTo>
                  <a:pt x="7931572" y="3143838"/>
                </a:lnTo>
                <a:lnTo>
                  <a:pt x="7948295" y="3143838"/>
                </a:lnTo>
                <a:lnTo>
                  <a:pt x="7970990" y="3133473"/>
                </a:lnTo>
                <a:lnTo>
                  <a:pt x="7967407" y="3131400"/>
                </a:lnTo>
                <a:lnTo>
                  <a:pt x="7993686" y="3128290"/>
                </a:lnTo>
                <a:lnTo>
                  <a:pt x="8000853" y="3136583"/>
                </a:lnTo>
                <a:lnTo>
                  <a:pt x="8000853" y="3158350"/>
                </a:lnTo>
                <a:lnTo>
                  <a:pt x="7994881" y="3171825"/>
                </a:lnTo>
                <a:lnTo>
                  <a:pt x="8017577" y="3204995"/>
                </a:lnTo>
                <a:lnTo>
                  <a:pt x="8051023" y="3204995"/>
                </a:lnTo>
                <a:lnTo>
                  <a:pt x="8072524" y="3215360"/>
                </a:lnTo>
                <a:lnTo>
                  <a:pt x="8117915" y="3192556"/>
                </a:lnTo>
                <a:lnTo>
                  <a:pt x="8113138" y="3206031"/>
                </a:lnTo>
                <a:lnTo>
                  <a:pt x="8129861" y="3200848"/>
                </a:lnTo>
                <a:lnTo>
                  <a:pt x="8126277" y="3207068"/>
                </a:lnTo>
                <a:lnTo>
                  <a:pt x="8144195" y="3225726"/>
                </a:lnTo>
                <a:lnTo>
                  <a:pt x="8217061" y="3191519"/>
                </a:lnTo>
                <a:lnTo>
                  <a:pt x="8268425" y="3178044"/>
                </a:lnTo>
                <a:lnTo>
                  <a:pt x="8307843" y="3131400"/>
                </a:lnTo>
                <a:lnTo>
                  <a:pt x="8457157" y="3001832"/>
                </a:lnTo>
                <a:lnTo>
                  <a:pt x="8502549" y="2937566"/>
                </a:lnTo>
                <a:lnTo>
                  <a:pt x="8512105" y="2860862"/>
                </a:lnTo>
                <a:close/>
                <a:moveTo>
                  <a:pt x="8068941" y="3252675"/>
                </a:moveTo>
                <a:lnTo>
                  <a:pt x="8067746" y="3255785"/>
                </a:lnTo>
                <a:lnTo>
                  <a:pt x="8040272" y="3319015"/>
                </a:lnTo>
                <a:lnTo>
                  <a:pt x="8040272" y="3320051"/>
                </a:lnTo>
                <a:lnTo>
                  <a:pt x="8039078" y="3321087"/>
                </a:lnTo>
                <a:lnTo>
                  <a:pt x="8041467" y="3325234"/>
                </a:lnTo>
                <a:lnTo>
                  <a:pt x="8046245" y="3336636"/>
                </a:lnTo>
                <a:lnTo>
                  <a:pt x="8066552" y="3339745"/>
                </a:lnTo>
                <a:lnTo>
                  <a:pt x="8067746" y="3339745"/>
                </a:lnTo>
                <a:lnTo>
                  <a:pt x="8067746" y="3339745"/>
                </a:lnTo>
                <a:lnTo>
                  <a:pt x="8067746" y="3339745"/>
                </a:lnTo>
                <a:lnTo>
                  <a:pt x="8068941" y="3338709"/>
                </a:lnTo>
                <a:lnTo>
                  <a:pt x="8092831" y="3322124"/>
                </a:lnTo>
                <a:lnTo>
                  <a:pt x="8098804" y="3330416"/>
                </a:lnTo>
                <a:lnTo>
                  <a:pt x="8154946" y="3268224"/>
                </a:lnTo>
                <a:lnTo>
                  <a:pt x="8159723" y="3263041"/>
                </a:lnTo>
                <a:lnTo>
                  <a:pt x="8094025" y="3268224"/>
                </a:lnTo>
                <a:lnTo>
                  <a:pt x="8068941" y="3252675"/>
                </a:lnTo>
                <a:close/>
                <a:moveTo>
                  <a:pt x="9040080" y="3181154"/>
                </a:moveTo>
                <a:lnTo>
                  <a:pt x="9042469" y="3179081"/>
                </a:lnTo>
                <a:lnTo>
                  <a:pt x="9040080" y="3177008"/>
                </a:lnTo>
                <a:lnTo>
                  <a:pt x="9032913" y="3170789"/>
                </a:lnTo>
                <a:lnTo>
                  <a:pt x="9030524" y="3171825"/>
                </a:lnTo>
                <a:lnTo>
                  <a:pt x="9029330" y="3170789"/>
                </a:lnTo>
                <a:lnTo>
                  <a:pt x="8995883" y="3184264"/>
                </a:lnTo>
                <a:lnTo>
                  <a:pt x="8973188" y="3178044"/>
                </a:lnTo>
                <a:lnTo>
                  <a:pt x="8987522" y="3155240"/>
                </a:lnTo>
                <a:lnTo>
                  <a:pt x="8973188" y="3142802"/>
                </a:lnTo>
                <a:lnTo>
                  <a:pt x="8971993" y="3145912"/>
                </a:lnTo>
                <a:lnTo>
                  <a:pt x="8962437" y="3160423"/>
                </a:lnTo>
                <a:lnTo>
                  <a:pt x="8957659" y="3156277"/>
                </a:lnTo>
                <a:lnTo>
                  <a:pt x="8960047" y="3154204"/>
                </a:lnTo>
                <a:lnTo>
                  <a:pt x="8958853" y="3154204"/>
                </a:lnTo>
                <a:lnTo>
                  <a:pt x="8969604" y="3114815"/>
                </a:lnTo>
                <a:lnTo>
                  <a:pt x="8969604" y="3112742"/>
                </a:lnTo>
                <a:lnTo>
                  <a:pt x="8969604" y="3112742"/>
                </a:lnTo>
                <a:lnTo>
                  <a:pt x="8969604" y="3112742"/>
                </a:lnTo>
                <a:lnTo>
                  <a:pt x="8969604" y="3106523"/>
                </a:lnTo>
                <a:lnTo>
                  <a:pt x="8967215" y="3105486"/>
                </a:lnTo>
                <a:lnTo>
                  <a:pt x="8966020" y="3103413"/>
                </a:lnTo>
                <a:lnTo>
                  <a:pt x="8952881" y="3101340"/>
                </a:lnTo>
                <a:lnTo>
                  <a:pt x="8951686" y="3101340"/>
                </a:lnTo>
                <a:lnTo>
                  <a:pt x="8945714" y="3086828"/>
                </a:lnTo>
                <a:lnTo>
                  <a:pt x="8940936" y="3061951"/>
                </a:lnTo>
                <a:lnTo>
                  <a:pt x="8940936" y="3073353"/>
                </a:lnTo>
                <a:lnTo>
                  <a:pt x="8940936" y="3073353"/>
                </a:lnTo>
                <a:lnTo>
                  <a:pt x="8937352" y="3160423"/>
                </a:lnTo>
                <a:lnTo>
                  <a:pt x="8949297" y="3160423"/>
                </a:lnTo>
                <a:lnTo>
                  <a:pt x="8902711" y="3210177"/>
                </a:lnTo>
                <a:lnTo>
                  <a:pt x="8869265" y="3221579"/>
                </a:lnTo>
                <a:lnTo>
                  <a:pt x="8871654" y="3223652"/>
                </a:lnTo>
                <a:lnTo>
                  <a:pt x="8869265" y="3224689"/>
                </a:lnTo>
                <a:lnTo>
                  <a:pt x="8890766" y="3243347"/>
                </a:lnTo>
                <a:lnTo>
                  <a:pt x="8868070" y="3265114"/>
                </a:lnTo>
                <a:lnTo>
                  <a:pt x="8851347" y="3280662"/>
                </a:lnTo>
                <a:lnTo>
                  <a:pt x="8853736" y="3281699"/>
                </a:lnTo>
                <a:lnTo>
                  <a:pt x="8860903" y="3287918"/>
                </a:lnTo>
                <a:lnTo>
                  <a:pt x="8863292" y="3286882"/>
                </a:lnTo>
                <a:lnTo>
                  <a:pt x="8864486" y="3287918"/>
                </a:lnTo>
                <a:lnTo>
                  <a:pt x="8883599" y="3282735"/>
                </a:lnTo>
                <a:lnTo>
                  <a:pt x="8968409" y="3222616"/>
                </a:lnTo>
                <a:lnTo>
                  <a:pt x="9016190" y="3204995"/>
                </a:lnTo>
                <a:lnTo>
                  <a:pt x="9040080" y="3181154"/>
                </a:lnTo>
                <a:close/>
                <a:moveTo>
                  <a:pt x="8844180" y="3266151"/>
                </a:moveTo>
                <a:lnTo>
                  <a:pt x="8847764" y="3259931"/>
                </a:lnTo>
                <a:lnTo>
                  <a:pt x="8821484" y="3270297"/>
                </a:lnTo>
                <a:lnTo>
                  <a:pt x="8825068" y="3265114"/>
                </a:lnTo>
                <a:lnTo>
                  <a:pt x="8813122" y="3254749"/>
                </a:lnTo>
                <a:lnTo>
                  <a:pt x="8798788" y="3264077"/>
                </a:lnTo>
                <a:lnTo>
                  <a:pt x="8798788" y="3264077"/>
                </a:lnTo>
                <a:lnTo>
                  <a:pt x="8728312" y="3309685"/>
                </a:lnTo>
                <a:lnTo>
                  <a:pt x="8620806" y="3349074"/>
                </a:lnTo>
                <a:lnTo>
                  <a:pt x="8526439" y="3401938"/>
                </a:lnTo>
                <a:lnTo>
                  <a:pt x="8526439" y="3411267"/>
                </a:lnTo>
                <a:lnTo>
                  <a:pt x="8547940" y="3411267"/>
                </a:lnTo>
                <a:lnTo>
                  <a:pt x="8547940" y="3418522"/>
                </a:lnTo>
                <a:lnTo>
                  <a:pt x="8550329" y="3418522"/>
                </a:lnTo>
                <a:lnTo>
                  <a:pt x="8501355" y="3452729"/>
                </a:lnTo>
                <a:lnTo>
                  <a:pt x="8501355" y="3452729"/>
                </a:lnTo>
                <a:lnTo>
                  <a:pt x="8497771" y="3455838"/>
                </a:lnTo>
                <a:lnTo>
                  <a:pt x="8522856" y="3444436"/>
                </a:lnTo>
                <a:lnTo>
                  <a:pt x="8550329" y="3434071"/>
                </a:lnTo>
                <a:lnTo>
                  <a:pt x="8553913" y="3422669"/>
                </a:lnTo>
                <a:lnTo>
                  <a:pt x="8555108" y="3420596"/>
                </a:lnTo>
                <a:lnTo>
                  <a:pt x="8575415" y="3424742"/>
                </a:lnTo>
                <a:lnTo>
                  <a:pt x="8618417" y="3411267"/>
                </a:lnTo>
                <a:lnTo>
                  <a:pt x="8696060" y="3361513"/>
                </a:lnTo>
                <a:lnTo>
                  <a:pt x="8759369" y="3345964"/>
                </a:lnTo>
                <a:lnTo>
                  <a:pt x="8765342" y="3330416"/>
                </a:lnTo>
                <a:lnTo>
                  <a:pt x="8839402" y="3294137"/>
                </a:lnTo>
                <a:lnTo>
                  <a:pt x="8840596" y="3294137"/>
                </a:lnTo>
                <a:lnTo>
                  <a:pt x="8850153" y="3277553"/>
                </a:lnTo>
                <a:lnTo>
                  <a:pt x="8852541" y="3274443"/>
                </a:lnTo>
                <a:lnTo>
                  <a:pt x="8845374" y="3274443"/>
                </a:lnTo>
                <a:lnTo>
                  <a:pt x="8844180" y="3266151"/>
                </a:lnTo>
                <a:close/>
                <a:moveTo>
                  <a:pt x="8999467" y="2570630"/>
                </a:moveTo>
                <a:lnTo>
                  <a:pt x="8999467" y="2550935"/>
                </a:lnTo>
                <a:lnTo>
                  <a:pt x="8981549" y="2558191"/>
                </a:lnTo>
                <a:lnTo>
                  <a:pt x="8976771" y="2574776"/>
                </a:lnTo>
                <a:lnTo>
                  <a:pt x="8981549" y="2572703"/>
                </a:lnTo>
                <a:lnTo>
                  <a:pt x="8999467" y="2570630"/>
                </a:lnTo>
                <a:close/>
                <a:moveTo>
                  <a:pt x="8993494" y="2596543"/>
                </a:moveTo>
                <a:lnTo>
                  <a:pt x="9011412" y="2596543"/>
                </a:lnTo>
                <a:lnTo>
                  <a:pt x="8993494" y="2575812"/>
                </a:lnTo>
                <a:lnTo>
                  <a:pt x="8993494" y="2596543"/>
                </a:lnTo>
                <a:close/>
                <a:moveTo>
                  <a:pt x="8870459" y="2698124"/>
                </a:moveTo>
                <a:lnTo>
                  <a:pt x="8882404" y="2730257"/>
                </a:lnTo>
                <a:lnTo>
                  <a:pt x="8906294" y="2744769"/>
                </a:lnTo>
                <a:lnTo>
                  <a:pt x="8921824" y="2756171"/>
                </a:lnTo>
                <a:lnTo>
                  <a:pt x="8923018" y="2757207"/>
                </a:lnTo>
                <a:lnTo>
                  <a:pt x="8944519" y="2757207"/>
                </a:lnTo>
                <a:lnTo>
                  <a:pt x="8901517" y="2708490"/>
                </a:lnTo>
                <a:lnTo>
                  <a:pt x="8866876" y="2691905"/>
                </a:lnTo>
                <a:lnTo>
                  <a:pt x="8870459" y="2698124"/>
                </a:lnTo>
                <a:close/>
                <a:moveTo>
                  <a:pt x="8995883" y="3370842"/>
                </a:moveTo>
                <a:lnTo>
                  <a:pt x="9043663" y="3339745"/>
                </a:lnTo>
                <a:lnTo>
                  <a:pt x="9000661" y="3339745"/>
                </a:lnTo>
                <a:lnTo>
                  <a:pt x="9011412" y="3344928"/>
                </a:lnTo>
                <a:lnTo>
                  <a:pt x="9013801" y="3347001"/>
                </a:lnTo>
                <a:lnTo>
                  <a:pt x="9006634" y="3356330"/>
                </a:lnTo>
                <a:lnTo>
                  <a:pt x="8995883" y="3370842"/>
                </a:lnTo>
                <a:close/>
                <a:moveTo>
                  <a:pt x="8401015" y="2262776"/>
                </a:moveTo>
                <a:lnTo>
                  <a:pt x="8346068" y="2233753"/>
                </a:lnTo>
                <a:lnTo>
                  <a:pt x="8274397" y="2213022"/>
                </a:lnTo>
                <a:lnTo>
                  <a:pt x="8180030" y="2178816"/>
                </a:lnTo>
                <a:lnTo>
                  <a:pt x="8139417" y="2203693"/>
                </a:lnTo>
                <a:lnTo>
                  <a:pt x="8110749" y="2231679"/>
                </a:lnTo>
                <a:lnTo>
                  <a:pt x="8101193" y="2231679"/>
                </a:lnTo>
                <a:lnTo>
                  <a:pt x="8076108" y="2206802"/>
                </a:lnTo>
                <a:lnTo>
                  <a:pt x="8070135" y="2159121"/>
                </a:lnTo>
                <a:lnTo>
                  <a:pt x="8047440" y="2159121"/>
                </a:lnTo>
                <a:lnTo>
                  <a:pt x="8035494" y="2150829"/>
                </a:lnTo>
                <a:lnTo>
                  <a:pt x="8012798" y="2150829"/>
                </a:lnTo>
                <a:lnTo>
                  <a:pt x="7968601" y="2180889"/>
                </a:lnTo>
                <a:lnTo>
                  <a:pt x="8005632" y="2189181"/>
                </a:lnTo>
                <a:lnTo>
                  <a:pt x="8005632" y="2201620"/>
                </a:lnTo>
                <a:lnTo>
                  <a:pt x="8013993" y="2208876"/>
                </a:lnTo>
                <a:lnTo>
                  <a:pt x="8061774" y="2203693"/>
                </a:lnTo>
                <a:lnTo>
                  <a:pt x="8060579" y="2208876"/>
                </a:lnTo>
                <a:lnTo>
                  <a:pt x="8002048" y="2220278"/>
                </a:lnTo>
                <a:lnTo>
                  <a:pt x="8027133" y="2235826"/>
                </a:lnTo>
                <a:lnTo>
                  <a:pt x="8030716" y="2257593"/>
                </a:lnTo>
                <a:lnTo>
                  <a:pt x="8047440" y="2257593"/>
                </a:lnTo>
                <a:lnTo>
                  <a:pt x="8055801" y="2245155"/>
                </a:lnTo>
                <a:lnTo>
                  <a:pt x="8095220" y="2264849"/>
                </a:lnTo>
                <a:lnTo>
                  <a:pt x="8160918" y="2282470"/>
                </a:lnTo>
                <a:lnTo>
                  <a:pt x="8186003" y="2296982"/>
                </a:lnTo>
                <a:lnTo>
                  <a:pt x="8200337" y="2340517"/>
                </a:lnTo>
                <a:lnTo>
                  <a:pt x="8187198" y="2344663"/>
                </a:lnTo>
                <a:lnTo>
                  <a:pt x="8157335" y="2376796"/>
                </a:lnTo>
                <a:lnTo>
                  <a:pt x="8232589" y="2365394"/>
                </a:lnTo>
                <a:lnTo>
                  <a:pt x="8275591" y="2405819"/>
                </a:lnTo>
                <a:lnTo>
                  <a:pt x="8275591" y="2401673"/>
                </a:lnTo>
                <a:lnTo>
                  <a:pt x="8309038" y="2401673"/>
                </a:lnTo>
                <a:lnTo>
                  <a:pt x="8335317" y="2384052"/>
                </a:lnTo>
                <a:lnTo>
                  <a:pt x="8329345" y="2373686"/>
                </a:lnTo>
                <a:lnTo>
                  <a:pt x="8359207" y="2351919"/>
                </a:lnTo>
                <a:lnTo>
                  <a:pt x="8375931" y="2351919"/>
                </a:lnTo>
                <a:lnTo>
                  <a:pt x="8406988" y="2364357"/>
                </a:lnTo>
                <a:lnTo>
                  <a:pt x="8446407" y="2421367"/>
                </a:lnTo>
                <a:lnTo>
                  <a:pt x="8509716" y="2429659"/>
                </a:lnTo>
                <a:lnTo>
                  <a:pt x="8519272" y="2440025"/>
                </a:lnTo>
                <a:lnTo>
                  <a:pt x="8540773" y="2436915"/>
                </a:lnTo>
                <a:lnTo>
                  <a:pt x="8552719" y="2419294"/>
                </a:lnTo>
                <a:lnTo>
                  <a:pt x="8518077" y="2414111"/>
                </a:lnTo>
                <a:lnTo>
                  <a:pt x="8530022" y="2403746"/>
                </a:lnTo>
                <a:lnTo>
                  <a:pt x="8501355" y="2398563"/>
                </a:lnTo>
                <a:lnTo>
                  <a:pt x="8508521" y="2383015"/>
                </a:lnTo>
                <a:lnTo>
                  <a:pt x="8484631" y="2389234"/>
                </a:lnTo>
                <a:lnTo>
                  <a:pt x="8478659" y="2360211"/>
                </a:lnTo>
                <a:lnTo>
                  <a:pt x="8451185" y="2339480"/>
                </a:lnTo>
                <a:lnTo>
                  <a:pt x="8448796" y="2330151"/>
                </a:lnTo>
                <a:lnTo>
                  <a:pt x="8472686" y="2324968"/>
                </a:lnTo>
                <a:lnTo>
                  <a:pt x="8472686" y="2311494"/>
                </a:lnTo>
                <a:lnTo>
                  <a:pt x="8457157" y="2301128"/>
                </a:lnTo>
                <a:lnTo>
                  <a:pt x="8441629" y="2301128"/>
                </a:lnTo>
                <a:lnTo>
                  <a:pt x="8410571" y="2291799"/>
                </a:lnTo>
                <a:lnTo>
                  <a:pt x="8401015" y="2262776"/>
                </a:lnTo>
                <a:close/>
                <a:moveTo>
                  <a:pt x="7460933" y="2231679"/>
                </a:moveTo>
                <a:lnTo>
                  <a:pt x="7482435" y="2242045"/>
                </a:lnTo>
                <a:lnTo>
                  <a:pt x="7493185" y="2237899"/>
                </a:lnTo>
                <a:lnTo>
                  <a:pt x="7505130" y="2258630"/>
                </a:lnTo>
                <a:lnTo>
                  <a:pt x="7519464" y="2255520"/>
                </a:lnTo>
                <a:lnTo>
                  <a:pt x="7550521" y="2242045"/>
                </a:lnTo>
                <a:lnTo>
                  <a:pt x="7566051" y="2206802"/>
                </a:lnTo>
                <a:lnTo>
                  <a:pt x="7560078" y="2192291"/>
                </a:lnTo>
                <a:lnTo>
                  <a:pt x="7582773" y="2174670"/>
                </a:lnTo>
                <a:lnTo>
                  <a:pt x="7600691" y="2123879"/>
                </a:lnTo>
                <a:lnTo>
                  <a:pt x="7644888" y="2123879"/>
                </a:lnTo>
                <a:lnTo>
                  <a:pt x="7601886" y="2089673"/>
                </a:lnTo>
                <a:lnTo>
                  <a:pt x="7610247" y="2079308"/>
                </a:lnTo>
                <a:lnTo>
                  <a:pt x="7588746" y="2055467"/>
                </a:lnTo>
                <a:lnTo>
                  <a:pt x="7593524" y="2034736"/>
                </a:lnTo>
                <a:lnTo>
                  <a:pt x="7619804" y="2026444"/>
                </a:lnTo>
                <a:lnTo>
                  <a:pt x="7611442" y="2014005"/>
                </a:lnTo>
                <a:lnTo>
                  <a:pt x="7644888" y="2005713"/>
                </a:lnTo>
                <a:lnTo>
                  <a:pt x="7594719" y="1982909"/>
                </a:lnTo>
                <a:lnTo>
                  <a:pt x="7594719" y="1970470"/>
                </a:lnTo>
                <a:lnTo>
                  <a:pt x="7564856" y="1952849"/>
                </a:lnTo>
                <a:lnTo>
                  <a:pt x="7518270" y="1998457"/>
                </a:lnTo>
                <a:lnTo>
                  <a:pt x="7514686" y="2005713"/>
                </a:lnTo>
                <a:lnTo>
                  <a:pt x="7476462" y="2018152"/>
                </a:lnTo>
                <a:lnTo>
                  <a:pt x="7477656" y="2019188"/>
                </a:lnTo>
                <a:lnTo>
                  <a:pt x="7438238" y="2060650"/>
                </a:lnTo>
                <a:lnTo>
                  <a:pt x="7401207" y="2065832"/>
                </a:lnTo>
                <a:lnTo>
                  <a:pt x="7392846" y="2101075"/>
                </a:lnTo>
                <a:lnTo>
                  <a:pt x="7358205" y="2092783"/>
                </a:lnTo>
                <a:lnTo>
                  <a:pt x="7352232" y="2085527"/>
                </a:lnTo>
                <a:lnTo>
                  <a:pt x="7349843" y="2090710"/>
                </a:lnTo>
                <a:lnTo>
                  <a:pt x="7342676" y="2088636"/>
                </a:lnTo>
                <a:lnTo>
                  <a:pt x="7347454" y="2094856"/>
                </a:lnTo>
                <a:lnTo>
                  <a:pt x="7334315" y="2118696"/>
                </a:lnTo>
                <a:lnTo>
                  <a:pt x="7343871" y="2159121"/>
                </a:lnTo>
                <a:lnTo>
                  <a:pt x="7367761" y="2181925"/>
                </a:lnTo>
                <a:lnTo>
                  <a:pt x="7373734" y="2227533"/>
                </a:lnTo>
                <a:lnTo>
                  <a:pt x="7417931" y="2222351"/>
                </a:lnTo>
                <a:lnTo>
                  <a:pt x="7417931" y="2244118"/>
                </a:lnTo>
                <a:lnTo>
                  <a:pt x="7460933" y="2231679"/>
                </a:lnTo>
                <a:close/>
                <a:moveTo>
                  <a:pt x="6972377" y="1696823"/>
                </a:moveTo>
                <a:lnTo>
                  <a:pt x="7018963" y="1799441"/>
                </a:lnTo>
                <a:lnTo>
                  <a:pt x="7012990" y="1814989"/>
                </a:lnTo>
                <a:lnTo>
                  <a:pt x="7022547" y="1844012"/>
                </a:lnTo>
                <a:lnTo>
                  <a:pt x="7014185" y="1877182"/>
                </a:lnTo>
                <a:lnTo>
                  <a:pt x="7014185" y="1877182"/>
                </a:lnTo>
                <a:lnTo>
                  <a:pt x="7014185" y="1877182"/>
                </a:lnTo>
                <a:lnTo>
                  <a:pt x="7008213" y="1897912"/>
                </a:lnTo>
                <a:lnTo>
                  <a:pt x="7014185" y="1888584"/>
                </a:lnTo>
                <a:lnTo>
                  <a:pt x="7014185" y="1898949"/>
                </a:lnTo>
                <a:lnTo>
                  <a:pt x="7017769" y="1925899"/>
                </a:lnTo>
                <a:lnTo>
                  <a:pt x="7028520" y="1922789"/>
                </a:lnTo>
                <a:lnTo>
                  <a:pt x="7081078" y="1976690"/>
                </a:lnTo>
                <a:lnTo>
                  <a:pt x="7088245" y="2026444"/>
                </a:lnTo>
                <a:lnTo>
                  <a:pt x="7112135" y="2068942"/>
                </a:lnTo>
                <a:lnTo>
                  <a:pt x="7175445" y="2109367"/>
                </a:lnTo>
                <a:lnTo>
                  <a:pt x="7175445" y="2109367"/>
                </a:lnTo>
                <a:lnTo>
                  <a:pt x="7180222" y="2113514"/>
                </a:lnTo>
                <a:lnTo>
                  <a:pt x="7182611" y="2111441"/>
                </a:lnTo>
                <a:lnTo>
                  <a:pt x="7183806" y="2111441"/>
                </a:lnTo>
                <a:lnTo>
                  <a:pt x="7188584" y="2113514"/>
                </a:lnTo>
                <a:lnTo>
                  <a:pt x="7198140" y="2109367"/>
                </a:lnTo>
                <a:lnTo>
                  <a:pt x="7202918" y="2108331"/>
                </a:lnTo>
                <a:lnTo>
                  <a:pt x="7201724" y="2107294"/>
                </a:lnTo>
                <a:lnTo>
                  <a:pt x="7201724" y="2107294"/>
                </a:lnTo>
                <a:lnTo>
                  <a:pt x="7201724" y="2103148"/>
                </a:lnTo>
                <a:lnTo>
                  <a:pt x="7196946" y="2101075"/>
                </a:lnTo>
                <a:lnTo>
                  <a:pt x="7173055" y="2064796"/>
                </a:lnTo>
                <a:lnTo>
                  <a:pt x="7173055" y="2007786"/>
                </a:lnTo>
                <a:lnTo>
                  <a:pt x="7136026" y="1978763"/>
                </a:lnTo>
                <a:lnTo>
                  <a:pt x="7114524" y="1954922"/>
                </a:lnTo>
                <a:lnTo>
                  <a:pt x="7084661" y="1947666"/>
                </a:lnTo>
                <a:lnTo>
                  <a:pt x="7059577" y="1886510"/>
                </a:lnTo>
                <a:lnTo>
                  <a:pt x="7047631" y="1888584"/>
                </a:lnTo>
                <a:lnTo>
                  <a:pt x="7039270" y="1863706"/>
                </a:lnTo>
                <a:lnTo>
                  <a:pt x="7057187" y="1812916"/>
                </a:lnTo>
                <a:lnTo>
                  <a:pt x="7057187" y="1780783"/>
                </a:lnTo>
                <a:lnTo>
                  <a:pt x="7078689" y="1780783"/>
                </a:lnTo>
                <a:lnTo>
                  <a:pt x="7078689" y="1799441"/>
                </a:lnTo>
                <a:lnTo>
                  <a:pt x="7113330" y="1799441"/>
                </a:lnTo>
                <a:lnTo>
                  <a:pt x="7132442" y="1813952"/>
                </a:lnTo>
                <a:lnTo>
                  <a:pt x="7153943" y="1848158"/>
                </a:lnTo>
                <a:lnTo>
                  <a:pt x="7193362" y="1861633"/>
                </a:lnTo>
                <a:lnTo>
                  <a:pt x="7204112" y="1870962"/>
                </a:lnTo>
                <a:lnTo>
                  <a:pt x="7207697" y="1913461"/>
                </a:lnTo>
                <a:lnTo>
                  <a:pt x="7251893" y="1886510"/>
                </a:lnTo>
                <a:lnTo>
                  <a:pt x="7257866" y="1861633"/>
                </a:lnTo>
                <a:lnTo>
                  <a:pt x="7271006" y="1861633"/>
                </a:lnTo>
                <a:lnTo>
                  <a:pt x="7323564" y="1831574"/>
                </a:lnTo>
                <a:lnTo>
                  <a:pt x="7323564" y="1768344"/>
                </a:lnTo>
                <a:lnTo>
                  <a:pt x="7305646" y="1723773"/>
                </a:lnTo>
                <a:lnTo>
                  <a:pt x="7210085" y="1634630"/>
                </a:lnTo>
                <a:lnTo>
                  <a:pt x="7199335" y="1620118"/>
                </a:lnTo>
                <a:lnTo>
                  <a:pt x="7201724" y="1598351"/>
                </a:lnTo>
                <a:lnTo>
                  <a:pt x="7230392" y="1568291"/>
                </a:lnTo>
                <a:lnTo>
                  <a:pt x="7248310" y="1559999"/>
                </a:lnTo>
                <a:lnTo>
                  <a:pt x="7253088" y="1562072"/>
                </a:lnTo>
                <a:lnTo>
                  <a:pt x="7268616" y="1553780"/>
                </a:lnTo>
                <a:lnTo>
                  <a:pt x="7302063" y="1561036"/>
                </a:lnTo>
                <a:lnTo>
                  <a:pt x="7314008" y="1590059"/>
                </a:lnTo>
                <a:lnTo>
                  <a:pt x="7325953" y="1590059"/>
                </a:lnTo>
                <a:lnTo>
                  <a:pt x="7337898" y="1582803"/>
                </a:lnTo>
                <a:lnTo>
                  <a:pt x="7329536" y="1565182"/>
                </a:lnTo>
                <a:lnTo>
                  <a:pt x="7400013" y="1547560"/>
                </a:lnTo>
                <a:lnTo>
                  <a:pt x="7400013" y="1533049"/>
                </a:lnTo>
                <a:lnTo>
                  <a:pt x="7410764" y="1540305"/>
                </a:lnTo>
                <a:lnTo>
                  <a:pt x="7411958" y="1533049"/>
                </a:lnTo>
                <a:lnTo>
                  <a:pt x="7413152" y="1533049"/>
                </a:lnTo>
                <a:lnTo>
                  <a:pt x="7419125" y="1541341"/>
                </a:lnTo>
                <a:lnTo>
                  <a:pt x="7435848" y="1541341"/>
                </a:lnTo>
                <a:lnTo>
                  <a:pt x="7435848" y="1528903"/>
                </a:lnTo>
                <a:lnTo>
                  <a:pt x="7435848" y="1528903"/>
                </a:lnTo>
                <a:lnTo>
                  <a:pt x="7438238" y="1525793"/>
                </a:lnTo>
                <a:lnTo>
                  <a:pt x="7494380" y="1515428"/>
                </a:lnTo>
                <a:lnTo>
                  <a:pt x="7534993" y="1482258"/>
                </a:lnTo>
                <a:lnTo>
                  <a:pt x="7530215" y="1473966"/>
                </a:lnTo>
                <a:lnTo>
                  <a:pt x="7545744" y="1473966"/>
                </a:lnTo>
                <a:lnTo>
                  <a:pt x="7568439" y="1432504"/>
                </a:lnTo>
                <a:lnTo>
                  <a:pt x="7558883" y="1417992"/>
                </a:lnTo>
                <a:lnTo>
                  <a:pt x="7566051" y="1420066"/>
                </a:lnTo>
                <a:lnTo>
                  <a:pt x="7587552" y="1374458"/>
                </a:lnTo>
                <a:lnTo>
                  <a:pt x="7599497" y="1366165"/>
                </a:lnTo>
                <a:lnTo>
                  <a:pt x="7599497" y="1321594"/>
                </a:lnTo>
                <a:lnTo>
                  <a:pt x="7552911" y="1312265"/>
                </a:lnTo>
                <a:lnTo>
                  <a:pt x="7587552" y="1300863"/>
                </a:lnTo>
                <a:lnTo>
                  <a:pt x="7560078" y="1279095"/>
                </a:lnTo>
                <a:lnTo>
                  <a:pt x="7579190" y="1279095"/>
                </a:lnTo>
                <a:lnTo>
                  <a:pt x="7536188" y="1251109"/>
                </a:lnTo>
                <a:lnTo>
                  <a:pt x="7497963" y="1202391"/>
                </a:lnTo>
                <a:lnTo>
                  <a:pt x="7466905" y="1186843"/>
                </a:lnTo>
                <a:lnTo>
                  <a:pt x="7486018" y="1143308"/>
                </a:lnTo>
                <a:lnTo>
                  <a:pt x="7511103" y="1131906"/>
                </a:lnTo>
                <a:lnTo>
                  <a:pt x="7525437" y="1138126"/>
                </a:lnTo>
                <a:lnTo>
                  <a:pt x="7525437" y="1121541"/>
                </a:lnTo>
                <a:lnTo>
                  <a:pt x="7471684" y="1108066"/>
                </a:lnTo>
                <a:lnTo>
                  <a:pt x="7447794" y="1123614"/>
                </a:lnTo>
                <a:lnTo>
                  <a:pt x="7438238" y="1123614"/>
                </a:lnTo>
                <a:lnTo>
                  <a:pt x="7374929" y="1083189"/>
                </a:lnTo>
                <a:lnTo>
                  <a:pt x="7374929" y="1071787"/>
                </a:lnTo>
                <a:lnTo>
                  <a:pt x="7401207" y="1071787"/>
                </a:lnTo>
                <a:lnTo>
                  <a:pt x="7407180" y="1058312"/>
                </a:lnTo>
                <a:lnTo>
                  <a:pt x="7427487" y="1047946"/>
                </a:lnTo>
                <a:lnTo>
                  <a:pt x="7439432" y="1026179"/>
                </a:lnTo>
                <a:lnTo>
                  <a:pt x="7453766" y="1028252"/>
                </a:lnTo>
                <a:lnTo>
                  <a:pt x="7469295" y="1039654"/>
                </a:lnTo>
                <a:lnTo>
                  <a:pt x="7453766" y="1063494"/>
                </a:lnTo>
                <a:lnTo>
                  <a:pt x="7468100" y="1070750"/>
                </a:lnTo>
                <a:lnTo>
                  <a:pt x="7454960" y="1090444"/>
                </a:lnTo>
                <a:lnTo>
                  <a:pt x="7514686" y="1059348"/>
                </a:lnTo>
                <a:lnTo>
                  <a:pt x="7525437" y="1059348"/>
                </a:lnTo>
                <a:lnTo>
                  <a:pt x="7564856" y="1066604"/>
                </a:lnTo>
                <a:lnTo>
                  <a:pt x="7568439" y="1102883"/>
                </a:lnTo>
                <a:lnTo>
                  <a:pt x="7619804" y="1110139"/>
                </a:lnTo>
                <a:lnTo>
                  <a:pt x="7625776" y="1120504"/>
                </a:lnTo>
                <a:lnTo>
                  <a:pt x="7631749" y="1127760"/>
                </a:lnTo>
                <a:lnTo>
                  <a:pt x="7616220" y="1130870"/>
                </a:lnTo>
                <a:lnTo>
                  <a:pt x="7654444" y="1164039"/>
                </a:lnTo>
                <a:lnTo>
                  <a:pt x="7646083" y="1176478"/>
                </a:lnTo>
                <a:lnTo>
                  <a:pt x="7668779" y="1208611"/>
                </a:lnTo>
                <a:lnTo>
                  <a:pt x="7733283" y="1183733"/>
                </a:lnTo>
                <a:lnTo>
                  <a:pt x="7729699" y="1160929"/>
                </a:lnTo>
                <a:lnTo>
                  <a:pt x="7702225" y="1116358"/>
                </a:lnTo>
                <a:lnTo>
                  <a:pt x="7673557" y="1093554"/>
                </a:lnTo>
                <a:lnTo>
                  <a:pt x="7677140" y="1092517"/>
                </a:lnTo>
                <a:lnTo>
                  <a:pt x="7664000" y="1086298"/>
                </a:lnTo>
                <a:lnTo>
                  <a:pt x="7664000" y="1086298"/>
                </a:lnTo>
                <a:lnTo>
                  <a:pt x="7664000" y="1086298"/>
                </a:lnTo>
                <a:lnTo>
                  <a:pt x="7626971" y="1069714"/>
                </a:lnTo>
                <a:lnTo>
                  <a:pt x="7619804" y="1052092"/>
                </a:lnTo>
                <a:lnTo>
                  <a:pt x="7667584" y="1028252"/>
                </a:lnTo>
                <a:lnTo>
                  <a:pt x="7652055" y="1006484"/>
                </a:lnTo>
                <a:lnTo>
                  <a:pt x="7664000" y="984717"/>
                </a:lnTo>
                <a:lnTo>
                  <a:pt x="7664000" y="984717"/>
                </a:lnTo>
                <a:lnTo>
                  <a:pt x="7664000" y="983680"/>
                </a:lnTo>
                <a:lnTo>
                  <a:pt x="7666389" y="978498"/>
                </a:lnTo>
                <a:lnTo>
                  <a:pt x="7668779" y="978498"/>
                </a:lnTo>
                <a:lnTo>
                  <a:pt x="7674751" y="963986"/>
                </a:lnTo>
                <a:lnTo>
                  <a:pt x="7721338" y="976425"/>
                </a:lnTo>
                <a:lnTo>
                  <a:pt x="7759561" y="954657"/>
                </a:lnTo>
                <a:lnTo>
                  <a:pt x="7759561" y="930817"/>
                </a:lnTo>
                <a:lnTo>
                  <a:pt x="7779868" y="895574"/>
                </a:lnTo>
                <a:lnTo>
                  <a:pt x="7789424" y="818870"/>
                </a:lnTo>
                <a:lnTo>
                  <a:pt x="7741644" y="753568"/>
                </a:lnTo>
                <a:lnTo>
                  <a:pt x="7708197" y="690338"/>
                </a:lnTo>
                <a:lnTo>
                  <a:pt x="7637722" y="669608"/>
                </a:lnTo>
                <a:lnTo>
                  <a:pt x="7612636" y="669608"/>
                </a:lnTo>
                <a:lnTo>
                  <a:pt x="7612636" y="681009"/>
                </a:lnTo>
                <a:lnTo>
                  <a:pt x="7599497" y="685156"/>
                </a:lnTo>
                <a:lnTo>
                  <a:pt x="7587552" y="664425"/>
                </a:lnTo>
                <a:lnTo>
                  <a:pt x="7570828" y="671681"/>
                </a:lnTo>
                <a:lnTo>
                  <a:pt x="7570828" y="672717"/>
                </a:lnTo>
                <a:lnTo>
                  <a:pt x="7555300" y="655096"/>
                </a:lnTo>
                <a:lnTo>
                  <a:pt x="7514686" y="647840"/>
                </a:lnTo>
                <a:lnTo>
                  <a:pt x="7537382" y="628146"/>
                </a:lnTo>
                <a:lnTo>
                  <a:pt x="7567245" y="550405"/>
                </a:lnTo>
                <a:lnTo>
                  <a:pt x="7594719" y="541076"/>
                </a:lnTo>
                <a:lnTo>
                  <a:pt x="7723726" y="546259"/>
                </a:lnTo>
                <a:lnTo>
                  <a:pt x="7711781" y="532784"/>
                </a:lnTo>
                <a:lnTo>
                  <a:pt x="7760756" y="534857"/>
                </a:lnTo>
                <a:lnTo>
                  <a:pt x="7788230" y="553515"/>
                </a:lnTo>
                <a:lnTo>
                  <a:pt x="7880208" y="544186"/>
                </a:lnTo>
                <a:lnTo>
                  <a:pt x="7836011" y="530711"/>
                </a:lnTo>
                <a:lnTo>
                  <a:pt x="7831232" y="521382"/>
                </a:lnTo>
                <a:lnTo>
                  <a:pt x="7833621" y="485103"/>
                </a:lnTo>
                <a:lnTo>
                  <a:pt x="7898125" y="475774"/>
                </a:lnTo>
                <a:lnTo>
                  <a:pt x="7908876" y="490285"/>
                </a:lnTo>
                <a:lnTo>
                  <a:pt x="7942323" y="511016"/>
                </a:lnTo>
                <a:lnTo>
                  <a:pt x="7955462" y="486139"/>
                </a:lnTo>
                <a:lnTo>
                  <a:pt x="7969796" y="479920"/>
                </a:lnTo>
                <a:lnTo>
                  <a:pt x="7950684" y="463335"/>
                </a:lnTo>
                <a:lnTo>
                  <a:pt x="7969796" y="463335"/>
                </a:lnTo>
                <a:lnTo>
                  <a:pt x="7966213" y="465408"/>
                </a:lnTo>
                <a:lnTo>
                  <a:pt x="8002048" y="499614"/>
                </a:lnTo>
                <a:lnTo>
                  <a:pt x="7982936" y="514126"/>
                </a:lnTo>
                <a:lnTo>
                  <a:pt x="7974574" y="570099"/>
                </a:lnTo>
                <a:lnTo>
                  <a:pt x="7948295" y="575282"/>
                </a:lnTo>
                <a:lnTo>
                  <a:pt x="7966213" y="599123"/>
                </a:lnTo>
                <a:lnTo>
                  <a:pt x="7956656" y="602232"/>
                </a:lnTo>
                <a:lnTo>
                  <a:pt x="7992492" y="644730"/>
                </a:lnTo>
                <a:lnTo>
                  <a:pt x="8147778" y="760823"/>
                </a:lnTo>
                <a:lnTo>
                  <a:pt x="8158529" y="738019"/>
                </a:lnTo>
                <a:lnTo>
                  <a:pt x="8144195" y="706923"/>
                </a:lnTo>
                <a:lnTo>
                  <a:pt x="8148973" y="701740"/>
                </a:lnTo>
                <a:lnTo>
                  <a:pt x="8171669" y="701740"/>
                </a:lnTo>
                <a:lnTo>
                  <a:pt x="8141806" y="672717"/>
                </a:lnTo>
                <a:lnTo>
                  <a:pt x="8144195" y="667534"/>
                </a:lnTo>
                <a:lnTo>
                  <a:pt x="8170474" y="665461"/>
                </a:lnTo>
                <a:lnTo>
                  <a:pt x="8175253" y="654059"/>
                </a:lnTo>
                <a:lnTo>
                  <a:pt x="8137028" y="622963"/>
                </a:lnTo>
                <a:lnTo>
                  <a:pt x="8166891" y="619853"/>
                </a:lnTo>
                <a:lnTo>
                  <a:pt x="8126277" y="600159"/>
                </a:lnTo>
                <a:lnTo>
                  <a:pt x="8108360" y="576319"/>
                </a:lnTo>
                <a:lnTo>
                  <a:pt x="8080886" y="573209"/>
                </a:lnTo>
                <a:lnTo>
                  <a:pt x="8067746" y="565953"/>
                </a:lnTo>
                <a:lnTo>
                  <a:pt x="8059385" y="545222"/>
                </a:lnTo>
                <a:lnTo>
                  <a:pt x="8045050" y="525528"/>
                </a:lnTo>
                <a:lnTo>
                  <a:pt x="8073719" y="525528"/>
                </a:lnTo>
                <a:lnTo>
                  <a:pt x="8090442" y="516199"/>
                </a:lnTo>
                <a:lnTo>
                  <a:pt x="8110749" y="533820"/>
                </a:lnTo>
                <a:lnTo>
                  <a:pt x="8114332" y="517235"/>
                </a:lnTo>
                <a:lnTo>
                  <a:pt x="8133445" y="507907"/>
                </a:lnTo>
                <a:lnTo>
                  <a:pt x="8207504" y="527601"/>
                </a:lnTo>
                <a:lnTo>
                  <a:pt x="8199143" y="513089"/>
                </a:lnTo>
                <a:lnTo>
                  <a:pt x="8239756" y="470591"/>
                </a:lnTo>
                <a:lnTo>
                  <a:pt x="8262452" y="461262"/>
                </a:lnTo>
                <a:lnTo>
                  <a:pt x="8322178" y="466445"/>
                </a:lnTo>
                <a:lnTo>
                  <a:pt x="8322178" y="451933"/>
                </a:lnTo>
                <a:lnTo>
                  <a:pt x="8205116" y="406325"/>
                </a:lnTo>
                <a:lnTo>
                  <a:pt x="8218255" y="407362"/>
                </a:lnTo>
                <a:lnTo>
                  <a:pt x="8232589" y="398033"/>
                </a:lnTo>
                <a:lnTo>
                  <a:pt x="8225422" y="379375"/>
                </a:lnTo>
                <a:lnTo>
                  <a:pt x="8200337" y="372119"/>
                </a:lnTo>
                <a:lnTo>
                  <a:pt x="8202726" y="369010"/>
                </a:lnTo>
                <a:lnTo>
                  <a:pt x="8245729" y="386631"/>
                </a:lnTo>
                <a:lnTo>
                  <a:pt x="8303065" y="389741"/>
                </a:lnTo>
                <a:lnTo>
                  <a:pt x="8430878" y="420837"/>
                </a:lnTo>
                <a:lnTo>
                  <a:pt x="8391459" y="386631"/>
                </a:lnTo>
                <a:lnTo>
                  <a:pt x="8414155" y="386631"/>
                </a:lnTo>
                <a:lnTo>
                  <a:pt x="8417739" y="369010"/>
                </a:lnTo>
                <a:lnTo>
                  <a:pt x="8336512" y="350352"/>
                </a:lnTo>
                <a:lnTo>
                  <a:pt x="8268425" y="345169"/>
                </a:lnTo>
                <a:lnTo>
                  <a:pt x="8067746" y="298525"/>
                </a:lnTo>
                <a:lnTo>
                  <a:pt x="7956656" y="282977"/>
                </a:lnTo>
                <a:lnTo>
                  <a:pt x="7814509" y="274684"/>
                </a:lnTo>
                <a:lnTo>
                  <a:pt x="7869457" y="301634"/>
                </a:lnTo>
                <a:lnTo>
                  <a:pt x="7857512" y="306817"/>
                </a:lnTo>
                <a:lnTo>
                  <a:pt x="7813314" y="294378"/>
                </a:lnTo>
                <a:lnTo>
                  <a:pt x="7820482" y="294378"/>
                </a:lnTo>
                <a:lnTo>
                  <a:pt x="7814509" y="284013"/>
                </a:lnTo>
                <a:lnTo>
                  <a:pt x="7781063" y="277794"/>
                </a:lnTo>
                <a:lnTo>
                  <a:pt x="7777479" y="288159"/>
                </a:lnTo>
                <a:lnTo>
                  <a:pt x="7777479" y="288159"/>
                </a:lnTo>
                <a:lnTo>
                  <a:pt x="7777479" y="288159"/>
                </a:lnTo>
                <a:lnTo>
                  <a:pt x="7775091" y="293342"/>
                </a:lnTo>
                <a:lnTo>
                  <a:pt x="7640110" y="288159"/>
                </a:lnTo>
                <a:lnTo>
                  <a:pt x="7601886" y="270538"/>
                </a:lnTo>
                <a:lnTo>
                  <a:pt x="7551716" y="258099"/>
                </a:lnTo>
                <a:lnTo>
                  <a:pt x="7551716" y="258099"/>
                </a:lnTo>
                <a:lnTo>
                  <a:pt x="7420320" y="260173"/>
                </a:lnTo>
                <a:lnTo>
                  <a:pt x="7318786" y="232186"/>
                </a:lnTo>
                <a:lnTo>
                  <a:pt x="7104968" y="216638"/>
                </a:lnTo>
                <a:lnTo>
                  <a:pt x="7096606" y="223894"/>
                </a:lnTo>
                <a:lnTo>
                  <a:pt x="7096606" y="234259"/>
                </a:lnTo>
                <a:lnTo>
                  <a:pt x="7124081" y="244624"/>
                </a:lnTo>
                <a:lnTo>
                  <a:pt x="7047631" y="240478"/>
                </a:lnTo>
                <a:lnTo>
                  <a:pt x="7029714" y="250844"/>
                </a:lnTo>
                <a:lnTo>
                  <a:pt x="6961626" y="236332"/>
                </a:lnTo>
                <a:lnTo>
                  <a:pt x="6984322" y="259136"/>
                </a:lnTo>
                <a:lnTo>
                  <a:pt x="6981933" y="261209"/>
                </a:lnTo>
                <a:lnTo>
                  <a:pt x="6895928" y="241515"/>
                </a:lnTo>
                <a:lnTo>
                  <a:pt x="6893539" y="220784"/>
                </a:lnTo>
                <a:lnTo>
                  <a:pt x="6849342" y="207309"/>
                </a:lnTo>
                <a:lnTo>
                  <a:pt x="6706001" y="195907"/>
                </a:lnTo>
                <a:lnTo>
                  <a:pt x="6741836" y="212492"/>
                </a:lnTo>
                <a:lnTo>
                  <a:pt x="6651053" y="212492"/>
                </a:lnTo>
                <a:lnTo>
                  <a:pt x="6641497" y="196943"/>
                </a:lnTo>
                <a:lnTo>
                  <a:pt x="6542352" y="200053"/>
                </a:lnTo>
                <a:lnTo>
                  <a:pt x="6512489" y="182432"/>
                </a:lnTo>
                <a:lnTo>
                  <a:pt x="6462320" y="182432"/>
                </a:lnTo>
                <a:lnTo>
                  <a:pt x="6499349" y="167920"/>
                </a:lnTo>
                <a:lnTo>
                  <a:pt x="6483821" y="154445"/>
                </a:lnTo>
                <a:lnTo>
                  <a:pt x="6404983" y="135787"/>
                </a:lnTo>
                <a:lnTo>
                  <a:pt x="6320172" y="137860"/>
                </a:lnTo>
                <a:lnTo>
                  <a:pt x="6326145" y="128531"/>
                </a:lnTo>
                <a:lnTo>
                  <a:pt x="6283143" y="120239"/>
                </a:lnTo>
                <a:lnTo>
                  <a:pt x="6234168" y="111947"/>
                </a:lnTo>
                <a:lnTo>
                  <a:pt x="6195943" y="128531"/>
                </a:lnTo>
                <a:lnTo>
                  <a:pt x="6189971" y="146153"/>
                </a:lnTo>
                <a:lnTo>
                  <a:pt x="6069324" y="149262"/>
                </a:lnTo>
                <a:lnTo>
                  <a:pt x="5997654" y="164810"/>
                </a:lnTo>
                <a:lnTo>
                  <a:pt x="5968986" y="180359"/>
                </a:lnTo>
                <a:lnTo>
                  <a:pt x="5986903" y="193834"/>
                </a:lnTo>
                <a:lnTo>
                  <a:pt x="5868646" y="201090"/>
                </a:lnTo>
                <a:lnTo>
                  <a:pt x="5903287" y="231149"/>
                </a:lnTo>
                <a:lnTo>
                  <a:pt x="5939123" y="242551"/>
                </a:lnTo>
                <a:lnTo>
                  <a:pt x="5935539" y="242551"/>
                </a:lnTo>
                <a:lnTo>
                  <a:pt x="5835200" y="223894"/>
                </a:lnTo>
                <a:lnTo>
                  <a:pt x="5805337" y="243588"/>
                </a:lnTo>
                <a:lnTo>
                  <a:pt x="5851923" y="256026"/>
                </a:lnTo>
                <a:lnTo>
                  <a:pt x="5807726" y="252917"/>
                </a:lnTo>
                <a:lnTo>
                  <a:pt x="5788614" y="228040"/>
                </a:lnTo>
                <a:lnTo>
                  <a:pt x="5756362" y="256026"/>
                </a:lnTo>
                <a:lnTo>
                  <a:pt x="5796975" y="272611"/>
                </a:lnTo>
                <a:lnTo>
                  <a:pt x="5796975" y="292305"/>
                </a:lnTo>
                <a:lnTo>
                  <a:pt x="5810115" y="306817"/>
                </a:lnTo>
                <a:lnTo>
                  <a:pt x="5834005" y="314073"/>
                </a:lnTo>
                <a:lnTo>
                  <a:pt x="5853118" y="337913"/>
                </a:lnTo>
                <a:lnTo>
                  <a:pt x="5834005" y="354498"/>
                </a:lnTo>
                <a:lnTo>
                  <a:pt x="5802948" y="366937"/>
                </a:lnTo>
                <a:lnTo>
                  <a:pt x="5780252" y="358644"/>
                </a:lnTo>
                <a:lnTo>
                  <a:pt x="5811310" y="345169"/>
                </a:lnTo>
                <a:lnTo>
                  <a:pt x="5814893" y="313036"/>
                </a:lnTo>
                <a:lnTo>
                  <a:pt x="5787419" y="304744"/>
                </a:lnTo>
                <a:lnTo>
                  <a:pt x="5757557" y="258099"/>
                </a:lnTo>
                <a:lnTo>
                  <a:pt x="5737250" y="247734"/>
                </a:lnTo>
                <a:lnTo>
                  <a:pt x="5737250" y="221820"/>
                </a:lnTo>
                <a:lnTo>
                  <a:pt x="5702609" y="213528"/>
                </a:lnTo>
                <a:lnTo>
                  <a:pt x="5687080" y="200053"/>
                </a:lnTo>
                <a:lnTo>
                  <a:pt x="5661995" y="196943"/>
                </a:lnTo>
                <a:lnTo>
                  <a:pt x="5630938" y="245661"/>
                </a:lnTo>
                <a:lnTo>
                  <a:pt x="5646467" y="262246"/>
                </a:lnTo>
                <a:lnTo>
                  <a:pt x="5650050" y="284013"/>
                </a:lnTo>
                <a:lnTo>
                  <a:pt x="5708581" y="304744"/>
                </a:lnTo>
                <a:lnTo>
                  <a:pt x="5707387" y="309927"/>
                </a:lnTo>
                <a:lnTo>
                  <a:pt x="5474457" y="258099"/>
                </a:lnTo>
                <a:lnTo>
                  <a:pt x="5469679" y="270538"/>
                </a:lnTo>
                <a:lnTo>
                  <a:pt x="5531794" y="297488"/>
                </a:lnTo>
                <a:lnTo>
                  <a:pt x="5511487" y="303707"/>
                </a:lnTo>
                <a:lnTo>
                  <a:pt x="5513876" y="309927"/>
                </a:lnTo>
                <a:lnTo>
                  <a:pt x="5501931" y="307854"/>
                </a:lnTo>
                <a:lnTo>
                  <a:pt x="5495958" y="294378"/>
                </a:lnTo>
                <a:lnTo>
                  <a:pt x="5417120" y="305781"/>
                </a:lnTo>
                <a:lnTo>
                  <a:pt x="5412342" y="314073"/>
                </a:lnTo>
                <a:lnTo>
                  <a:pt x="5387257" y="294378"/>
                </a:lnTo>
                <a:lnTo>
                  <a:pt x="5272584" y="326511"/>
                </a:lnTo>
                <a:lnTo>
                  <a:pt x="5276168" y="339987"/>
                </a:lnTo>
                <a:lnTo>
                  <a:pt x="5264223" y="344133"/>
                </a:lnTo>
                <a:lnTo>
                  <a:pt x="5217636" y="333767"/>
                </a:lnTo>
                <a:lnTo>
                  <a:pt x="5245110" y="325475"/>
                </a:lnTo>
                <a:lnTo>
                  <a:pt x="5233165" y="310963"/>
                </a:lnTo>
                <a:lnTo>
                  <a:pt x="5142382" y="300598"/>
                </a:lnTo>
                <a:lnTo>
                  <a:pt x="5181801" y="315109"/>
                </a:lnTo>
                <a:lnTo>
                  <a:pt x="5181801" y="341023"/>
                </a:lnTo>
                <a:lnTo>
                  <a:pt x="5200913" y="346206"/>
                </a:lnTo>
                <a:lnTo>
                  <a:pt x="5205691" y="356571"/>
                </a:lnTo>
                <a:lnTo>
                  <a:pt x="5196135" y="362790"/>
                </a:lnTo>
                <a:lnTo>
                  <a:pt x="5154327" y="355535"/>
                </a:lnTo>
                <a:lnTo>
                  <a:pt x="5101769" y="378339"/>
                </a:lnTo>
                <a:lnTo>
                  <a:pt x="5124464" y="398033"/>
                </a:lnTo>
                <a:lnTo>
                  <a:pt x="5049210" y="386631"/>
                </a:lnTo>
                <a:lnTo>
                  <a:pt x="5030098" y="394923"/>
                </a:lnTo>
                <a:lnTo>
                  <a:pt x="5074295" y="406325"/>
                </a:lnTo>
                <a:lnTo>
                  <a:pt x="5076684" y="414618"/>
                </a:lnTo>
                <a:lnTo>
                  <a:pt x="5053988" y="414618"/>
                </a:lnTo>
                <a:lnTo>
                  <a:pt x="5005013" y="400106"/>
                </a:lnTo>
                <a:lnTo>
                  <a:pt x="4999040" y="366937"/>
                </a:lnTo>
                <a:lnTo>
                  <a:pt x="4953649" y="346206"/>
                </a:lnTo>
                <a:lnTo>
                  <a:pt x="5075489" y="367973"/>
                </a:lnTo>
                <a:lnTo>
                  <a:pt x="5076684" y="367973"/>
                </a:lnTo>
                <a:lnTo>
                  <a:pt x="5137604" y="351388"/>
                </a:lnTo>
                <a:lnTo>
                  <a:pt x="5123270" y="326511"/>
                </a:lnTo>
                <a:lnTo>
                  <a:pt x="5026514" y="297488"/>
                </a:lnTo>
                <a:lnTo>
                  <a:pt x="4939315" y="276757"/>
                </a:lnTo>
                <a:lnTo>
                  <a:pt x="4904674" y="278830"/>
                </a:lnTo>
                <a:lnTo>
                  <a:pt x="4905868" y="278830"/>
                </a:lnTo>
                <a:lnTo>
                  <a:pt x="4864060" y="269501"/>
                </a:lnTo>
                <a:lnTo>
                  <a:pt x="4913035" y="261209"/>
                </a:lnTo>
                <a:lnTo>
                  <a:pt x="4856893" y="250844"/>
                </a:lnTo>
                <a:lnTo>
                  <a:pt x="4825836" y="245661"/>
                </a:lnTo>
                <a:lnTo>
                  <a:pt x="4809113" y="257063"/>
                </a:lnTo>
                <a:lnTo>
                  <a:pt x="4803140" y="249807"/>
                </a:lnTo>
                <a:lnTo>
                  <a:pt x="4786417" y="254990"/>
                </a:lnTo>
                <a:lnTo>
                  <a:pt x="4786417" y="241515"/>
                </a:lnTo>
                <a:lnTo>
                  <a:pt x="4752970" y="256026"/>
                </a:lnTo>
                <a:lnTo>
                  <a:pt x="4732664" y="250844"/>
                </a:lnTo>
                <a:lnTo>
                  <a:pt x="4699217" y="261209"/>
                </a:lnTo>
                <a:lnTo>
                  <a:pt x="4641881" y="266392"/>
                </a:lnTo>
                <a:lnTo>
                  <a:pt x="4600073" y="285050"/>
                </a:lnTo>
                <a:lnTo>
                  <a:pt x="4600073" y="296452"/>
                </a:lnTo>
                <a:lnTo>
                  <a:pt x="4607240" y="296452"/>
                </a:lnTo>
                <a:lnTo>
                  <a:pt x="4600073" y="300598"/>
                </a:lnTo>
                <a:lnTo>
                  <a:pt x="4597684" y="290232"/>
                </a:lnTo>
                <a:lnTo>
                  <a:pt x="4588128" y="294378"/>
                </a:lnTo>
                <a:lnTo>
                  <a:pt x="4591711" y="280904"/>
                </a:lnTo>
                <a:lnTo>
                  <a:pt x="4543931" y="305781"/>
                </a:lnTo>
                <a:lnTo>
                  <a:pt x="4555876" y="307854"/>
                </a:lnTo>
                <a:lnTo>
                  <a:pt x="4515262" y="321329"/>
                </a:lnTo>
                <a:lnTo>
                  <a:pt x="4516457" y="326511"/>
                </a:lnTo>
                <a:lnTo>
                  <a:pt x="4566626" y="318219"/>
                </a:lnTo>
                <a:lnTo>
                  <a:pt x="4534375" y="339987"/>
                </a:lnTo>
                <a:lnTo>
                  <a:pt x="4498539" y="381448"/>
                </a:lnTo>
                <a:lnTo>
                  <a:pt x="4440008" y="423946"/>
                </a:lnTo>
                <a:lnTo>
                  <a:pt x="4428063" y="418764"/>
                </a:lnTo>
                <a:lnTo>
                  <a:pt x="4407756" y="435349"/>
                </a:lnTo>
                <a:lnTo>
                  <a:pt x="4387449" y="437422"/>
                </a:lnTo>
                <a:lnTo>
                  <a:pt x="4332502" y="465408"/>
                </a:lnTo>
                <a:lnTo>
                  <a:pt x="4342058" y="475774"/>
                </a:lnTo>
                <a:lnTo>
                  <a:pt x="4331307" y="483030"/>
                </a:lnTo>
                <a:lnTo>
                  <a:pt x="4338474" y="508943"/>
                </a:lnTo>
                <a:lnTo>
                  <a:pt x="4349225" y="518272"/>
                </a:lnTo>
                <a:lnTo>
                  <a:pt x="4342058" y="540040"/>
                </a:lnTo>
                <a:lnTo>
                  <a:pt x="4358781" y="534857"/>
                </a:lnTo>
                <a:lnTo>
                  <a:pt x="4349225" y="551441"/>
                </a:lnTo>
                <a:lnTo>
                  <a:pt x="4357586" y="558697"/>
                </a:lnTo>
                <a:lnTo>
                  <a:pt x="4401783" y="569063"/>
                </a:lnTo>
                <a:lnTo>
                  <a:pt x="4466287" y="532784"/>
                </a:lnTo>
                <a:lnTo>
                  <a:pt x="4475843" y="541076"/>
                </a:lnTo>
                <a:lnTo>
                  <a:pt x="4518846" y="604305"/>
                </a:lnTo>
                <a:lnTo>
                  <a:pt x="4512873" y="609488"/>
                </a:lnTo>
                <a:lnTo>
                  <a:pt x="4514068" y="613634"/>
                </a:lnTo>
                <a:lnTo>
                  <a:pt x="4473454" y="625036"/>
                </a:lnTo>
                <a:lnTo>
                  <a:pt x="4474649" y="627109"/>
                </a:lnTo>
                <a:lnTo>
                  <a:pt x="4473454" y="628146"/>
                </a:lnTo>
                <a:lnTo>
                  <a:pt x="4481816" y="638511"/>
                </a:lnTo>
                <a:lnTo>
                  <a:pt x="4481816" y="639548"/>
                </a:lnTo>
                <a:lnTo>
                  <a:pt x="4498539" y="642657"/>
                </a:lnTo>
                <a:lnTo>
                  <a:pt x="4524818" y="638511"/>
                </a:lnTo>
                <a:lnTo>
                  <a:pt x="4526013" y="638511"/>
                </a:lnTo>
                <a:lnTo>
                  <a:pt x="4517651" y="635402"/>
                </a:lnTo>
                <a:lnTo>
                  <a:pt x="4514068" y="633329"/>
                </a:lnTo>
                <a:lnTo>
                  <a:pt x="4518846" y="632292"/>
                </a:lnTo>
                <a:lnTo>
                  <a:pt x="4520040" y="635402"/>
                </a:lnTo>
                <a:lnTo>
                  <a:pt x="4554681" y="635402"/>
                </a:lnTo>
                <a:lnTo>
                  <a:pt x="4566626" y="614671"/>
                </a:lnTo>
                <a:lnTo>
                  <a:pt x="4596489" y="614671"/>
                </a:lnTo>
                <a:lnTo>
                  <a:pt x="4614407" y="554551"/>
                </a:lnTo>
                <a:lnTo>
                  <a:pt x="4653826" y="537966"/>
                </a:lnTo>
                <a:lnTo>
                  <a:pt x="4643075" y="531747"/>
                </a:lnTo>
                <a:lnTo>
                  <a:pt x="4657409" y="519309"/>
                </a:lnTo>
                <a:lnTo>
                  <a:pt x="4622769" y="494432"/>
                </a:lnTo>
                <a:lnTo>
                  <a:pt x="4622769" y="463335"/>
                </a:lnTo>
                <a:lnTo>
                  <a:pt x="4718330" y="404252"/>
                </a:lnTo>
                <a:lnTo>
                  <a:pt x="4699217" y="399070"/>
                </a:lnTo>
                <a:lnTo>
                  <a:pt x="4724302" y="379375"/>
                </a:lnTo>
                <a:lnTo>
                  <a:pt x="4756554" y="379375"/>
                </a:lnTo>
                <a:lnTo>
                  <a:pt x="4752970" y="364864"/>
                </a:lnTo>
                <a:lnTo>
                  <a:pt x="4756554" y="376266"/>
                </a:lnTo>
                <a:lnTo>
                  <a:pt x="4769694" y="376266"/>
                </a:lnTo>
                <a:lnTo>
                  <a:pt x="4785222" y="380412"/>
                </a:lnTo>
                <a:lnTo>
                  <a:pt x="4787611" y="392850"/>
                </a:lnTo>
                <a:lnTo>
                  <a:pt x="4708774" y="438458"/>
                </a:lnTo>
                <a:lnTo>
                  <a:pt x="4698023" y="454006"/>
                </a:lnTo>
                <a:lnTo>
                  <a:pt x="4713552" y="477847"/>
                </a:lnTo>
                <a:lnTo>
                  <a:pt x="4707579" y="499614"/>
                </a:lnTo>
                <a:lnTo>
                  <a:pt x="4761332" y="518272"/>
                </a:lnTo>
                <a:lnTo>
                  <a:pt x="4762527" y="518272"/>
                </a:lnTo>
                <a:lnTo>
                  <a:pt x="4861671" y="502724"/>
                </a:lnTo>
                <a:lnTo>
                  <a:pt x="4872422" y="502724"/>
                </a:lnTo>
                <a:lnTo>
                  <a:pt x="4889145" y="515162"/>
                </a:lnTo>
                <a:lnTo>
                  <a:pt x="4873616" y="523455"/>
                </a:lnTo>
                <a:lnTo>
                  <a:pt x="4873616" y="523455"/>
                </a:lnTo>
                <a:lnTo>
                  <a:pt x="4822252" y="523455"/>
                </a:lnTo>
                <a:lnTo>
                  <a:pt x="4764916" y="531747"/>
                </a:lnTo>
                <a:lnTo>
                  <a:pt x="4779250" y="559734"/>
                </a:lnTo>
                <a:lnTo>
                  <a:pt x="4787611" y="559734"/>
                </a:lnTo>
                <a:lnTo>
                  <a:pt x="4790000" y="570099"/>
                </a:lnTo>
                <a:lnTo>
                  <a:pt x="4792390" y="583574"/>
                </a:lnTo>
                <a:lnTo>
                  <a:pt x="4780444" y="589794"/>
                </a:lnTo>
                <a:lnTo>
                  <a:pt x="4748192" y="569063"/>
                </a:lnTo>
                <a:lnTo>
                  <a:pt x="4727886" y="575282"/>
                </a:lnTo>
                <a:lnTo>
                  <a:pt x="4712357" y="593940"/>
                </a:lnTo>
                <a:lnTo>
                  <a:pt x="4707579" y="617780"/>
                </a:lnTo>
                <a:lnTo>
                  <a:pt x="4708774" y="617780"/>
                </a:lnTo>
                <a:lnTo>
                  <a:pt x="4708774" y="638511"/>
                </a:lnTo>
                <a:lnTo>
                  <a:pt x="4668160" y="660279"/>
                </a:lnTo>
                <a:lnTo>
                  <a:pt x="4662187" y="660279"/>
                </a:lnTo>
                <a:lnTo>
                  <a:pt x="4652631" y="649913"/>
                </a:lnTo>
                <a:lnTo>
                  <a:pt x="4548709" y="676863"/>
                </a:lnTo>
                <a:lnTo>
                  <a:pt x="4531985" y="668571"/>
                </a:lnTo>
                <a:lnTo>
                  <a:pt x="4539153" y="664425"/>
                </a:lnTo>
                <a:lnTo>
                  <a:pt x="4530791" y="653023"/>
                </a:lnTo>
                <a:lnTo>
                  <a:pt x="4471065" y="672717"/>
                </a:lnTo>
                <a:lnTo>
                  <a:pt x="4473454" y="665461"/>
                </a:lnTo>
                <a:lnTo>
                  <a:pt x="4441202" y="649913"/>
                </a:lnTo>
                <a:lnTo>
                  <a:pt x="4454342" y="619853"/>
                </a:lnTo>
                <a:lnTo>
                  <a:pt x="4456731" y="619853"/>
                </a:lnTo>
                <a:lnTo>
                  <a:pt x="4454342" y="625036"/>
                </a:lnTo>
                <a:lnTo>
                  <a:pt x="4451953" y="630219"/>
                </a:lnTo>
                <a:lnTo>
                  <a:pt x="4451953" y="633329"/>
                </a:lnTo>
                <a:lnTo>
                  <a:pt x="4451953" y="633329"/>
                </a:lnTo>
                <a:lnTo>
                  <a:pt x="4451953" y="646803"/>
                </a:lnTo>
                <a:lnTo>
                  <a:pt x="4471065" y="646803"/>
                </a:lnTo>
                <a:lnTo>
                  <a:pt x="4457926" y="619853"/>
                </a:lnTo>
                <a:lnTo>
                  <a:pt x="4469871" y="617780"/>
                </a:lnTo>
                <a:lnTo>
                  <a:pt x="4472260" y="617780"/>
                </a:lnTo>
                <a:lnTo>
                  <a:pt x="4472260" y="605342"/>
                </a:lnTo>
                <a:lnTo>
                  <a:pt x="4460315" y="605342"/>
                </a:lnTo>
                <a:lnTo>
                  <a:pt x="4466287" y="573209"/>
                </a:lnTo>
                <a:lnTo>
                  <a:pt x="4466287" y="573209"/>
                </a:lnTo>
                <a:lnTo>
                  <a:pt x="4461509" y="574245"/>
                </a:lnTo>
                <a:lnTo>
                  <a:pt x="4412534" y="587721"/>
                </a:lnTo>
                <a:lnTo>
                  <a:pt x="4400589" y="606378"/>
                </a:lnTo>
                <a:lnTo>
                  <a:pt x="4400589" y="607415"/>
                </a:lnTo>
                <a:lnTo>
                  <a:pt x="4400589" y="633329"/>
                </a:lnTo>
                <a:lnTo>
                  <a:pt x="4412534" y="638511"/>
                </a:lnTo>
                <a:lnTo>
                  <a:pt x="4417312" y="649913"/>
                </a:lnTo>
                <a:lnTo>
                  <a:pt x="4412534" y="649913"/>
                </a:lnTo>
                <a:lnTo>
                  <a:pt x="4420896" y="660279"/>
                </a:lnTo>
                <a:lnTo>
                  <a:pt x="4407756" y="683083"/>
                </a:lnTo>
                <a:lnTo>
                  <a:pt x="4385060" y="678936"/>
                </a:lnTo>
                <a:lnTo>
                  <a:pt x="4387449" y="674790"/>
                </a:lnTo>
                <a:lnTo>
                  <a:pt x="4330113" y="687229"/>
                </a:lnTo>
                <a:lnTo>
                  <a:pt x="4342058" y="711069"/>
                </a:lnTo>
                <a:lnTo>
                  <a:pt x="4333696" y="714179"/>
                </a:lnTo>
                <a:lnTo>
                  <a:pt x="4324140" y="710033"/>
                </a:lnTo>
                <a:lnTo>
                  <a:pt x="4324140" y="692412"/>
                </a:lnTo>
                <a:lnTo>
                  <a:pt x="4313390" y="702777"/>
                </a:lnTo>
                <a:lnTo>
                  <a:pt x="4279943" y="741129"/>
                </a:lnTo>
                <a:lnTo>
                  <a:pt x="4281138" y="741129"/>
                </a:lnTo>
                <a:lnTo>
                  <a:pt x="4266804" y="748385"/>
                </a:lnTo>
                <a:lnTo>
                  <a:pt x="4267998" y="749421"/>
                </a:lnTo>
                <a:lnTo>
                  <a:pt x="4239330" y="754604"/>
                </a:lnTo>
                <a:lnTo>
                  <a:pt x="4229774" y="775335"/>
                </a:lnTo>
                <a:lnTo>
                  <a:pt x="4193938" y="783627"/>
                </a:lnTo>
                <a:lnTo>
                  <a:pt x="4191549" y="799176"/>
                </a:lnTo>
                <a:lnTo>
                  <a:pt x="4168853" y="799176"/>
                </a:lnTo>
                <a:lnTo>
                  <a:pt x="4162881" y="783627"/>
                </a:lnTo>
                <a:lnTo>
                  <a:pt x="4141379" y="783627"/>
                </a:lnTo>
                <a:lnTo>
                  <a:pt x="4150935" y="814724"/>
                </a:lnTo>
                <a:lnTo>
                  <a:pt x="4128240" y="816797"/>
                </a:lnTo>
                <a:lnTo>
                  <a:pt x="4112711" y="808504"/>
                </a:lnTo>
                <a:lnTo>
                  <a:pt x="4067319" y="816797"/>
                </a:lnTo>
                <a:lnTo>
                  <a:pt x="4067319" y="836491"/>
                </a:lnTo>
                <a:lnTo>
                  <a:pt x="4125851" y="846857"/>
                </a:lnTo>
                <a:lnTo>
                  <a:pt x="4152130" y="878989"/>
                </a:lnTo>
                <a:lnTo>
                  <a:pt x="4158103" y="888318"/>
                </a:lnTo>
                <a:lnTo>
                  <a:pt x="4143768" y="941182"/>
                </a:lnTo>
                <a:lnTo>
                  <a:pt x="4138990" y="952584"/>
                </a:lnTo>
                <a:lnTo>
                  <a:pt x="4069709" y="952584"/>
                </a:lnTo>
                <a:lnTo>
                  <a:pt x="3976536" y="942219"/>
                </a:lnTo>
                <a:lnTo>
                  <a:pt x="3949063" y="955694"/>
                </a:lnTo>
                <a:lnTo>
                  <a:pt x="3940701" y="962949"/>
                </a:lnTo>
                <a:lnTo>
                  <a:pt x="3952646" y="991973"/>
                </a:lnTo>
                <a:lnTo>
                  <a:pt x="3950257" y="991973"/>
                </a:lnTo>
                <a:lnTo>
                  <a:pt x="3950257" y="1012704"/>
                </a:lnTo>
                <a:lnTo>
                  <a:pt x="3922783" y="1081116"/>
                </a:lnTo>
                <a:lnTo>
                  <a:pt x="3940701" y="1091481"/>
                </a:lnTo>
                <a:lnTo>
                  <a:pt x="3928756" y="1128797"/>
                </a:lnTo>
                <a:lnTo>
                  <a:pt x="3986093" y="1128797"/>
                </a:lnTo>
                <a:lnTo>
                  <a:pt x="3989676" y="1121541"/>
                </a:lnTo>
                <a:lnTo>
                  <a:pt x="4025512" y="1152637"/>
                </a:lnTo>
                <a:lnTo>
                  <a:pt x="4054180" y="1136052"/>
                </a:lnTo>
                <a:lnTo>
                  <a:pt x="4117489" y="1136052"/>
                </a:lnTo>
                <a:lnTo>
                  <a:pt x="4189160" y="1080079"/>
                </a:lnTo>
                <a:lnTo>
                  <a:pt x="4173631" y="1056238"/>
                </a:lnTo>
                <a:lnTo>
                  <a:pt x="4210661" y="1016850"/>
                </a:lnTo>
                <a:lnTo>
                  <a:pt x="4267998" y="993009"/>
                </a:lnTo>
                <a:lnTo>
                  <a:pt x="4267998" y="963986"/>
                </a:lnTo>
                <a:lnTo>
                  <a:pt x="4289499" y="952584"/>
                </a:lnTo>
                <a:lnTo>
                  <a:pt x="4355198" y="966059"/>
                </a:lnTo>
                <a:lnTo>
                  <a:pt x="4383866" y="943255"/>
                </a:lnTo>
                <a:lnTo>
                  <a:pt x="4386255" y="945328"/>
                </a:lnTo>
                <a:lnTo>
                  <a:pt x="4417312" y="931853"/>
                </a:lnTo>
                <a:lnTo>
                  <a:pt x="4450759" y="941182"/>
                </a:lnTo>
                <a:lnTo>
                  <a:pt x="4474649" y="985754"/>
                </a:lnTo>
                <a:lnTo>
                  <a:pt x="4487789" y="985754"/>
                </a:lnTo>
                <a:lnTo>
                  <a:pt x="4514068" y="1008557"/>
                </a:lnTo>
                <a:lnTo>
                  <a:pt x="4541542" y="1016850"/>
                </a:lnTo>
                <a:lnTo>
                  <a:pt x="4600073" y="1050019"/>
                </a:lnTo>
                <a:lnTo>
                  <a:pt x="4610823" y="1079043"/>
                </a:lnTo>
                <a:lnTo>
                  <a:pt x="4601267" y="1099773"/>
                </a:lnTo>
                <a:lnTo>
                  <a:pt x="4603656" y="1093554"/>
                </a:lnTo>
                <a:lnTo>
                  <a:pt x="4560654" y="1099773"/>
                </a:lnTo>
                <a:lnTo>
                  <a:pt x="4521235" y="1096664"/>
                </a:lnTo>
                <a:lnTo>
                  <a:pt x="4509290" y="1099773"/>
                </a:lnTo>
                <a:lnTo>
                  <a:pt x="4516457" y="1116358"/>
                </a:lnTo>
                <a:lnTo>
                  <a:pt x="4585739" y="1138126"/>
                </a:lnTo>
                <a:lnTo>
                  <a:pt x="4597684" y="1105993"/>
                </a:lnTo>
                <a:lnTo>
                  <a:pt x="4615601" y="1105993"/>
                </a:lnTo>
                <a:lnTo>
                  <a:pt x="4625158" y="1079043"/>
                </a:lnTo>
                <a:lnTo>
                  <a:pt x="4640686" y="1073860"/>
                </a:lnTo>
                <a:lnTo>
                  <a:pt x="4640686" y="1060385"/>
                </a:lnTo>
                <a:lnTo>
                  <a:pt x="4626352" y="1053129"/>
                </a:lnTo>
                <a:lnTo>
                  <a:pt x="4635908" y="1036544"/>
                </a:lnTo>
                <a:lnTo>
                  <a:pt x="4671744" y="1052092"/>
                </a:lnTo>
                <a:lnTo>
                  <a:pt x="4681300" y="1039654"/>
                </a:lnTo>
                <a:lnTo>
                  <a:pt x="4607240" y="1003375"/>
                </a:lnTo>
                <a:lnTo>
                  <a:pt x="4621574" y="990936"/>
                </a:lnTo>
                <a:lnTo>
                  <a:pt x="4591711" y="990936"/>
                </a:lnTo>
                <a:lnTo>
                  <a:pt x="4560654" y="978498"/>
                </a:lnTo>
                <a:lnTo>
                  <a:pt x="4546320" y="950511"/>
                </a:lnTo>
                <a:lnTo>
                  <a:pt x="4514068" y="926670"/>
                </a:lnTo>
                <a:lnTo>
                  <a:pt x="4511679" y="893501"/>
                </a:lnTo>
                <a:lnTo>
                  <a:pt x="4531985" y="889355"/>
                </a:lnTo>
                <a:lnTo>
                  <a:pt x="4537958" y="892465"/>
                </a:lnTo>
                <a:lnTo>
                  <a:pt x="4537958" y="896611"/>
                </a:lnTo>
                <a:lnTo>
                  <a:pt x="4542736" y="897647"/>
                </a:lnTo>
                <a:lnTo>
                  <a:pt x="4548709" y="920451"/>
                </a:lnTo>
                <a:lnTo>
                  <a:pt x="4559459" y="901793"/>
                </a:lnTo>
                <a:lnTo>
                  <a:pt x="4571405" y="912159"/>
                </a:lnTo>
                <a:lnTo>
                  <a:pt x="4583350" y="935999"/>
                </a:lnTo>
                <a:lnTo>
                  <a:pt x="4662187" y="975388"/>
                </a:lnTo>
                <a:lnTo>
                  <a:pt x="4694439" y="993009"/>
                </a:lnTo>
                <a:lnTo>
                  <a:pt x="4694439" y="1036544"/>
                </a:lnTo>
                <a:lnTo>
                  <a:pt x="4719524" y="1055202"/>
                </a:lnTo>
                <a:lnTo>
                  <a:pt x="4750582" y="1092517"/>
                </a:lnTo>
                <a:lnTo>
                  <a:pt x="4774472" y="1092517"/>
                </a:lnTo>
                <a:lnTo>
                  <a:pt x="4749387" y="1108066"/>
                </a:lnTo>
                <a:lnTo>
                  <a:pt x="4766110" y="1119468"/>
                </a:lnTo>
                <a:lnTo>
                  <a:pt x="4769694" y="1138126"/>
                </a:lnTo>
                <a:lnTo>
                  <a:pt x="4791195" y="1150564"/>
                </a:lnTo>
                <a:lnTo>
                  <a:pt x="4797168" y="1141235"/>
                </a:lnTo>
                <a:lnTo>
                  <a:pt x="4816280" y="1157820"/>
                </a:lnTo>
                <a:lnTo>
                  <a:pt x="4801946" y="1124650"/>
                </a:lnTo>
                <a:lnTo>
                  <a:pt x="4813891" y="1129833"/>
                </a:lnTo>
                <a:lnTo>
                  <a:pt x="4800751" y="1103920"/>
                </a:lnTo>
                <a:lnTo>
                  <a:pt x="4775666" y="1092517"/>
                </a:lnTo>
                <a:lnTo>
                  <a:pt x="4792390" y="1092517"/>
                </a:lnTo>
                <a:lnTo>
                  <a:pt x="4835392" y="1112212"/>
                </a:lnTo>
                <a:lnTo>
                  <a:pt x="4835392" y="1097700"/>
                </a:lnTo>
                <a:lnTo>
                  <a:pt x="4858088" y="1101846"/>
                </a:lnTo>
                <a:lnTo>
                  <a:pt x="4816280" y="1071787"/>
                </a:lnTo>
                <a:lnTo>
                  <a:pt x="4787611" y="1043800"/>
                </a:lnTo>
                <a:lnTo>
                  <a:pt x="4790000" y="1030325"/>
                </a:lnTo>
                <a:lnTo>
                  <a:pt x="4817474" y="1043800"/>
                </a:lnTo>
                <a:lnTo>
                  <a:pt x="4817474" y="1028252"/>
                </a:lnTo>
                <a:lnTo>
                  <a:pt x="4833003" y="1022033"/>
                </a:lnTo>
                <a:lnTo>
                  <a:pt x="4872422" y="1024106"/>
                </a:lnTo>
                <a:lnTo>
                  <a:pt x="4883172" y="1035508"/>
                </a:lnTo>
                <a:lnTo>
                  <a:pt x="4883172" y="1035508"/>
                </a:lnTo>
                <a:lnTo>
                  <a:pt x="4883172" y="1035508"/>
                </a:lnTo>
                <a:lnTo>
                  <a:pt x="4885562" y="1037581"/>
                </a:lnTo>
                <a:lnTo>
                  <a:pt x="4885562" y="1034471"/>
                </a:lnTo>
                <a:lnTo>
                  <a:pt x="4890340" y="1032398"/>
                </a:lnTo>
                <a:lnTo>
                  <a:pt x="4879589" y="1048983"/>
                </a:lnTo>
                <a:lnTo>
                  <a:pt x="4886756" y="1044837"/>
                </a:lnTo>
                <a:lnTo>
                  <a:pt x="4883172" y="1063494"/>
                </a:lnTo>
                <a:lnTo>
                  <a:pt x="4908257" y="1058312"/>
                </a:lnTo>
                <a:lnTo>
                  <a:pt x="4910646" y="1082152"/>
                </a:lnTo>
                <a:lnTo>
                  <a:pt x="4897507" y="1076969"/>
                </a:lnTo>
                <a:lnTo>
                  <a:pt x="4895118" y="1086298"/>
                </a:lnTo>
                <a:lnTo>
                  <a:pt x="4892729" y="1080079"/>
                </a:lnTo>
                <a:lnTo>
                  <a:pt x="4886756" y="1081116"/>
                </a:lnTo>
                <a:lnTo>
                  <a:pt x="4887951" y="1083189"/>
                </a:lnTo>
                <a:lnTo>
                  <a:pt x="4887951" y="1093554"/>
                </a:lnTo>
                <a:lnTo>
                  <a:pt x="4890340" y="1093554"/>
                </a:lnTo>
                <a:lnTo>
                  <a:pt x="4891534" y="1096664"/>
                </a:lnTo>
                <a:lnTo>
                  <a:pt x="4897507" y="1095627"/>
                </a:lnTo>
                <a:lnTo>
                  <a:pt x="4897507" y="1093554"/>
                </a:lnTo>
                <a:lnTo>
                  <a:pt x="4920202" y="1099773"/>
                </a:lnTo>
                <a:lnTo>
                  <a:pt x="4917814" y="1109102"/>
                </a:lnTo>
                <a:lnTo>
                  <a:pt x="4928564" y="1118431"/>
                </a:lnTo>
                <a:lnTo>
                  <a:pt x="4914230" y="1126723"/>
                </a:lnTo>
                <a:lnTo>
                  <a:pt x="4945287" y="1126723"/>
                </a:lnTo>
                <a:lnTo>
                  <a:pt x="4940509" y="1132943"/>
                </a:lnTo>
                <a:lnTo>
                  <a:pt x="4951260" y="1137089"/>
                </a:lnTo>
                <a:lnTo>
                  <a:pt x="4928564" y="1149527"/>
                </a:lnTo>
                <a:lnTo>
                  <a:pt x="4939315" y="1158856"/>
                </a:lnTo>
                <a:lnTo>
                  <a:pt x="4954843" y="1138126"/>
                </a:lnTo>
                <a:lnTo>
                  <a:pt x="4995457" y="1152637"/>
                </a:lnTo>
                <a:lnTo>
                  <a:pt x="5015763" y="1144345"/>
                </a:lnTo>
                <a:lnTo>
                  <a:pt x="5021736" y="1132943"/>
                </a:lnTo>
                <a:lnTo>
                  <a:pt x="5033681" y="1135016"/>
                </a:lnTo>
                <a:lnTo>
                  <a:pt x="5076684" y="1158856"/>
                </a:lnTo>
                <a:lnTo>
                  <a:pt x="5101769" y="1153674"/>
                </a:lnTo>
                <a:lnTo>
                  <a:pt x="5128048" y="1132943"/>
                </a:lnTo>
                <a:lnTo>
                  <a:pt x="5154327" y="1140199"/>
                </a:lnTo>
                <a:lnTo>
                  <a:pt x="5162689" y="1135016"/>
                </a:lnTo>
                <a:lnTo>
                  <a:pt x="5162689" y="1152637"/>
                </a:lnTo>
                <a:lnTo>
                  <a:pt x="5160300" y="1154710"/>
                </a:lnTo>
                <a:lnTo>
                  <a:pt x="5160300" y="1197209"/>
                </a:lnTo>
                <a:lnTo>
                  <a:pt x="5160300" y="1197209"/>
                </a:lnTo>
                <a:lnTo>
                  <a:pt x="5143577" y="1232451"/>
                </a:lnTo>
                <a:lnTo>
                  <a:pt x="5143577" y="1232451"/>
                </a:lnTo>
                <a:lnTo>
                  <a:pt x="5143577" y="1232451"/>
                </a:lnTo>
                <a:lnTo>
                  <a:pt x="5143577" y="1232451"/>
                </a:lnTo>
                <a:lnTo>
                  <a:pt x="5143577" y="1233488"/>
                </a:lnTo>
                <a:lnTo>
                  <a:pt x="5139993" y="1239707"/>
                </a:lnTo>
                <a:lnTo>
                  <a:pt x="5141187" y="1238670"/>
                </a:lnTo>
                <a:lnTo>
                  <a:pt x="5130437" y="1272876"/>
                </a:lnTo>
                <a:lnTo>
                  <a:pt x="5128048" y="1280132"/>
                </a:lnTo>
                <a:lnTo>
                  <a:pt x="5128048" y="1280132"/>
                </a:lnTo>
                <a:lnTo>
                  <a:pt x="5126853" y="1278059"/>
                </a:lnTo>
                <a:lnTo>
                  <a:pt x="5087434" y="1286351"/>
                </a:lnTo>
                <a:lnTo>
                  <a:pt x="5073100" y="1277022"/>
                </a:lnTo>
                <a:lnTo>
                  <a:pt x="5069517" y="1288424"/>
                </a:lnTo>
                <a:lnTo>
                  <a:pt x="5062349" y="1287388"/>
                </a:lnTo>
                <a:lnTo>
                  <a:pt x="5062349" y="1277022"/>
                </a:lnTo>
                <a:lnTo>
                  <a:pt x="5044432" y="1273913"/>
                </a:lnTo>
                <a:lnTo>
                  <a:pt x="4982317" y="1289461"/>
                </a:lnTo>
                <a:lnTo>
                  <a:pt x="4922592" y="1277022"/>
                </a:lnTo>
                <a:lnTo>
                  <a:pt x="4877200" y="1274949"/>
                </a:lnTo>
                <a:lnTo>
                  <a:pt x="4871227" y="1258365"/>
                </a:lnTo>
                <a:lnTo>
                  <a:pt x="4870033" y="1266657"/>
                </a:lnTo>
                <a:lnTo>
                  <a:pt x="4818669" y="1256292"/>
                </a:lnTo>
                <a:lnTo>
                  <a:pt x="4816280" y="1245926"/>
                </a:lnTo>
                <a:lnTo>
                  <a:pt x="4778055" y="1237634"/>
                </a:lnTo>
                <a:lnTo>
                  <a:pt x="4730275" y="1257328"/>
                </a:lnTo>
                <a:lnTo>
                  <a:pt x="4727886" y="1300863"/>
                </a:lnTo>
                <a:lnTo>
                  <a:pt x="4708774" y="1308119"/>
                </a:lnTo>
                <a:lnTo>
                  <a:pt x="4698023" y="1308119"/>
                </a:lnTo>
                <a:lnTo>
                  <a:pt x="4663382" y="1287388"/>
                </a:lnTo>
                <a:lnTo>
                  <a:pt x="4613213" y="1274949"/>
                </a:lnTo>
                <a:lnTo>
                  <a:pt x="4604851" y="1254218"/>
                </a:lnTo>
                <a:lnTo>
                  <a:pt x="4573793" y="1243853"/>
                </a:lnTo>
                <a:lnTo>
                  <a:pt x="4516457" y="1238670"/>
                </a:lnTo>
                <a:lnTo>
                  <a:pt x="4485399" y="1228305"/>
                </a:lnTo>
                <a:lnTo>
                  <a:pt x="4485399" y="1218976"/>
                </a:lnTo>
                <a:lnTo>
                  <a:pt x="4461509" y="1213793"/>
                </a:lnTo>
                <a:lnTo>
                  <a:pt x="4459120" y="1206537"/>
                </a:lnTo>
                <a:lnTo>
                  <a:pt x="4486594" y="1180624"/>
                </a:lnTo>
                <a:lnTo>
                  <a:pt x="4472260" y="1147454"/>
                </a:lnTo>
                <a:lnTo>
                  <a:pt x="4496150" y="1126723"/>
                </a:lnTo>
                <a:lnTo>
                  <a:pt x="4469871" y="1136052"/>
                </a:lnTo>
                <a:lnTo>
                  <a:pt x="4461509" y="1123614"/>
                </a:lnTo>
                <a:lnTo>
                  <a:pt x="4444786" y="1120504"/>
                </a:lnTo>
                <a:lnTo>
                  <a:pt x="4432841" y="1123614"/>
                </a:lnTo>
                <a:lnTo>
                  <a:pt x="4442397" y="1117395"/>
                </a:lnTo>
                <a:lnTo>
                  <a:pt x="4408951" y="1128797"/>
                </a:lnTo>
                <a:lnTo>
                  <a:pt x="4355198" y="1123614"/>
                </a:lnTo>
                <a:lnTo>
                  <a:pt x="4328918" y="1133979"/>
                </a:lnTo>
                <a:lnTo>
                  <a:pt x="4293083" y="1126723"/>
                </a:lnTo>
                <a:lnTo>
                  <a:pt x="4210661" y="1140199"/>
                </a:lnTo>
                <a:lnTo>
                  <a:pt x="4121073" y="1175441"/>
                </a:lnTo>
                <a:lnTo>
                  <a:pt x="4104349" y="1171295"/>
                </a:lnTo>
                <a:lnTo>
                  <a:pt x="4062542" y="1176478"/>
                </a:lnTo>
                <a:lnTo>
                  <a:pt x="4038651" y="1160929"/>
                </a:lnTo>
                <a:lnTo>
                  <a:pt x="4013566" y="1160929"/>
                </a:lnTo>
                <a:lnTo>
                  <a:pt x="3983704" y="1210684"/>
                </a:lnTo>
                <a:lnTo>
                  <a:pt x="3937118" y="1231415"/>
                </a:lnTo>
                <a:lnTo>
                  <a:pt x="3915616" y="1250072"/>
                </a:lnTo>
                <a:lnTo>
                  <a:pt x="3896504" y="1280132"/>
                </a:lnTo>
                <a:lnTo>
                  <a:pt x="3900088" y="1311228"/>
                </a:lnTo>
                <a:lnTo>
                  <a:pt x="3894115" y="1327813"/>
                </a:lnTo>
                <a:lnTo>
                  <a:pt x="3841556" y="1363056"/>
                </a:lnTo>
                <a:lnTo>
                  <a:pt x="3803332" y="1380677"/>
                </a:lnTo>
                <a:lnTo>
                  <a:pt x="3798554" y="1380677"/>
                </a:lnTo>
                <a:lnTo>
                  <a:pt x="3796165" y="1383786"/>
                </a:lnTo>
                <a:lnTo>
                  <a:pt x="3791387" y="1385860"/>
                </a:lnTo>
                <a:lnTo>
                  <a:pt x="3794970" y="1385860"/>
                </a:lnTo>
                <a:lnTo>
                  <a:pt x="3777053" y="1409700"/>
                </a:lnTo>
                <a:lnTo>
                  <a:pt x="3755551" y="1423175"/>
                </a:lnTo>
                <a:lnTo>
                  <a:pt x="3734050" y="1467747"/>
                </a:lnTo>
                <a:lnTo>
                  <a:pt x="3680297" y="1538231"/>
                </a:lnTo>
                <a:lnTo>
                  <a:pt x="3674325" y="1563108"/>
                </a:lnTo>
                <a:lnTo>
                  <a:pt x="3671935" y="1564145"/>
                </a:lnTo>
                <a:lnTo>
                  <a:pt x="3674325" y="1566218"/>
                </a:lnTo>
                <a:lnTo>
                  <a:pt x="3673130" y="1573474"/>
                </a:lnTo>
                <a:lnTo>
                  <a:pt x="3677908" y="1570364"/>
                </a:lnTo>
                <a:lnTo>
                  <a:pt x="3694631" y="1586949"/>
                </a:lnTo>
                <a:lnTo>
                  <a:pt x="3686270" y="1611826"/>
                </a:lnTo>
                <a:lnTo>
                  <a:pt x="3695826" y="1648105"/>
                </a:lnTo>
                <a:lnTo>
                  <a:pt x="3683880" y="1707188"/>
                </a:lnTo>
                <a:lnTo>
                  <a:pt x="3682686" y="1708225"/>
                </a:lnTo>
                <a:lnTo>
                  <a:pt x="3655212" y="1742431"/>
                </a:lnTo>
                <a:lnTo>
                  <a:pt x="3654018" y="1744504"/>
                </a:lnTo>
                <a:lnTo>
                  <a:pt x="3654018" y="1744504"/>
                </a:lnTo>
                <a:lnTo>
                  <a:pt x="3654018" y="1744504"/>
                </a:lnTo>
                <a:lnTo>
                  <a:pt x="3655212" y="1745540"/>
                </a:lnTo>
                <a:lnTo>
                  <a:pt x="3671935" y="1764198"/>
                </a:lnTo>
                <a:lnTo>
                  <a:pt x="3669547" y="1764198"/>
                </a:lnTo>
                <a:lnTo>
                  <a:pt x="3665963" y="1785965"/>
                </a:lnTo>
                <a:lnTo>
                  <a:pt x="3665963" y="1785965"/>
                </a:lnTo>
                <a:lnTo>
                  <a:pt x="3664768" y="1790112"/>
                </a:lnTo>
                <a:lnTo>
                  <a:pt x="3668352" y="1790112"/>
                </a:lnTo>
                <a:lnTo>
                  <a:pt x="3668352" y="1801514"/>
                </a:lnTo>
                <a:lnTo>
                  <a:pt x="3665963" y="1803587"/>
                </a:lnTo>
                <a:lnTo>
                  <a:pt x="3662379" y="1805660"/>
                </a:lnTo>
                <a:lnTo>
                  <a:pt x="3663574" y="1806696"/>
                </a:lnTo>
                <a:lnTo>
                  <a:pt x="3663574" y="1806696"/>
                </a:lnTo>
                <a:lnTo>
                  <a:pt x="3668352" y="1809806"/>
                </a:lnTo>
                <a:lnTo>
                  <a:pt x="3668352" y="1812916"/>
                </a:lnTo>
                <a:lnTo>
                  <a:pt x="3670741" y="1810843"/>
                </a:lnTo>
                <a:lnTo>
                  <a:pt x="3671935" y="1810843"/>
                </a:lnTo>
                <a:lnTo>
                  <a:pt x="3695826" y="1824318"/>
                </a:lnTo>
                <a:lnTo>
                  <a:pt x="3695826" y="1824318"/>
                </a:lnTo>
                <a:lnTo>
                  <a:pt x="3695826" y="1824318"/>
                </a:lnTo>
                <a:lnTo>
                  <a:pt x="3697020" y="1823281"/>
                </a:lnTo>
                <a:lnTo>
                  <a:pt x="3704187" y="1822244"/>
                </a:lnTo>
                <a:lnTo>
                  <a:pt x="3707771" y="1832610"/>
                </a:lnTo>
                <a:lnTo>
                  <a:pt x="3708965" y="1837793"/>
                </a:lnTo>
                <a:lnTo>
                  <a:pt x="3717327" y="1848158"/>
                </a:lnTo>
                <a:lnTo>
                  <a:pt x="3717327" y="1848158"/>
                </a:lnTo>
                <a:lnTo>
                  <a:pt x="3718521" y="1849195"/>
                </a:lnTo>
                <a:lnTo>
                  <a:pt x="3720910" y="1852305"/>
                </a:lnTo>
                <a:lnTo>
                  <a:pt x="3720910" y="1851268"/>
                </a:lnTo>
                <a:lnTo>
                  <a:pt x="3768691" y="1897912"/>
                </a:lnTo>
                <a:lnTo>
                  <a:pt x="3777053" y="1934191"/>
                </a:lnTo>
                <a:lnTo>
                  <a:pt x="3820055" y="1960105"/>
                </a:lnTo>
                <a:lnTo>
                  <a:pt x="3824833" y="1963215"/>
                </a:lnTo>
                <a:lnTo>
                  <a:pt x="3824833" y="1963215"/>
                </a:lnTo>
                <a:lnTo>
                  <a:pt x="3909644" y="2024371"/>
                </a:lnTo>
                <a:lnTo>
                  <a:pt x="3910838" y="2025407"/>
                </a:lnTo>
                <a:lnTo>
                  <a:pt x="3928756" y="2025407"/>
                </a:lnTo>
                <a:lnTo>
                  <a:pt x="3928756" y="2026444"/>
                </a:lnTo>
                <a:lnTo>
                  <a:pt x="3933534" y="2025407"/>
                </a:lnTo>
                <a:lnTo>
                  <a:pt x="3938312" y="2025407"/>
                </a:lnTo>
                <a:lnTo>
                  <a:pt x="3938312" y="2023334"/>
                </a:lnTo>
                <a:lnTo>
                  <a:pt x="3983704" y="2009859"/>
                </a:lnTo>
                <a:lnTo>
                  <a:pt x="4030289" y="2004676"/>
                </a:lnTo>
                <a:lnTo>
                  <a:pt x="4054180" y="2008822"/>
                </a:lnTo>
                <a:lnTo>
                  <a:pt x="4061347" y="2010896"/>
                </a:lnTo>
                <a:lnTo>
                  <a:pt x="4062542" y="2010896"/>
                </a:lnTo>
                <a:lnTo>
                  <a:pt x="4064930" y="2010896"/>
                </a:lnTo>
                <a:lnTo>
                  <a:pt x="4070903" y="2008822"/>
                </a:lnTo>
                <a:lnTo>
                  <a:pt x="4098377" y="2012969"/>
                </a:lnTo>
                <a:lnTo>
                  <a:pt x="4099572" y="2012969"/>
                </a:lnTo>
                <a:lnTo>
                  <a:pt x="4167659" y="1987055"/>
                </a:lnTo>
                <a:lnTo>
                  <a:pt x="4189160" y="1987055"/>
                </a:lnTo>
                <a:lnTo>
                  <a:pt x="4197522" y="1976690"/>
                </a:lnTo>
                <a:lnTo>
                  <a:pt x="4197522" y="1976690"/>
                </a:lnTo>
                <a:lnTo>
                  <a:pt x="4211856" y="1974617"/>
                </a:lnTo>
                <a:lnTo>
                  <a:pt x="4211856" y="1976690"/>
                </a:lnTo>
                <a:lnTo>
                  <a:pt x="4214245" y="1976690"/>
                </a:lnTo>
                <a:lnTo>
                  <a:pt x="4214245" y="1976690"/>
                </a:lnTo>
                <a:lnTo>
                  <a:pt x="4235746" y="1973580"/>
                </a:lnTo>
                <a:lnTo>
                  <a:pt x="4238135" y="1973580"/>
                </a:lnTo>
                <a:lnTo>
                  <a:pt x="4238135" y="1973580"/>
                </a:lnTo>
                <a:lnTo>
                  <a:pt x="4270387" y="1969434"/>
                </a:lnTo>
                <a:lnTo>
                  <a:pt x="4301444" y="1983945"/>
                </a:lnTo>
                <a:lnTo>
                  <a:pt x="4309806" y="2020224"/>
                </a:lnTo>
                <a:lnTo>
                  <a:pt x="4325335" y="2028517"/>
                </a:lnTo>
                <a:lnTo>
                  <a:pt x="4326529" y="2029553"/>
                </a:lnTo>
                <a:lnTo>
                  <a:pt x="4326529" y="2029553"/>
                </a:lnTo>
                <a:lnTo>
                  <a:pt x="4326529" y="2029553"/>
                </a:lnTo>
                <a:lnTo>
                  <a:pt x="4327723" y="2029553"/>
                </a:lnTo>
                <a:lnTo>
                  <a:pt x="4398200" y="2020224"/>
                </a:lnTo>
                <a:lnTo>
                  <a:pt x="4399394" y="2021261"/>
                </a:lnTo>
                <a:lnTo>
                  <a:pt x="4411339" y="2039919"/>
                </a:lnTo>
                <a:lnTo>
                  <a:pt x="4426868" y="2045101"/>
                </a:lnTo>
                <a:lnTo>
                  <a:pt x="4441202" y="2063759"/>
                </a:lnTo>
                <a:lnTo>
                  <a:pt x="4435230" y="2088636"/>
                </a:lnTo>
                <a:lnTo>
                  <a:pt x="4434035" y="2091746"/>
                </a:lnTo>
                <a:lnTo>
                  <a:pt x="4434035" y="2091746"/>
                </a:lnTo>
                <a:lnTo>
                  <a:pt x="4435230" y="2091746"/>
                </a:lnTo>
                <a:lnTo>
                  <a:pt x="4425674" y="2112477"/>
                </a:lnTo>
                <a:lnTo>
                  <a:pt x="4426868" y="2113514"/>
                </a:lnTo>
                <a:lnTo>
                  <a:pt x="4425674" y="2115587"/>
                </a:lnTo>
                <a:lnTo>
                  <a:pt x="4434035" y="2122842"/>
                </a:lnTo>
                <a:lnTo>
                  <a:pt x="4426868" y="2144610"/>
                </a:lnTo>
                <a:lnTo>
                  <a:pt x="4420896" y="2154975"/>
                </a:lnTo>
                <a:lnTo>
                  <a:pt x="4408951" y="2167414"/>
                </a:lnTo>
                <a:lnTo>
                  <a:pt x="4407756" y="2168451"/>
                </a:lnTo>
                <a:lnTo>
                  <a:pt x="4408951" y="2170523"/>
                </a:lnTo>
                <a:lnTo>
                  <a:pt x="4438813" y="2222351"/>
                </a:lnTo>
                <a:lnTo>
                  <a:pt x="4480621" y="2258630"/>
                </a:lnTo>
                <a:lnTo>
                  <a:pt x="4479427" y="2259666"/>
                </a:lnTo>
                <a:lnTo>
                  <a:pt x="4480621" y="2260703"/>
                </a:lnTo>
                <a:lnTo>
                  <a:pt x="4503317" y="2288689"/>
                </a:lnTo>
                <a:lnTo>
                  <a:pt x="4505706" y="2287653"/>
                </a:lnTo>
                <a:lnTo>
                  <a:pt x="4506901" y="2288689"/>
                </a:lnTo>
                <a:lnTo>
                  <a:pt x="4510484" y="2285580"/>
                </a:lnTo>
                <a:lnTo>
                  <a:pt x="4510484" y="2289726"/>
                </a:lnTo>
                <a:lnTo>
                  <a:pt x="4516457" y="2305274"/>
                </a:lnTo>
                <a:lnTo>
                  <a:pt x="4516457" y="2305274"/>
                </a:lnTo>
                <a:lnTo>
                  <a:pt x="4517651" y="2306311"/>
                </a:lnTo>
                <a:lnTo>
                  <a:pt x="4521235" y="2314603"/>
                </a:lnTo>
                <a:lnTo>
                  <a:pt x="4521235" y="2314603"/>
                </a:lnTo>
                <a:lnTo>
                  <a:pt x="4521235" y="2314603"/>
                </a:lnTo>
                <a:lnTo>
                  <a:pt x="4521235" y="2313567"/>
                </a:lnTo>
                <a:lnTo>
                  <a:pt x="4522429" y="2315640"/>
                </a:lnTo>
                <a:lnTo>
                  <a:pt x="4520040" y="2316676"/>
                </a:lnTo>
                <a:lnTo>
                  <a:pt x="4543931" y="2379905"/>
                </a:lnTo>
                <a:lnTo>
                  <a:pt x="4534375" y="2395454"/>
                </a:lnTo>
                <a:lnTo>
                  <a:pt x="4535569" y="2396490"/>
                </a:lnTo>
                <a:lnTo>
                  <a:pt x="4534375" y="2397527"/>
                </a:lnTo>
                <a:lnTo>
                  <a:pt x="4558265" y="2452464"/>
                </a:lnTo>
                <a:lnTo>
                  <a:pt x="4552292" y="2479414"/>
                </a:lnTo>
                <a:lnTo>
                  <a:pt x="4523624" y="2507400"/>
                </a:lnTo>
                <a:lnTo>
                  <a:pt x="4523624" y="2507400"/>
                </a:lnTo>
                <a:lnTo>
                  <a:pt x="4502123" y="2580995"/>
                </a:lnTo>
                <a:lnTo>
                  <a:pt x="4502123" y="2580995"/>
                </a:lnTo>
                <a:lnTo>
                  <a:pt x="4496150" y="2618311"/>
                </a:lnTo>
                <a:lnTo>
                  <a:pt x="4494955" y="2618311"/>
                </a:lnTo>
                <a:lnTo>
                  <a:pt x="4494955" y="2618311"/>
                </a:lnTo>
                <a:lnTo>
                  <a:pt x="4494955" y="2618311"/>
                </a:lnTo>
                <a:lnTo>
                  <a:pt x="4494955" y="2619347"/>
                </a:lnTo>
                <a:lnTo>
                  <a:pt x="4494955" y="2621420"/>
                </a:lnTo>
                <a:lnTo>
                  <a:pt x="4494955" y="2621420"/>
                </a:lnTo>
                <a:lnTo>
                  <a:pt x="4494955" y="2624530"/>
                </a:lnTo>
                <a:lnTo>
                  <a:pt x="4496150" y="2624530"/>
                </a:lnTo>
                <a:lnTo>
                  <a:pt x="4500928" y="2638005"/>
                </a:lnTo>
                <a:lnTo>
                  <a:pt x="4526013" y="2678430"/>
                </a:lnTo>
                <a:lnTo>
                  <a:pt x="4572599" y="2761354"/>
                </a:lnTo>
                <a:lnTo>
                  <a:pt x="4572599" y="2804889"/>
                </a:lnTo>
                <a:lnTo>
                  <a:pt x="4596489" y="2898178"/>
                </a:lnTo>
                <a:lnTo>
                  <a:pt x="4597684" y="2899214"/>
                </a:lnTo>
                <a:lnTo>
                  <a:pt x="4625158" y="2929274"/>
                </a:lnTo>
                <a:lnTo>
                  <a:pt x="4622769" y="2931347"/>
                </a:lnTo>
                <a:lnTo>
                  <a:pt x="4633519" y="2940676"/>
                </a:lnTo>
                <a:lnTo>
                  <a:pt x="4675327" y="3022563"/>
                </a:lnTo>
                <a:lnTo>
                  <a:pt x="4675327" y="3036038"/>
                </a:lnTo>
                <a:lnTo>
                  <a:pt x="4663382" y="3044330"/>
                </a:lnTo>
                <a:lnTo>
                  <a:pt x="4676522" y="3084755"/>
                </a:lnTo>
                <a:lnTo>
                  <a:pt x="4689661" y="3081646"/>
                </a:lnTo>
                <a:lnTo>
                  <a:pt x="4709968" y="3102377"/>
                </a:lnTo>
                <a:lnTo>
                  <a:pt x="4730275" y="3102377"/>
                </a:lnTo>
                <a:lnTo>
                  <a:pt x="4798362" y="3081646"/>
                </a:lnTo>
                <a:lnTo>
                  <a:pt x="4852115" y="3083719"/>
                </a:lnTo>
                <a:lnTo>
                  <a:pt x="4921397" y="3070244"/>
                </a:lnTo>
                <a:lnTo>
                  <a:pt x="4962010" y="3046403"/>
                </a:lnTo>
                <a:lnTo>
                  <a:pt x="5021736" y="2991467"/>
                </a:lnTo>
                <a:lnTo>
                  <a:pt x="5053988" y="2942749"/>
                </a:lnTo>
                <a:lnTo>
                  <a:pt x="5081462" y="2929274"/>
                </a:lnTo>
                <a:lnTo>
                  <a:pt x="5096991" y="2884702"/>
                </a:lnTo>
                <a:lnTo>
                  <a:pt x="5096991" y="2883666"/>
                </a:lnTo>
                <a:lnTo>
                  <a:pt x="5095796" y="2881593"/>
                </a:lnTo>
                <a:lnTo>
                  <a:pt x="5101769" y="2881593"/>
                </a:lnTo>
                <a:lnTo>
                  <a:pt x="5101769" y="2879520"/>
                </a:lnTo>
                <a:lnTo>
                  <a:pt x="5105352" y="2865008"/>
                </a:lnTo>
                <a:lnTo>
                  <a:pt x="5105352" y="2865008"/>
                </a:lnTo>
                <a:lnTo>
                  <a:pt x="5105352" y="2862935"/>
                </a:lnTo>
                <a:lnTo>
                  <a:pt x="5096991" y="2859825"/>
                </a:lnTo>
                <a:lnTo>
                  <a:pt x="5104157" y="2846350"/>
                </a:lnTo>
                <a:lnTo>
                  <a:pt x="5173439" y="2820437"/>
                </a:lnTo>
                <a:lnTo>
                  <a:pt x="5185385" y="2761354"/>
                </a:lnTo>
                <a:lnTo>
                  <a:pt x="5185385" y="2760317"/>
                </a:lnTo>
                <a:lnTo>
                  <a:pt x="5162689" y="2705380"/>
                </a:lnTo>
                <a:lnTo>
                  <a:pt x="5165078" y="2696051"/>
                </a:lnTo>
                <a:lnTo>
                  <a:pt x="5243916" y="2627639"/>
                </a:lnTo>
                <a:lnTo>
                  <a:pt x="5289307" y="2617274"/>
                </a:lnTo>
                <a:lnTo>
                  <a:pt x="5344255" y="2564410"/>
                </a:lnTo>
                <a:lnTo>
                  <a:pt x="5344255" y="2434842"/>
                </a:lnTo>
                <a:lnTo>
                  <a:pt x="5346644" y="2433806"/>
                </a:lnTo>
                <a:lnTo>
                  <a:pt x="5344255" y="2431733"/>
                </a:lnTo>
                <a:lnTo>
                  <a:pt x="5344255" y="2428623"/>
                </a:lnTo>
                <a:lnTo>
                  <a:pt x="5341866" y="2429659"/>
                </a:lnTo>
                <a:lnTo>
                  <a:pt x="5326337" y="2418257"/>
                </a:lnTo>
                <a:lnTo>
                  <a:pt x="5314392" y="2386125"/>
                </a:lnTo>
                <a:lnTo>
                  <a:pt x="5320364" y="2340517"/>
                </a:lnTo>
                <a:lnTo>
                  <a:pt x="5320364" y="2339480"/>
                </a:lnTo>
                <a:lnTo>
                  <a:pt x="5296474" y="2308384"/>
                </a:lnTo>
                <a:lnTo>
                  <a:pt x="5314392" y="2271068"/>
                </a:lnTo>
                <a:lnTo>
                  <a:pt x="5312003" y="2270032"/>
                </a:lnTo>
                <a:lnTo>
                  <a:pt x="5337088" y="2229607"/>
                </a:lnTo>
                <a:lnTo>
                  <a:pt x="5337088" y="2228570"/>
                </a:lnTo>
                <a:lnTo>
                  <a:pt x="5337088" y="2215095"/>
                </a:lnTo>
                <a:lnTo>
                  <a:pt x="5344255" y="2215095"/>
                </a:lnTo>
                <a:lnTo>
                  <a:pt x="5345449" y="2214058"/>
                </a:lnTo>
                <a:lnTo>
                  <a:pt x="5377701" y="2191254"/>
                </a:lnTo>
                <a:lnTo>
                  <a:pt x="5377701" y="2191254"/>
                </a:lnTo>
                <a:lnTo>
                  <a:pt x="5378896" y="2190218"/>
                </a:lnTo>
                <a:lnTo>
                  <a:pt x="5384868" y="2186072"/>
                </a:lnTo>
                <a:lnTo>
                  <a:pt x="5382479" y="2186072"/>
                </a:lnTo>
                <a:lnTo>
                  <a:pt x="5420704" y="2133208"/>
                </a:lnTo>
                <a:lnTo>
                  <a:pt x="5506709" y="2076198"/>
                </a:lnTo>
                <a:lnTo>
                  <a:pt x="5552100" y="2034736"/>
                </a:lnTo>
                <a:lnTo>
                  <a:pt x="5587935" y="1988092"/>
                </a:lnTo>
                <a:lnTo>
                  <a:pt x="5645272" y="1861633"/>
                </a:lnTo>
                <a:lnTo>
                  <a:pt x="5645272" y="1822244"/>
                </a:lnTo>
                <a:lnTo>
                  <a:pt x="5622577" y="1816025"/>
                </a:lnTo>
                <a:lnTo>
                  <a:pt x="5622577" y="1816025"/>
                </a:lnTo>
                <a:lnTo>
                  <a:pt x="5622577" y="1816025"/>
                </a:lnTo>
                <a:lnTo>
                  <a:pt x="5621382" y="1818098"/>
                </a:lnTo>
                <a:lnTo>
                  <a:pt x="5613020" y="1829500"/>
                </a:lnTo>
                <a:lnTo>
                  <a:pt x="5581963" y="1836756"/>
                </a:lnTo>
                <a:lnTo>
                  <a:pt x="5581963" y="1836756"/>
                </a:lnTo>
                <a:lnTo>
                  <a:pt x="5581963" y="1836756"/>
                </a:lnTo>
                <a:lnTo>
                  <a:pt x="5534182" y="1839866"/>
                </a:lnTo>
                <a:lnTo>
                  <a:pt x="5462512" y="1857487"/>
                </a:lnTo>
                <a:lnTo>
                  <a:pt x="5446983" y="1857487"/>
                </a:lnTo>
                <a:lnTo>
                  <a:pt x="5435038" y="1845049"/>
                </a:lnTo>
                <a:lnTo>
                  <a:pt x="5421898" y="1831574"/>
                </a:lnTo>
                <a:lnTo>
                  <a:pt x="5423093" y="1830537"/>
                </a:lnTo>
                <a:lnTo>
                  <a:pt x="5420704" y="1829500"/>
                </a:lnTo>
                <a:lnTo>
                  <a:pt x="5418315" y="1827427"/>
                </a:lnTo>
                <a:lnTo>
                  <a:pt x="5418315" y="1827427"/>
                </a:lnTo>
                <a:lnTo>
                  <a:pt x="5418315" y="1827427"/>
                </a:lnTo>
                <a:lnTo>
                  <a:pt x="5417120" y="1828464"/>
                </a:lnTo>
                <a:lnTo>
                  <a:pt x="5411148" y="1826391"/>
                </a:lnTo>
                <a:lnTo>
                  <a:pt x="5420704" y="1818098"/>
                </a:lnTo>
                <a:lnTo>
                  <a:pt x="5420704" y="1805660"/>
                </a:lnTo>
                <a:lnTo>
                  <a:pt x="5406370" y="1796331"/>
                </a:lnTo>
                <a:lnTo>
                  <a:pt x="5405175" y="1797367"/>
                </a:lnTo>
                <a:lnTo>
                  <a:pt x="5355005" y="1743467"/>
                </a:lnTo>
                <a:lnTo>
                  <a:pt x="5304836" y="1717554"/>
                </a:lnTo>
                <a:lnTo>
                  <a:pt x="5272584" y="1651215"/>
                </a:lnTo>
                <a:lnTo>
                  <a:pt x="5272584" y="1650178"/>
                </a:lnTo>
                <a:lnTo>
                  <a:pt x="5272584" y="1650178"/>
                </a:lnTo>
                <a:lnTo>
                  <a:pt x="5273779" y="1648105"/>
                </a:lnTo>
                <a:lnTo>
                  <a:pt x="5273779" y="1648105"/>
                </a:lnTo>
                <a:lnTo>
                  <a:pt x="5273779" y="1648105"/>
                </a:lnTo>
                <a:lnTo>
                  <a:pt x="5272584" y="1647069"/>
                </a:lnTo>
                <a:lnTo>
                  <a:pt x="5271389" y="1646032"/>
                </a:lnTo>
                <a:lnTo>
                  <a:pt x="5271389" y="1646032"/>
                </a:lnTo>
                <a:lnTo>
                  <a:pt x="5271389" y="1646032"/>
                </a:lnTo>
                <a:lnTo>
                  <a:pt x="5271389" y="1644996"/>
                </a:lnTo>
                <a:lnTo>
                  <a:pt x="5271389" y="1646032"/>
                </a:lnTo>
                <a:lnTo>
                  <a:pt x="5249888" y="1630484"/>
                </a:lnTo>
                <a:lnTo>
                  <a:pt x="5243916" y="1612863"/>
                </a:lnTo>
                <a:lnTo>
                  <a:pt x="5223609" y="1540305"/>
                </a:lnTo>
                <a:lnTo>
                  <a:pt x="5223609" y="1539268"/>
                </a:lnTo>
                <a:lnTo>
                  <a:pt x="5190163" y="1520610"/>
                </a:lnTo>
                <a:lnTo>
                  <a:pt x="5185385" y="1511281"/>
                </a:lnTo>
                <a:lnTo>
                  <a:pt x="5185385" y="1487441"/>
                </a:lnTo>
                <a:lnTo>
                  <a:pt x="5095796" y="1347507"/>
                </a:lnTo>
                <a:lnTo>
                  <a:pt x="5085045" y="1328850"/>
                </a:lnTo>
                <a:lnTo>
                  <a:pt x="5086240" y="1327813"/>
                </a:lnTo>
                <a:lnTo>
                  <a:pt x="5111325" y="1367202"/>
                </a:lnTo>
                <a:lnTo>
                  <a:pt x="5135215" y="1391042"/>
                </a:lnTo>
                <a:lnTo>
                  <a:pt x="5145965" y="1364092"/>
                </a:lnTo>
                <a:lnTo>
                  <a:pt x="5143577" y="1382750"/>
                </a:lnTo>
                <a:lnTo>
                  <a:pt x="5160300" y="1382750"/>
                </a:lnTo>
                <a:lnTo>
                  <a:pt x="5236749" y="1482258"/>
                </a:lnTo>
                <a:lnTo>
                  <a:pt x="5260639" y="1497806"/>
                </a:lnTo>
                <a:lnTo>
                  <a:pt x="5280946" y="1522683"/>
                </a:lnTo>
                <a:lnTo>
                  <a:pt x="5283334" y="1572438"/>
                </a:lnTo>
                <a:lnTo>
                  <a:pt x="5301252" y="1594205"/>
                </a:lnTo>
                <a:lnTo>
                  <a:pt x="5334699" y="1612863"/>
                </a:lnTo>
                <a:lnTo>
                  <a:pt x="5384868" y="1682311"/>
                </a:lnTo>
                <a:lnTo>
                  <a:pt x="5390841" y="1699932"/>
                </a:lnTo>
                <a:lnTo>
                  <a:pt x="5423093" y="1800477"/>
                </a:lnTo>
                <a:lnTo>
                  <a:pt x="5424287" y="1802550"/>
                </a:lnTo>
                <a:lnTo>
                  <a:pt x="5468484" y="1797367"/>
                </a:lnTo>
                <a:lnTo>
                  <a:pt x="5489986" y="1784929"/>
                </a:lnTo>
                <a:lnTo>
                  <a:pt x="5528210" y="1784929"/>
                </a:lnTo>
                <a:lnTo>
                  <a:pt x="5603464" y="1745540"/>
                </a:lnTo>
                <a:lnTo>
                  <a:pt x="5679913" y="1721700"/>
                </a:lnTo>
                <a:lnTo>
                  <a:pt x="5683497" y="1700969"/>
                </a:lnTo>
                <a:lnTo>
                  <a:pt x="5690664" y="1697859"/>
                </a:lnTo>
                <a:lnTo>
                  <a:pt x="5691858" y="1699932"/>
                </a:lnTo>
                <a:lnTo>
                  <a:pt x="5700220" y="1696823"/>
                </a:lnTo>
                <a:lnTo>
                  <a:pt x="5703803" y="1696823"/>
                </a:lnTo>
                <a:lnTo>
                  <a:pt x="5702609" y="1695786"/>
                </a:lnTo>
                <a:lnTo>
                  <a:pt x="5716943" y="1689567"/>
                </a:lnTo>
                <a:lnTo>
                  <a:pt x="5748001" y="1689567"/>
                </a:lnTo>
                <a:lnTo>
                  <a:pt x="5763529" y="1668836"/>
                </a:lnTo>
                <a:lnTo>
                  <a:pt x="5787419" y="1661580"/>
                </a:lnTo>
                <a:lnTo>
                  <a:pt x="5807726" y="1638776"/>
                </a:lnTo>
                <a:lnTo>
                  <a:pt x="5836395" y="1633594"/>
                </a:lnTo>
                <a:lnTo>
                  <a:pt x="5826838" y="1601461"/>
                </a:lnTo>
                <a:lnTo>
                  <a:pt x="5867452" y="1566218"/>
                </a:lnTo>
                <a:lnTo>
                  <a:pt x="5880591" y="1540305"/>
                </a:lnTo>
                <a:lnTo>
                  <a:pt x="5845951" y="1505062"/>
                </a:lnTo>
                <a:lnTo>
                  <a:pt x="5798170" y="1491587"/>
                </a:lnTo>
                <a:lnTo>
                  <a:pt x="5775474" y="1471893"/>
                </a:lnTo>
                <a:lnTo>
                  <a:pt x="5779058" y="1468783"/>
                </a:lnTo>
                <a:lnTo>
                  <a:pt x="5775474" y="1459454"/>
                </a:lnTo>
                <a:lnTo>
                  <a:pt x="5773085" y="1456345"/>
                </a:lnTo>
                <a:lnTo>
                  <a:pt x="5773085" y="1429394"/>
                </a:lnTo>
                <a:lnTo>
                  <a:pt x="5757557" y="1429394"/>
                </a:lnTo>
                <a:lnTo>
                  <a:pt x="5750389" y="1435614"/>
                </a:lnTo>
                <a:lnTo>
                  <a:pt x="5750389" y="1435614"/>
                </a:lnTo>
                <a:lnTo>
                  <a:pt x="5748001" y="1438723"/>
                </a:lnTo>
                <a:lnTo>
                  <a:pt x="5746806" y="1439760"/>
                </a:lnTo>
                <a:lnTo>
                  <a:pt x="5746806" y="1439760"/>
                </a:lnTo>
                <a:lnTo>
                  <a:pt x="5709776" y="1484331"/>
                </a:lnTo>
                <a:lnTo>
                  <a:pt x="5661995" y="1484331"/>
                </a:lnTo>
                <a:lnTo>
                  <a:pt x="5653634" y="1491587"/>
                </a:lnTo>
                <a:lnTo>
                  <a:pt x="5627355" y="1482258"/>
                </a:lnTo>
                <a:lnTo>
                  <a:pt x="5636911" y="1466710"/>
                </a:lnTo>
                <a:lnTo>
                  <a:pt x="5630938" y="1440796"/>
                </a:lnTo>
                <a:lnTo>
                  <a:pt x="5615410" y="1433540"/>
                </a:lnTo>
                <a:lnTo>
                  <a:pt x="5605853" y="1450125"/>
                </a:lnTo>
                <a:lnTo>
                  <a:pt x="5589130" y="1420066"/>
                </a:lnTo>
                <a:lnTo>
                  <a:pt x="5532988" y="1366165"/>
                </a:lnTo>
                <a:lnTo>
                  <a:pt x="5532988" y="1365129"/>
                </a:lnTo>
                <a:lnTo>
                  <a:pt x="5529404" y="1364092"/>
                </a:lnTo>
                <a:lnTo>
                  <a:pt x="5516265" y="1345434"/>
                </a:lnTo>
                <a:lnTo>
                  <a:pt x="5527016" y="1343361"/>
                </a:lnTo>
                <a:lnTo>
                  <a:pt x="5529404" y="1343361"/>
                </a:lnTo>
                <a:lnTo>
                  <a:pt x="5529404" y="1343361"/>
                </a:lnTo>
                <a:lnTo>
                  <a:pt x="5529404" y="1343361"/>
                </a:lnTo>
                <a:lnTo>
                  <a:pt x="5532988" y="1328850"/>
                </a:lnTo>
                <a:lnTo>
                  <a:pt x="5532988" y="1328850"/>
                </a:lnTo>
                <a:lnTo>
                  <a:pt x="5534182" y="1327813"/>
                </a:lnTo>
                <a:lnTo>
                  <a:pt x="5536572" y="1327813"/>
                </a:lnTo>
                <a:lnTo>
                  <a:pt x="5535377" y="1326777"/>
                </a:lnTo>
                <a:lnTo>
                  <a:pt x="5544933" y="1315374"/>
                </a:lnTo>
                <a:lnTo>
                  <a:pt x="5580769" y="1331959"/>
                </a:lnTo>
                <a:lnTo>
                  <a:pt x="5616604" y="1385860"/>
                </a:lnTo>
                <a:lnTo>
                  <a:pt x="5689469" y="1422139"/>
                </a:lnTo>
                <a:lnTo>
                  <a:pt x="5714554" y="1425248"/>
                </a:lnTo>
                <a:lnTo>
                  <a:pt x="5771891" y="1409700"/>
                </a:lnTo>
                <a:lnTo>
                  <a:pt x="5789809" y="1442870"/>
                </a:lnTo>
                <a:lnTo>
                  <a:pt x="5911649" y="1455308"/>
                </a:lnTo>
                <a:lnTo>
                  <a:pt x="5911649" y="1458418"/>
                </a:lnTo>
                <a:lnTo>
                  <a:pt x="5977347" y="1455308"/>
                </a:lnTo>
                <a:lnTo>
                  <a:pt x="6004821" y="1463600"/>
                </a:lnTo>
                <a:lnTo>
                  <a:pt x="6057379" y="1458418"/>
                </a:lnTo>
                <a:lnTo>
                  <a:pt x="6083659" y="1496770"/>
                </a:lnTo>
                <a:lnTo>
                  <a:pt x="6107549" y="1502989"/>
                </a:lnTo>
                <a:lnTo>
                  <a:pt x="6108744" y="1501952"/>
                </a:lnTo>
                <a:lnTo>
                  <a:pt x="6142190" y="1525793"/>
                </a:lnTo>
                <a:lnTo>
                  <a:pt x="6169664" y="1520610"/>
                </a:lnTo>
                <a:lnTo>
                  <a:pt x="6167275" y="1533049"/>
                </a:lnTo>
                <a:lnTo>
                  <a:pt x="6132634" y="1536159"/>
                </a:lnTo>
                <a:lnTo>
                  <a:pt x="6186387" y="1579693"/>
                </a:lnTo>
                <a:lnTo>
                  <a:pt x="6215055" y="1574511"/>
                </a:lnTo>
                <a:lnTo>
                  <a:pt x="6231779" y="1566218"/>
                </a:lnTo>
                <a:lnTo>
                  <a:pt x="6234168" y="1541341"/>
                </a:lnTo>
                <a:lnTo>
                  <a:pt x="6237751" y="1541341"/>
                </a:lnTo>
                <a:lnTo>
                  <a:pt x="6275976" y="1694750"/>
                </a:lnTo>
                <a:lnTo>
                  <a:pt x="6311811" y="1749686"/>
                </a:lnTo>
                <a:lnTo>
                  <a:pt x="6381093" y="1902059"/>
                </a:lnTo>
                <a:lnTo>
                  <a:pt x="6381093" y="1903095"/>
                </a:lnTo>
                <a:lnTo>
                  <a:pt x="6416928" y="1927972"/>
                </a:lnTo>
                <a:lnTo>
                  <a:pt x="6439624" y="1905168"/>
                </a:lnTo>
                <a:lnTo>
                  <a:pt x="6461125" y="1894803"/>
                </a:lnTo>
                <a:lnTo>
                  <a:pt x="6469486" y="1869926"/>
                </a:lnTo>
                <a:lnTo>
                  <a:pt x="6488599" y="1886510"/>
                </a:lnTo>
                <a:lnTo>
                  <a:pt x="6476654" y="1921753"/>
                </a:lnTo>
                <a:lnTo>
                  <a:pt x="6495766" y="1983945"/>
                </a:lnTo>
                <a:lnTo>
                  <a:pt x="6529212" y="1977726"/>
                </a:lnTo>
                <a:lnTo>
                  <a:pt x="6542352" y="1966324"/>
                </a:lnTo>
                <a:lnTo>
                  <a:pt x="6545936" y="1933155"/>
                </a:lnTo>
                <a:lnTo>
                  <a:pt x="6502933" y="1883401"/>
                </a:lnTo>
                <a:lnTo>
                  <a:pt x="6469486" y="1868889"/>
                </a:lnTo>
                <a:lnTo>
                  <a:pt x="6469486" y="1866816"/>
                </a:lnTo>
                <a:lnTo>
                  <a:pt x="6482627" y="1866816"/>
                </a:lnTo>
                <a:lnTo>
                  <a:pt x="6479043" y="1823281"/>
                </a:lnTo>
                <a:lnTo>
                  <a:pt x="6490988" y="1781819"/>
                </a:lnTo>
                <a:lnTo>
                  <a:pt x="6479043" y="1735175"/>
                </a:lnTo>
                <a:lnTo>
                  <a:pt x="6483821" y="1714444"/>
                </a:lnTo>
                <a:lnTo>
                  <a:pt x="6501739" y="1717554"/>
                </a:lnTo>
                <a:lnTo>
                  <a:pt x="6505322" y="1704079"/>
                </a:lnTo>
                <a:lnTo>
                  <a:pt x="6532796" y="1700969"/>
                </a:lnTo>
                <a:lnTo>
                  <a:pt x="6536380" y="1682311"/>
                </a:lnTo>
                <a:lnTo>
                  <a:pt x="6592522" y="1641886"/>
                </a:lnTo>
                <a:lnTo>
                  <a:pt x="6608051" y="1619082"/>
                </a:lnTo>
                <a:lnTo>
                  <a:pt x="6647469" y="1603534"/>
                </a:lnTo>
                <a:lnTo>
                  <a:pt x="6659414" y="1562072"/>
                </a:lnTo>
                <a:lnTo>
                  <a:pt x="6686888" y="1553780"/>
                </a:lnTo>
                <a:lnTo>
                  <a:pt x="6686888" y="1552743"/>
                </a:lnTo>
                <a:lnTo>
                  <a:pt x="6691666" y="1559999"/>
                </a:lnTo>
                <a:lnTo>
                  <a:pt x="6708389" y="1556889"/>
                </a:lnTo>
                <a:lnTo>
                  <a:pt x="6747809" y="1551707"/>
                </a:lnTo>
                <a:lnTo>
                  <a:pt x="6772893" y="1527866"/>
                </a:lnTo>
                <a:lnTo>
                  <a:pt x="6803950" y="1576584"/>
                </a:lnTo>
                <a:lnTo>
                  <a:pt x="6803950" y="1578657"/>
                </a:lnTo>
                <a:lnTo>
                  <a:pt x="6807534" y="1581766"/>
                </a:lnTo>
                <a:lnTo>
                  <a:pt x="6808729" y="1582803"/>
                </a:lnTo>
                <a:lnTo>
                  <a:pt x="6808729" y="1581766"/>
                </a:lnTo>
                <a:lnTo>
                  <a:pt x="6838592" y="1603534"/>
                </a:lnTo>
                <a:lnTo>
                  <a:pt x="6846953" y="1603534"/>
                </a:lnTo>
                <a:lnTo>
                  <a:pt x="6858898" y="1634630"/>
                </a:lnTo>
                <a:lnTo>
                  <a:pt x="6870844" y="1634630"/>
                </a:lnTo>
                <a:lnTo>
                  <a:pt x="6885178" y="1676092"/>
                </a:lnTo>
                <a:lnTo>
                  <a:pt x="6881594" y="1706152"/>
                </a:lnTo>
                <a:lnTo>
                  <a:pt x="6921013" y="1717554"/>
                </a:lnTo>
                <a:lnTo>
                  <a:pt x="6955654" y="1687494"/>
                </a:lnTo>
                <a:lnTo>
                  <a:pt x="6972377" y="1696823"/>
                </a:lnTo>
                <a:close/>
                <a:moveTo>
                  <a:pt x="4831808" y="274684"/>
                </a:moveTo>
                <a:lnTo>
                  <a:pt x="4831808" y="274684"/>
                </a:lnTo>
                <a:lnTo>
                  <a:pt x="4836586" y="275721"/>
                </a:lnTo>
                <a:lnTo>
                  <a:pt x="4831808" y="274684"/>
                </a:lnTo>
                <a:close/>
                <a:moveTo>
                  <a:pt x="4886756" y="825089"/>
                </a:moveTo>
                <a:lnTo>
                  <a:pt x="4877200" y="820943"/>
                </a:lnTo>
                <a:lnTo>
                  <a:pt x="4892729" y="818870"/>
                </a:lnTo>
                <a:lnTo>
                  <a:pt x="4935731" y="828199"/>
                </a:lnTo>
                <a:lnTo>
                  <a:pt x="4938120" y="837528"/>
                </a:lnTo>
                <a:lnTo>
                  <a:pt x="4962010" y="861368"/>
                </a:lnTo>
                <a:lnTo>
                  <a:pt x="4962010" y="868624"/>
                </a:lnTo>
                <a:lnTo>
                  <a:pt x="4942898" y="868624"/>
                </a:lnTo>
                <a:lnTo>
                  <a:pt x="4927370" y="884172"/>
                </a:lnTo>
                <a:lnTo>
                  <a:pt x="4920202" y="858259"/>
                </a:lnTo>
                <a:lnTo>
                  <a:pt x="4886756" y="825089"/>
                </a:lnTo>
                <a:close/>
                <a:moveTo>
                  <a:pt x="4957232" y="1034471"/>
                </a:moveTo>
                <a:lnTo>
                  <a:pt x="4904674" y="1034471"/>
                </a:lnTo>
                <a:lnTo>
                  <a:pt x="4921397" y="1024106"/>
                </a:lnTo>
                <a:lnTo>
                  <a:pt x="4954843" y="1022033"/>
                </a:lnTo>
                <a:lnTo>
                  <a:pt x="4962010" y="1027215"/>
                </a:lnTo>
                <a:lnTo>
                  <a:pt x="4948871" y="1027215"/>
                </a:lnTo>
                <a:lnTo>
                  <a:pt x="4957232" y="1034471"/>
                </a:lnTo>
                <a:close/>
                <a:moveTo>
                  <a:pt x="5286918" y="1000265"/>
                </a:moveTo>
                <a:lnTo>
                  <a:pt x="5249888" y="1015813"/>
                </a:lnTo>
                <a:lnTo>
                  <a:pt x="5179412" y="1015813"/>
                </a:lnTo>
                <a:lnTo>
                  <a:pt x="5117297" y="989900"/>
                </a:lnTo>
                <a:lnTo>
                  <a:pt x="5067128" y="989900"/>
                </a:lnTo>
                <a:lnTo>
                  <a:pt x="5013375" y="1015813"/>
                </a:lnTo>
                <a:lnTo>
                  <a:pt x="4982317" y="1015813"/>
                </a:lnTo>
                <a:lnTo>
                  <a:pt x="4947676" y="1005448"/>
                </a:lnTo>
                <a:lnTo>
                  <a:pt x="4935731" y="989900"/>
                </a:lnTo>
                <a:lnTo>
                  <a:pt x="4932148" y="989900"/>
                </a:lnTo>
                <a:lnTo>
                  <a:pt x="4916619" y="976425"/>
                </a:lnTo>
                <a:lnTo>
                  <a:pt x="4927370" y="958803"/>
                </a:lnTo>
                <a:lnTo>
                  <a:pt x="4939315" y="955694"/>
                </a:lnTo>
                <a:lnTo>
                  <a:pt x="4944093" y="944292"/>
                </a:lnTo>
                <a:lnTo>
                  <a:pt x="4940509" y="943255"/>
                </a:lnTo>
                <a:lnTo>
                  <a:pt x="4940509" y="926670"/>
                </a:lnTo>
                <a:lnTo>
                  <a:pt x="4960816" y="916305"/>
                </a:lnTo>
                <a:lnTo>
                  <a:pt x="4963205" y="901793"/>
                </a:lnTo>
                <a:lnTo>
                  <a:pt x="4964400" y="901793"/>
                </a:lnTo>
                <a:lnTo>
                  <a:pt x="4963205" y="898684"/>
                </a:lnTo>
                <a:lnTo>
                  <a:pt x="4963205" y="896611"/>
                </a:lnTo>
                <a:lnTo>
                  <a:pt x="4962010" y="896611"/>
                </a:lnTo>
                <a:lnTo>
                  <a:pt x="4960816" y="890391"/>
                </a:lnTo>
                <a:lnTo>
                  <a:pt x="4973955" y="888318"/>
                </a:lnTo>
                <a:lnTo>
                  <a:pt x="4988290" y="867587"/>
                </a:lnTo>
                <a:lnTo>
                  <a:pt x="5015763" y="867587"/>
                </a:lnTo>
                <a:lnTo>
                  <a:pt x="5013375" y="876916"/>
                </a:lnTo>
                <a:lnTo>
                  <a:pt x="5056377" y="886245"/>
                </a:lnTo>
                <a:lnTo>
                  <a:pt x="5031292" y="897647"/>
                </a:lnTo>
                <a:lnTo>
                  <a:pt x="5057571" y="912159"/>
                </a:lnTo>
                <a:lnTo>
                  <a:pt x="5057571" y="920451"/>
                </a:lnTo>
                <a:lnTo>
                  <a:pt x="5071906" y="926670"/>
                </a:lnTo>
                <a:lnTo>
                  <a:pt x="5117297" y="908013"/>
                </a:lnTo>
                <a:lnTo>
                  <a:pt x="5139993" y="908013"/>
                </a:lnTo>
                <a:lnTo>
                  <a:pt x="5139993" y="897647"/>
                </a:lnTo>
                <a:lnTo>
                  <a:pt x="5113714" y="897647"/>
                </a:lnTo>
                <a:lnTo>
                  <a:pt x="5088629" y="885209"/>
                </a:lnTo>
                <a:lnTo>
                  <a:pt x="5157911" y="854112"/>
                </a:lnTo>
                <a:lnTo>
                  <a:pt x="5175828" y="854112"/>
                </a:lnTo>
                <a:lnTo>
                  <a:pt x="5156716" y="858259"/>
                </a:lnTo>
                <a:lnTo>
                  <a:pt x="5171050" y="870697"/>
                </a:lnTo>
                <a:lnTo>
                  <a:pt x="5154327" y="894538"/>
                </a:lnTo>
                <a:lnTo>
                  <a:pt x="5141187" y="899720"/>
                </a:lnTo>
                <a:lnTo>
                  <a:pt x="5141187" y="906976"/>
                </a:lnTo>
                <a:lnTo>
                  <a:pt x="5145965" y="906976"/>
                </a:lnTo>
                <a:lnTo>
                  <a:pt x="5228387" y="946365"/>
                </a:lnTo>
                <a:lnTo>
                  <a:pt x="5260639" y="968132"/>
                </a:lnTo>
                <a:lnTo>
                  <a:pt x="5280946" y="993009"/>
                </a:lnTo>
                <a:lnTo>
                  <a:pt x="5280946" y="1000265"/>
                </a:lnTo>
                <a:close/>
                <a:moveTo>
                  <a:pt x="5586741" y="1135016"/>
                </a:moveTo>
                <a:lnTo>
                  <a:pt x="5517459" y="1110139"/>
                </a:lnTo>
                <a:lnTo>
                  <a:pt x="5509098" y="1087335"/>
                </a:lnTo>
                <a:lnTo>
                  <a:pt x="5506709" y="1085262"/>
                </a:lnTo>
                <a:lnTo>
                  <a:pt x="5501931" y="1067641"/>
                </a:lnTo>
                <a:lnTo>
                  <a:pt x="5512681" y="1067641"/>
                </a:lnTo>
                <a:lnTo>
                  <a:pt x="5516265" y="1047946"/>
                </a:lnTo>
                <a:lnTo>
                  <a:pt x="5536572" y="1033434"/>
                </a:lnTo>
                <a:lnTo>
                  <a:pt x="5500736" y="1013740"/>
                </a:lnTo>
                <a:lnTo>
                  <a:pt x="5478040" y="990936"/>
                </a:lnTo>
                <a:lnTo>
                  <a:pt x="5479235" y="989900"/>
                </a:lnTo>
                <a:lnTo>
                  <a:pt x="5442205" y="957767"/>
                </a:lnTo>
                <a:lnTo>
                  <a:pt x="5442205" y="940146"/>
                </a:lnTo>
                <a:lnTo>
                  <a:pt x="5415926" y="912159"/>
                </a:lnTo>
                <a:lnTo>
                  <a:pt x="5429065" y="884172"/>
                </a:lnTo>
                <a:lnTo>
                  <a:pt x="5445788" y="886245"/>
                </a:lnTo>
                <a:lnTo>
                  <a:pt x="5460123" y="875880"/>
                </a:lnTo>
                <a:lnTo>
                  <a:pt x="5468484" y="881063"/>
                </a:lnTo>
                <a:lnTo>
                  <a:pt x="5468484" y="867587"/>
                </a:lnTo>
                <a:lnTo>
                  <a:pt x="5513876" y="853076"/>
                </a:lnTo>
                <a:lnTo>
                  <a:pt x="5554489" y="855149"/>
                </a:lnTo>
                <a:lnTo>
                  <a:pt x="5585547" y="872770"/>
                </a:lnTo>
                <a:lnTo>
                  <a:pt x="5605853" y="901793"/>
                </a:lnTo>
                <a:lnTo>
                  <a:pt x="5541350" y="899720"/>
                </a:lnTo>
                <a:lnTo>
                  <a:pt x="5530599" y="913195"/>
                </a:lnTo>
                <a:lnTo>
                  <a:pt x="5536572" y="920451"/>
                </a:lnTo>
                <a:lnTo>
                  <a:pt x="5510292" y="918378"/>
                </a:lnTo>
                <a:lnTo>
                  <a:pt x="5510292" y="933926"/>
                </a:lnTo>
                <a:lnTo>
                  <a:pt x="5527016" y="937036"/>
                </a:lnTo>
                <a:lnTo>
                  <a:pt x="5560462" y="971242"/>
                </a:lnTo>
                <a:lnTo>
                  <a:pt x="5577185" y="971242"/>
                </a:lnTo>
                <a:lnTo>
                  <a:pt x="5577185" y="994046"/>
                </a:lnTo>
                <a:lnTo>
                  <a:pt x="5586741" y="998192"/>
                </a:lnTo>
                <a:lnTo>
                  <a:pt x="5586741" y="998192"/>
                </a:lnTo>
                <a:lnTo>
                  <a:pt x="5603464" y="1027215"/>
                </a:lnTo>
                <a:lnTo>
                  <a:pt x="5601075" y="1042763"/>
                </a:lnTo>
                <a:lnTo>
                  <a:pt x="5604659" y="1053129"/>
                </a:lnTo>
                <a:lnTo>
                  <a:pt x="5622577" y="1053129"/>
                </a:lnTo>
                <a:lnTo>
                  <a:pt x="5634522" y="1072823"/>
                </a:lnTo>
                <a:lnTo>
                  <a:pt x="5645272" y="1078006"/>
                </a:lnTo>
                <a:lnTo>
                  <a:pt x="5647661" y="1119468"/>
                </a:lnTo>
                <a:lnTo>
                  <a:pt x="5647661" y="1119468"/>
                </a:lnTo>
                <a:lnTo>
                  <a:pt x="5647661" y="1121541"/>
                </a:lnTo>
                <a:lnTo>
                  <a:pt x="5647661" y="1125687"/>
                </a:lnTo>
                <a:lnTo>
                  <a:pt x="5647661" y="1125687"/>
                </a:lnTo>
                <a:lnTo>
                  <a:pt x="5648856" y="1135016"/>
                </a:lnTo>
                <a:lnTo>
                  <a:pt x="5586741" y="1135016"/>
                </a:lnTo>
                <a:close/>
                <a:moveTo>
                  <a:pt x="5639300" y="1026179"/>
                </a:moveTo>
                <a:lnTo>
                  <a:pt x="5602270" y="1020996"/>
                </a:lnTo>
                <a:lnTo>
                  <a:pt x="5602270" y="1024106"/>
                </a:lnTo>
                <a:lnTo>
                  <a:pt x="5602270" y="995082"/>
                </a:lnTo>
                <a:lnTo>
                  <a:pt x="5616604" y="993009"/>
                </a:lnTo>
                <a:lnTo>
                  <a:pt x="5651245" y="1018923"/>
                </a:lnTo>
                <a:lnTo>
                  <a:pt x="5639300" y="1026179"/>
                </a:lnTo>
                <a:close/>
                <a:moveTo>
                  <a:pt x="6453958" y="181395"/>
                </a:moveTo>
                <a:lnTo>
                  <a:pt x="6439624" y="193834"/>
                </a:lnTo>
                <a:lnTo>
                  <a:pt x="6450375" y="194870"/>
                </a:lnTo>
                <a:lnTo>
                  <a:pt x="6406177" y="204199"/>
                </a:lnTo>
                <a:lnTo>
                  <a:pt x="6406177" y="193834"/>
                </a:lnTo>
                <a:lnTo>
                  <a:pt x="6453958" y="174139"/>
                </a:lnTo>
                <a:lnTo>
                  <a:pt x="6489793" y="185541"/>
                </a:lnTo>
                <a:lnTo>
                  <a:pt x="6453958" y="181395"/>
                </a:lnTo>
                <a:close/>
                <a:moveTo>
                  <a:pt x="6958043" y="2069979"/>
                </a:moveTo>
                <a:lnTo>
                  <a:pt x="6972377" y="2078271"/>
                </a:lnTo>
                <a:lnTo>
                  <a:pt x="6975961" y="2074125"/>
                </a:lnTo>
                <a:lnTo>
                  <a:pt x="6961626" y="2065832"/>
                </a:lnTo>
                <a:lnTo>
                  <a:pt x="6958043" y="2069979"/>
                </a:lnTo>
                <a:close/>
                <a:moveTo>
                  <a:pt x="6991489" y="2109367"/>
                </a:moveTo>
                <a:lnTo>
                  <a:pt x="7016574" y="2134244"/>
                </a:lnTo>
                <a:lnTo>
                  <a:pt x="7016574" y="2115587"/>
                </a:lnTo>
                <a:lnTo>
                  <a:pt x="7002240" y="2100039"/>
                </a:lnTo>
                <a:lnTo>
                  <a:pt x="6991489" y="2109367"/>
                </a:lnTo>
                <a:close/>
                <a:moveTo>
                  <a:pt x="7033297" y="2170523"/>
                </a:moveTo>
                <a:lnTo>
                  <a:pt x="7044048" y="2192291"/>
                </a:lnTo>
                <a:lnTo>
                  <a:pt x="7061966" y="2192291"/>
                </a:lnTo>
                <a:lnTo>
                  <a:pt x="7046437" y="2162231"/>
                </a:lnTo>
                <a:lnTo>
                  <a:pt x="7033297" y="2170523"/>
                </a:lnTo>
                <a:close/>
                <a:moveTo>
                  <a:pt x="7304452" y="1594205"/>
                </a:moveTo>
                <a:lnTo>
                  <a:pt x="7281756" y="1611826"/>
                </a:lnTo>
                <a:lnTo>
                  <a:pt x="7288923" y="1637740"/>
                </a:lnTo>
                <a:lnTo>
                  <a:pt x="7318786" y="1646032"/>
                </a:lnTo>
                <a:lnTo>
                  <a:pt x="7341482" y="1629448"/>
                </a:lnTo>
                <a:lnTo>
                  <a:pt x="7351038" y="1591095"/>
                </a:lnTo>
                <a:lnTo>
                  <a:pt x="7304452" y="1594205"/>
                </a:lnTo>
                <a:close/>
                <a:moveTo>
                  <a:pt x="7431070" y="2371613"/>
                </a:moveTo>
                <a:lnTo>
                  <a:pt x="7448988" y="2369540"/>
                </a:lnTo>
                <a:lnTo>
                  <a:pt x="7494380" y="2380942"/>
                </a:lnTo>
                <a:lnTo>
                  <a:pt x="7494380" y="2372650"/>
                </a:lnTo>
                <a:lnTo>
                  <a:pt x="7506325" y="2380942"/>
                </a:lnTo>
                <a:lnTo>
                  <a:pt x="7507519" y="2379905"/>
                </a:lnTo>
                <a:lnTo>
                  <a:pt x="7508713" y="2380942"/>
                </a:lnTo>
                <a:lnTo>
                  <a:pt x="7525437" y="2369540"/>
                </a:lnTo>
                <a:lnTo>
                  <a:pt x="7529020" y="2367467"/>
                </a:lnTo>
                <a:lnTo>
                  <a:pt x="7525437" y="2365394"/>
                </a:lnTo>
                <a:lnTo>
                  <a:pt x="7514686" y="2356065"/>
                </a:lnTo>
                <a:lnTo>
                  <a:pt x="7512298" y="2357101"/>
                </a:lnTo>
                <a:lnTo>
                  <a:pt x="7511103" y="2356065"/>
                </a:lnTo>
                <a:lnTo>
                  <a:pt x="7493185" y="2363321"/>
                </a:lnTo>
                <a:lnTo>
                  <a:pt x="7493185" y="2348809"/>
                </a:lnTo>
                <a:lnTo>
                  <a:pt x="7447794" y="2345699"/>
                </a:lnTo>
                <a:lnTo>
                  <a:pt x="7435848" y="2324968"/>
                </a:lnTo>
                <a:lnTo>
                  <a:pt x="7384484" y="2311494"/>
                </a:lnTo>
                <a:lnTo>
                  <a:pt x="7372539" y="2324968"/>
                </a:lnTo>
                <a:lnTo>
                  <a:pt x="7334315" y="2321859"/>
                </a:lnTo>
                <a:lnTo>
                  <a:pt x="7290118" y="2299055"/>
                </a:lnTo>
                <a:lnTo>
                  <a:pt x="7248310" y="2295945"/>
                </a:lnTo>
                <a:lnTo>
                  <a:pt x="7247115" y="2296982"/>
                </a:lnTo>
                <a:lnTo>
                  <a:pt x="7265033" y="2225460"/>
                </a:lnTo>
                <a:lnTo>
                  <a:pt x="7276978" y="2228570"/>
                </a:lnTo>
                <a:lnTo>
                  <a:pt x="7276978" y="2209912"/>
                </a:lnTo>
                <a:lnTo>
                  <a:pt x="7269811" y="2206802"/>
                </a:lnTo>
                <a:lnTo>
                  <a:pt x="7254282" y="2181925"/>
                </a:lnTo>
                <a:lnTo>
                  <a:pt x="7225614" y="2194364"/>
                </a:lnTo>
                <a:lnTo>
                  <a:pt x="7210085" y="2167414"/>
                </a:lnTo>
                <a:lnTo>
                  <a:pt x="7190973" y="2167414"/>
                </a:lnTo>
                <a:lnTo>
                  <a:pt x="7183806" y="2159121"/>
                </a:lnTo>
                <a:lnTo>
                  <a:pt x="7193362" y="2135281"/>
                </a:lnTo>
                <a:lnTo>
                  <a:pt x="7171861" y="2124916"/>
                </a:lnTo>
                <a:lnTo>
                  <a:pt x="7171861" y="2109367"/>
                </a:lnTo>
                <a:lnTo>
                  <a:pt x="7115719" y="2074125"/>
                </a:lnTo>
                <a:lnTo>
                  <a:pt x="7097801" y="2079308"/>
                </a:lnTo>
                <a:lnTo>
                  <a:pt x="7003434" y="1997421"/>
                </a:lnTo>
                <a:lnTo>
                  <a:pt x="6930569" y="1982909"/>
                </a:lnTo>
                <a:lnTo>
                  <a:pt x="6944904" y="2010896"/>
                </a:lnTo>
                <a:lnTo>
                  <a:pt x="6984322" y="2041992"/>
                </a:lnTo>
                <a:lnTo>
                  <a:pt x="7010602" y="2075162"/>
                </a:lnTo>
                <a:lnTo>
                  <a:pt x="7040465" y="2093819"/>
                </a:lnTo>
                <a:lnTo>
                  <a:pt x="7052410" y="2135281"/>
                </a:lnTo>
                <a:lnTo>
                  <a:pt x="7088245" y="2161195"/>
                </a:lnTo>
                <a:lnTo>
                  <a:pt x="7102579" y="2199547"/>
                </a:lnTo>
                <a:lnTo>
                  <a:pt x="7127664" y="2231679"/>
                </a:lnTo>
                <a:lnTo>
                  <a:pt x="7202918" y="2296982"/>
                </a:lnTo>
                <a:lnTo>
                  <a:pt x="7216058" y="2300091"/>
                </a:lnTo>
                <a:lnTo>
                  <a:pt x="7230392" y="2294909"/>
                </a:lnTo>
                <a:lnTo>
                  <a:pt x="7242337" y="2300091"/>
                </a:lnTo>
                <a:lnTo>
                  <a:pt x="7223225" y="2321859"/>
                </a:lnTo>
                <a:lnTo>
                  <a:pt x="7300869" y="2351919"/>
                </a:lnTo>
                <a:lnTo>
                  <a:pt x="7300869" y="2351919"/>
                </a:lnTo>
                <a:lnTo>
                  <a:pt x="7345066" y="2351919"/>
                </a:lnTo>
                <a:lnTo>
                  <a:pt x="7431070" y="2371613"/>
                </a:lnTo>
                <a:close/>
                <a:moveTo>
                  <a:pt x="7230392" y="2205766"/>
                </a:moveTo>
                <a:lnTo>
                  <a:pt x="7226809" y="2200583"/>
                </a:lnTo>
                <a:lnTo>
                  <a:pt x="7239948" y="2202656"/>
                </a:lnTo>
                <a:lnTo>
                  <a:pt x="7239948" y="2205766"/>
                </a:lnTo>
                <a:lnTo>
                  <a:pt x="7230392" y="2205766"/>
                </a:lnTo>
                <a:close/>
                <a:moveTo>
                  <a:pt x="7772701" y="2373686"/>
                </a:moveTo>
                <a:lnTo>
                  <a:pt x="7735671" y="2365394"/>
                </a:lnTo>
                <a:lnTo>
                  <a:pt x="7717753" y="2377832"/>
                </a:lnTo>
                <a:lnTo>
                  <a:pt x="7664000" y="2365394"/>
                </a:lnTo>
                <a:lnTo>
                  <a:pt x="7634137" y="2375759"/>
                </a:lnTo>
                <a:lnTo>
                  <a:pt x="7570828" y="2360211"/>
                </a:lnTo>
                <a:lnTo>
                  <a:pt x="7583968" y="2371613"/>
                </a:lnTo>
                <a:lnTo>
                  <a:pt x="7544549" y="2365394"/>
                </a:lnTo>
                <a:lnTo>
                  <a:pt x="7530215" y="2371613"/>
                </a:lnTo>
                <a:lnTo>
                  <a:pt x="7526631" y="2393380"/>
                </a:lnTo>
                <a:lnTo>
                  <a:pt x="7563662" y="2396490"/>
                </a:lnTo>
                <a:lnTo>
                  <a:pt x="7635332" y="2380942"/>
                </a:lnTo>
                <a:lnTo>
                  <a:pt x="7635332" y="2380942"/>
                </a:lnTo>
                <a:lnTo>
                  <a:pt x="7635332" y="2380942"/>
                </a:lnTo>
                <a:lnTo>
                  <a:pt x="7709392" y="2386125"/>
                </a:lnTo>
                <a:lnTo>
                  <a:pt x="7772701" y="2373686"/>
                </a:lnTo>
                <a:close/>
                <a:moveTo>
                  <a:pt x="7821676" y="2367467"/>
                </a:moveTo>
                <a:lnTo>
                  <a:pt x="7782257" y="2362284"/>
                </a:lnTo>
                <a:lnTo>
                  <a:pt x="7771506" y="2376796"/>
                </a:lnTo>
                <a:lnTo>
                  <a:pt x="7821676" y="2367467"/>
                </a:lnTo>
                <a:close/>
                <a:moveTo>
                  <a:pt x="7853928" y="2347773"/>
                </a:moveTo>
                <a:lnTo>
                  <a:pt x="7826455" y="2347773"/>
                </a:lnTo>
                <a:lnTo>
                  <a:pt x="7821676" y="2360211"/>
                </a:lnTo>
                <a:lnTo>
                  <a:pt x="7839594" y="2360211"/>
                </a:lnTo>
                <a:lnTo>
                  <a:pt x="7853928" y="2347773"/>
                </a:lnTo>
                <a:close/>
                <a:moveTo>
                  <a:pt x="7619804" y="2408929"/>
                </a:moveTo>
                <a:lnTo>
                  <a:pt x="7654444" y="2428623"/>
                </a:lnTo>
                <a:lnTo>
                  <a:pt x="7674751" y="2418257"/>
                </a:lnTo>
                <a:lnTo>
                  <a:pt x="7646083" y="2399600"/>
                </a:lnTo>
                <a:lnTo>
                  <a:pt x="7613831" y="2399600"/>
                </a:lnTo>
                <a:lnTo>
                  <a:pt x="7619804" y="2408929"/>
                </a:lnTo>
                <a:close/>
                <a:moveTo>
                  <a:pt x="7996076" y="2340517"/>
                </a:moveTo>
                <a:lnTo>
                  <a:pt x="8000853" y="2328078"/>
                </a:lnTo>
                <a:lnTo>
                  <a:pt x="7999659" y="2330151"/>
                </a:lnTo>
                <a:lnTo>
                  <a:pt x="7999659" y="2330151"/>
                </a:lnTo>
                <a:lnTo>
                  <a:pt x="7961434" y="2368503"/>
                </a:lnTo>
                <a:lnTo>
                  <a:pt x="7993686" y="2351919"/>
                </a:lnTo>
                <a:lnTo>
                  <a:pt x="7996076" y="2340517"/>
                </a:lnTo>
                <a:close/>
                <a:moveTo>
                  <a:pt x="8089248" y="2304238"/>
                </a:moveTo>
                <a:lnTo>
                  <a:pt x="8083275" y="2285580"/>
                </a:lnTo>
                <a:lnTo>
                  <a:pt x="8051023" y="2351919"/>
                </a:lnTo>
                <a:lnTo>
                  <a:pt x="8089248" y="2304238"/>
                </a:lnTo>
                <a:close/>
                <a:moveTo>
                  <a:pt x="7310424" y="2233753"/>
                </a:moveTo>
                <a:lnTo>
                  <a:pt x="7318786" y="2216131"/>
                </a:lnTo>
                <a:lnTo>
                  <a:pt x="7297285" y="2211985"/>
                </a:lnTo>
                <a:lnTo>
                  <a:pt x="7293701" y="2229607"/>
                </a:lnTo>
                <a:lnTo>
                  <a:pt x="7310424" y="2233753"/>
                </a:lnTo>
                <a:close/>
                <a:moveTo>
                  <a:pt x="7680724" y="2133208"/>
                </a:moveTo>
                <a:lnTo>
                  <a:pt x="7759561" y="2138391"/>
                </a:lnTo>
                <a:lnTo>
                  <a:pt x="7759561" y="2138391"/>
                </a:lnTo>
                <a:lnTo>
                  <a:pt x="7794203" y="2130098"/>
                </a:lnTo>
                <a:lnTo>
                  <a:pt x="7813314" y="2105221"/>
                </a:lnTo>
                <a:lnTo>
                  <a:pt x="7808537" y="2092783"/>
                </a:lnTo>
                <a:lnTo>
                  <a:pt x="7772701" y="2117660"/>
                </a:lnTo>
                <a:lnTo>
                  <a:pt x="7744033" y="2117660"/>
                </a:lnTo>
                <a:lnTo>
                  <a:pt x="7681918" y="2107294"/>
                </a:lnTo>
                <a:lnTo>
                  <a:pt x="7678335" y="2106258"/>
                </a:lnTo>
                <a:lnTo>
                  <a:pt x="7678335" y="2106258"/>
                </a:lnTo>
                <a:lnTo>
                  <a:pt x="7678335" y="2106258"/>
                </a:lnTo>
                <a:lnTo>
                  <a:pt x="7678335" y="2108331"/>
                </a:lnTo>
                <a:lnTo>
                  <a:pt x="7675945" y="2119733"/>
                </a:lnTo>
                <a:lnTo>
                  <a:pt x="7654444" y="2119733"/>
                </a:lnTo>
                <a:lnTo>
                  <a:pt x="7648472" y="2158085"/>
                </a:lnTo>
                <a:lnTo>
                  <a:pt x="7618609" y="2217168"/>
                </a:lnTo>
                <a:lnTo>
                  <a:pt x="7618609" y="2218205"/>
                </a:lnTo>
                <a:lnTo>
                  <a:pt x="7618609" y="2218205"/>
                </a:lnTo>
                <a:lnTo>
                  <a:pt x="7618609" y="2218205"/>
                </a:lnTo>
                <a:lnTo>
                  <a:pt x="7618609" y="2219241"/>
                </a:lnTo>
                <a:lnTo>
                  <a:pt x="7622192" y="2242045"/>
                </a:lnTo>
                <a:lnTo>
                  <a:pt x="7640110" y="2242045"/>
                </a:lnTo>
                <a:lnTo>
                  <a:pt x="7642499" y="2252410"/>
                </a:lnTo>
                <a:lnTo>
                  <a:pt x="7636527" y="2295945"/>
                </a:lnTo>
                <a:lnTo>
                  <a:pt x="7666389" y="2295945"/>
                </a:lnTo>
                <a:lnTo>
                  <a:pt x="7666389" y="2227533"/>
                </a:lnTo>
                <a:lnTo>
                  <a:pt x="7679530" y="2218205"/>
                </a:lnTo>
                <a:lnTo>
                  <a:pt x="7683113" y="2218205"/>
                </a:lnTo>
                <a:lnTo>
                  <a:pt x="7677140" y="2236862"/>
                </a:lnTo>
                <a:lnTo>
                  <a:pt x="7678335" y="2236862"/>
                </a:lnTo>
                <a:lnTo>
                  <a:pt x="7678335" y="2238935"/>
                </a:lnTo>
                <a:lnTo>
                  <a:pt x="7699836" y="2254484"/>
                </a:lnTo>
                <a:lnTo>
                  <a:pt x="7699836" y="2270032"/>
                </a:lnTo>
                <a:lnTo>
                  <a:pt x="7712976" y="2276251"/>
                </a:lnTo>
                <a:lnTo>
                  <a:pt x="7715365" y="2277288"/>
                </a:lnTo>
                <a:lnTo>
                  <a:pt x="7715365" y="2277288"/>
                </a:lnTo>
                <a:lnTo>
                  <a:pt x="7715365" y="2277288"/>
                </a:lnTo>
                <a:lnTo>
                  <a:pt x="7717753" y="2275214"/>
                </a:lnTo>
                <a:lnTo>
                  <a:pt x="7717753" y="2288689"/>
                </a:lnTo>
                <a:lnTo>
                  <a:pt x="7718948" y="2289726"/>
                </a:lnTo>
                <a:lnTo>
                  <a:pt x="7726115" y="2299055"/>
                </a:lnTo>
                <a:lnTo>
                  <a:pt x="7728504" y="2298019"/>
                </a:lnTo>
                <a:lnTo>
                  <a:pt x="7729699" y="2299055"/>
                </a:lnTo>
                <a:lnTo>
                  <a:pt x="7751200" y="2289726"/>
                </a:lnTo>
                <a:lnTo>
                  <a:pt x="7751200" y="2272105"/>
                </a:lnTo>
                <a:lnTo>
                  <a:pt x="7742839" y="2263812"/>
                </a:lnTo>
                <a:lnTo>
                  <a:pt x="7721338" y="2238935"/>
                </a:lnTo>
                <a:lnTo>
                  <a:pt x="7734477" y="2231679"/>
                </a:lnTo>
                <a:lnTo>
                  <a:pt x="7707003" y="2195400"/>
                </a:lnTo>
                <a:lnTo>
                  <a:pt x="7746422" y="2168451"/>
                </a:lnTo>
                <a:lnTo>
                  <a:pt x="7770312" y="2168451"/>
                </a:lnTo>
                <a:lnTo>
                  <a:pt x="7765534" y="2166377"/>
                </a:lnTo>
                <a:lnTo>
                  <a:pt x="7770312" y="2166377"/>
                </a:lnTo>
                <a:lnTo>
                  <a:pt x="7752395" y="2156012"/>
                </a:lnTo>
                <a:lnTo>
                  <a:pt x="7683113" y="2175706"/>
                </a:lnTo>
                <a:lnTo>
                  <a:pt x="7680724" y="2161195"/>
                </a:lnTo>
                <a:lnTo>
                  <a:pt x="7666389" y="2159121"/>
                </a:lnTo>
                <a:lnTo>
                  <a:pt x="7666389" y="2146683"/>
                </a:lnTo>
                <a:lnTo>
                  <a:pt x="7680724" y="2133208"/>
                </a:lnTo>
                <a:close/>
                <a:moveTo>
                  <a:pt x="7917237" y="2177779"/>
                </a:moveTo>
                <a:lnTo>
                  <a:pt x="7894542" y="2142537"/>
                </a:lnTo>
                <a:lnTo>
                  <a:pt x="7894542" y="2133208"/>
                </a:lnTo>
                <a:lnTo>
                  <a:pt x="7917237" y="2133208"/>
                </a:lnTo>
                <a:lnTo>
                  <a:pt x="7902903" y="2120769"/>
                </a:lnTo>
                <a:lnTo>
                  <a:pt x="7913654" y="2111441"/>
                </a:lnTo>
                <a:lnTo>
                  <a:pt x="7913654" y="2093819"/>
                </a:lnTo>
                <a:lnTo>
                  <a:pt x="7898125" y="2104185"/>
                </a:lnTo>
                <a:lnTo>
                  <a:pt x="7894542" y="2077234"/>
                </a:lnTo>
                <a:lnTo>
                  <a:pt x="7881402" y="2088636"/>
                </a:lnTo>
                <a:lnTo>
                  <a:pt x="7871846" y="2108331"/>
                </a:lnTo>
                <a:lnTo>
                  <a:pt x="7881402" y="2148756"/>
                </a:lnTo>
                <a:lnTo>
                  <a:pt x="7917237" y="2177779"/>
                </a:lnTo>
                <a:close/>
                <a:moveTo>
                  <a:pt x="7865873" y="2228570"/>
                </a:moveTo>
                <a:lnTo>
                  <a:pt x="7821676" y="2231679"/>
                </a:lnTo>
                <a:lnTo>
                  <a:pt x="7858707" y="2249301"/>
                </a:lnTo>
                <a:lnTo>
                  <a:pt x="7874235" y="2238935"/>
                </a:lnTo>
                <a:lnTo>
                  <a:pt x="7865873" y="2228570"/>
                </a:lnTo>
                <a:close/>
                <a:moveTo>
                  <a:pt x="7965018" y="2221314"/>
                </a:moveTo>
                <a:lnTo>
                  <a:pt x="7938738" y="2216131"/>
                </a:lnTo>
                <a:lnTo>
                  <a:pt x="7898125" y="2216131"/>
                </a:lnTo>
                <a:lnTo>
                  <a:pt x="7886180" y="2230643"/>
                </a:lnTo>
                <a:lnTo>
                  <a:pt x="7976963" y="2251374"/>
                </a:lnTo>
                <a:lnTo>
                  <a:pt x="7965018" y="2221314"/>
                </a:lnTo>
                <a:close/>
                <a:moveTo>
                  <a:pt x="7884985" y="2178816"/>
                </a:moveTo>
                <a:lnTo>
                  <a:pt x="7861095" y="2189181"/>
                </a:lnTo>
                <a:lnTo>
                  <a:pt x="7916043" y="2189181"/>
                </a:lnTo>
                <a:lnTo>
                  <a:pt x="7884985" y="2178816"/>
                </a:lnTo>
                <a:close/>
                <a:moveTo>
                  <a:pt x="7970990" y="2158085"/>
                </a:moveTo>
                <a:lnTo>
                  <a:pt x="7970990" y="2158085"/>
                </a:lnTo>
                <a:lnTo>
                  <a:pt x="7973380" y="2158085"/>
                </a:lnTo>
                <a:lnTo>
                  <a:pt x="7999659" y="2153939"/>
                </a:lnTo>
                <a:lnTo>
                  <a:pt x="7994881" y="2151866"/>
                </a:lnTo>
                <a:lnTo>
                  <a:pt x="7999659" y="2150829"/>
                </a:lnTo>
                <a:lnTo>
                  <a:pt x="7973380" y="2143573"/>
                </a:lnTo>
                <a:lnTo>
                  <a:pt x="7972185" y="2143573"/>
                </a:lnTo>
                <a:lnTo>
                  <a:pt x="7970990" y="2143573"/>
                </a:lnTo>
                <a:lnTo>
                  <a:pt x="7953073" y="2147720"/>
                </a:lnTo>
                <a:lnTo>
                  <a:pt x="7956656" y="2149793"/>
                </a:lnTo>
                <a:lnTo>
                  <a:pt x="7953073" y="2150829"/>
                </a:lnTo>
                <a:lnTo>
                  <a:pt x="7970990" y="2158085"/>
                </a:lnTo>
                <a:close/>
                <a:moveTo>
                  <a:pt x="8122694" y="2176743"/>
                </a:moveTo>
                <a:lnTo>
                  <a:pt x="8141806" y="2176743"/>
                </a:lnTo>
                <a:lnTo>
                  <a:pt x="8139417" y="2172597"/>
                </a:lnTo>
                <a:lnTo>
                  <a:pt x="8132250" y="2158085"/>
                </a:lnTo>
                <a:lnTo>
                  <a:pt x="8105970" y="2158085"/>
                </a:lnTo>
                <a:lnTo>
                  <a:pt x="8122694" y="2176743"/>
                </a:lnTo>
                <a:close/>
                <a:moveTo>
                  <a:pt x="7666389" y="1642922"/>
                </a:moveTo>
                <a:lnTo>
                  <a:pt x="7631749" y="1634630"/>
                </a:lnTo>
                <a:lnTo>
                  <a:pt x="7631749" y="1700969"/>
                </a:lnTo>
                <a:lnTo>
                  <a:pt x="7615025" y="1691640"/>
                </a:lnTo>
                <a:lnTo>
                  <a:pt x="7632943" y="1743467"/>
                </a:lnTo>
                <a:lnTo>
                  <a:pt x="7658028" y="1748650"/>
                </a:lnTo>
                <a:lnTo>
                  <a:pt x="7649667" y="1769381"/>
                </a:lnTo>
                <a:lnTo>
                  <a:pt x="7668779" y="1774564"/>
                </a:lnTo>
                <a:lnTo>
                  <a:pt x="7648472" y="1772491"/>
                </a:lnTo>
                <a:lnTo>
                  <a:pt x="7678335" y="1813952"/>
                </a:lnTo>
                <a:lnTo>
                  <a:pt x="7690280" y="1799441"/>
                </a:lnTo>
                <a:lnTo>
                  <a:pt x="7686696" y="1784929"/>
                </a:lnTo>
                <a:lnTo>
                  <a:pt x="7675945" y="1775600"/>
                </a:lnTo>
                <a:lnTo>
                  <a:pt x="7672362" y="1775600"/>
                </a:lnTo>
                <a:lnTo>
                  <a:pt x="7685502" y="1768344"/>
                </a:lnTo>
                <a:lnTo>
                  <a:pt x="7726115" y="1793221"/>
                </a:lnTo>
                <a:lnTo>
                  <a:pt x="7717753" y="1776637"/>
                </a:lnTo>
                <a:lnTo>
                  <a:pt x="7734477" y="1790112"/>
                </a:lnTo>
                <a:lnTo>
                  <a:pt x="7767923" y="1797367"/>
                </a:lnTo>
                <a:lnTo>
                  <a:pt x="7745228" y="1769381"/>
                </a:lnTo>
                <a:lnTo>
                  <a:pt x="7767923" y="1769381"/>
                </a:lnTo>
                <a:lnTo>
                  <a:pt x="7717753" y="1753833"/>
                </a:lnTo>
                <a:lnTo>
                  <a:pt x="7703420" y="1759016"/>
                </a:lnTo>
                <a:lnTo>
                  <a:pt x="7701031" y="1756942"/>
                </a:lnTo>
                <a:lnTo>
                  <a:pt x="7702225" y="1759016"/>
                </a:lnTo>
                <a:lnTo>
                  <a:pt x="7697447" y="1761088"/>
                </a:lnTo>
                <a:lnTo>
                  <a:pt x="7687891" y="1756942"/>
                </a:lnTo>
                <a:lnTo>
                  <a:pt x="7671168" y="1724809"/>
                </a:lnTo>
                <a:lnTo>
                  <a:pt x="7695058" y="1677128"/>
                </a:lnTo>
                <a:lnTo>
                  <a:pt x="7683113" y="1666763"/>
                </a:lnTo>
                <a:lnTo>
                  <a:pt x="7683113" y="1631520"/>
                </a:lnTo>
                <a:lnTo>
                  <a:pt x="7666389" y="1642922"/>
                </a:lnTo>
                <a:close/>
                <a:moveTo>
                  <a:pt x="7574412" y="1916570"/>
                </a:moveTo>
                <a:lnTo>
                  <a:pt x="7641305" y="1855414"/>
                </a:lnTo>
                <a:lnTo>
                  <a:pt x="7628165" y="1825354"/>
                </a:lnTo>
                <a:lnTo>
                  <a:pt x="7619804" y="1853341"/>
                </a:lnTo>
                <a:lnTo>
                  <a:pt x="7569634" y="1912424"/>
                </a:lnTo>
                <a:lnTo>
                  <a:pt x="7574412" y="1916570"/>
                </a:lnTo>
                <a:close/>
                <a:moveTo>
                  <a:pt x="7693863" y="1816025"/>
                </a:moveTo>
                <a:lnTo>
                  <a:pt x="7701031" y="1857487"/>
                </a:lnTo>
                <a:lnTo>
                  <a:pt x="7724921" y="1859560"/>
                </a:lnTo>
                <a:lnTo>
                  <a:pt x="7724921" y="1870962"/>
                </a:lnTo>
                <a:lnTo>
                  <a:pt x="7714170" y="1874072"/>
                </a:lnTo>
                <a:lnTo>
                  <a:pt x="7736866" y="1903095"/>
                </a:lnTo>
                <a:lnTo>
                  <a:pt x="7750005" y="1891693"/>
                </a:lnTo>
                <a:lnTo>
                  <a:pt x="7746422" y="1881328"/>
                </a:lnTo>
                <a:lnTo>
                  <a:pt x="7750005" y="1883401"/>
                </a:lnTo>
                <a:lnTo>
                  <a:pt x="7757173" y="1877182"/>
                </a:lnTo>
                <a:lnTo>
                  <a:pt x="7759561" y="1882364"/>
                </a:lnTo>
                <a:lnTo>
                  <a:pt x="7782257" y="1882364"/>
                </a:lnTo>
                <a:lnTo>
                  <a:pt x="7782257" y="1866816"/>
                </a:lnTo>
                <a:lnTo>
                  <a:pt x="7804953" y="1863706"/>
                </a:lnTo>
                <a:lnTo>
                  <a:pt x="7793008" y="1840902"/>
                </a:lnTo>
                <a:lnTo>
                  <a:pt x="7816899" y="1840902"/>
                </a:lnTo>
                <a:lnTo>
                  <a:pt x="7802564" y="1810843"/>
                </a:lnTo>
                <a:lnTo>
                  <a:pt x="7793008" y="1796331"/>
                </a:lnTo>
                <a:lnTo>
                  <a:pt x="7757173" y="1796331"/>
                </a:lnTo>
                <a:lnTo>
                  <a:pt x="7784647" y="1820172"/>
                </a:lnTo>
                <a:lnTo>
                  <a:pt x="7781063" y="1827427"/>
                </a:lnTo>
                <a:lnTo>
                  <a:pt x="7767923" y="1824318"/>
                </a:lnTo>
                <a:lnTo>
                  <a:pt x="7767923" y="1846085"/>
                </a:lnTo>
                <a:lnTo>
                  <a:pt x="7779868" y="1846085"/>
                </a:lnTo>
                <a:lnTo>
                  <a:pt x="7779868" y="1866816"/>
                </a:lnTo>
                <a:lnTo>
                  <a:pt x="7764340" y="1866816"/>
                </a:lnTo>
                <a:lnTo>
                  <a:pt x="7760756" y="1829500"/>
                </a:lnTo>
                <a:lnTo>
                  <a:pt x="7746422" y="1850231"/>
                </a:lnTo>
                <a:lnTo>
                  <a:pt x="7733283" y="1824318"/>
                </a:lnTo>
                <a:lnTo>
                  <a:pt x="7718948" y="1824318"/>
                </a:lnTo>
                <a:lnTo>
                  <a:pt x="7718948" y="1817062"/>
                </a:lnTo>
                <a:lnTo>
                  <a:pt x="7693863" y="1816025"/>
                </a:lnTo>
                <a:close/>
                <a:moveTo>
                  <a:pt x="7819287" y="1946630"/>
                </a:moveTo>
                <a:lnTo>
                  <a:pt x="7837205" y="1975653"/>
                </a:lnTo>
                <a:lnTo>
                  <a:pt x="7849150" y="1945593"/>
                </a:lnTo>
                <a:lnTo>
                  <a:pt x="7837205" y="1895839"/>
                </a:lnTo>
                <a:lnTo>
                  <a:pt x="7837205" y="1894803"/>
                </a:lnTo>
                <a:lnTo>
                  <a:pt x="7800175" y="1865779"/>
                </a:lnTo>
                <a:lnTo>
                  <a:pt x="7803759" y="1891693"/>
                </a:lnTo>
                <a:lnTo>
                  <a:pt x="7797786" y="1893766"/>
                </a:lnTo>
                <a:lnTo>
                  <a:pt x="7787036" y="1890656"/>
                </a:lnTo>
                <a:lnTo>
                  <a:pt x="7783452" y="1905168"/>
                </a:lnTo>
                <a:lnTo>
                  <a:pt x="7764340" y="1915533"/>
                </a:lnTo>
                <a:lnTo>
                  <a:pt x="7761951" y="1904132"/>
                </a:lnTo>
                <a:lnTo>
                  <a:pt x="7738060" y="1904132"/>
                </a:lnTo>
                <a:lnTo>
                  <a:pt x="7705808" y="1925899"/>
                </a:lnTo>
                <a:lnTo>
                  <a:pt x="7705808" y="1945593"/>
                </a:lnTo>
                <a:lnTo>
                  <a:pt x="7715365" y="1958032"/>
                </a:lnTo>
                <a:lnTo>
                  <a:pt x="7726115" y="1931082"/>
                </a:lnTo>
                <a:lnTo>
                  <a:pt x="7727310" y="1930045"/>
                </a:lnTo>
                <a:lnTo>
                  <a:pt x="7730893" y="1943520"/>
                </a:lnTo>
                <a:lnTo>
                  <a:pt x="7757173" y="1929009"/>
                </a:lnTo>
                <a:lnTo>
                  <a:pt x="7764340" y="1933155"/>
                </a:lnTo>
                <a:lnTo>
                  <a:pt x="7772701" y="1940411"/>
                </a:lnTo>
                <a:lnTo>
                  <a:pt x="7766729" y="1964251"/>
                </a:lnTo>
                <a:lnTo>
                  <a:pt x="7815704" y="1990165"/>
                </a:lnTo>
                <a:lnTo>
                  <a:pt x="7827649" y="1973580"/>
                </a:lnTo>
                <a:lnTo>
                  <a:pt x="7813314" y="1955959"/>
                </a:lnTo>
                <a:lnTo>
                  <a:pt x="7818093" y="1951813"/>
                </a:lnTo>
                <a:lnTo>
                  <a:pt x="7819287" y="1946630"/>
                </a:lnTo>
                <a:close/>
                <a:moveTo>
                  <a:pt x="8504938" y="2316676"/>
                </a:moveTo>
                <a:lnTo>
                  <a:pt x="8545552" y="2316676"/>
                </a:lnTo>
                <a:lnTo>
                  <a:pt x="8588554" y="2298019"/>
                </a:lnTo>
                <a:lnTo>
                  <a:pt x="8604082" y="2270032"/>
                </a:lnTo>
                <a:lnTo>
                  <a:pt x="8596916" y="2257593"/>
                </a:lnTo>
                <a:lnTo>
                  <a:pt x="8570636" y="2257593"/>
                </a:lnTo>
                <a:lnTo>
                  <a:pt x="8573025" y="2276251"/>
                </a:lnTo>
                <a:lnTo>
                  <a:pt x="8564664" y="2276251"/>
                </a:lnTo>
                <a:lnTo>
                  <a:pt x="8550329" y="2291799"/>
                </a:lnTo>
                <a:lnTo>
                  <a:pt x="8469103" y="2291799"/>
                </a:lnTo>
                <a:lnTo>
                  <a:pt x="8504938" y="2316676"/>
                </a:lnTo>
                <a:close/>
                <a:moveTo>
                  <a:pt x="8593332" y="2243082"/>
                </a:moveTo>
                <a:lnTo>
                  <a:pt x="8622000" y="2285580"/>
                </a:lnTo>
                <a:lnTo>
                  <a:pt x="8625584" y="2250337"/>
                </a:lnTo>
                <a:lnTo>
                  <a:pt x="8578998" y="2218205"/>
                </a:lnTo>
                <a:lnTo>
                  <a:pt x="8541968" y="2208876"/>
                </a:lnTo>
                <a:lnTo>
                  <a:pt x="8593332" y="2243082"/>
                </a:lnTo>
                <a:close/>
                <a:moveTo>
                  <a:pt x="8708005" y="2326005"/>
                </a:moveTo>
                <a:lnTo>
                  <a:pt x="8681726" y="2290763"/>
                </a:lnTo>
                <a:lnTo>
                  <a:pt x="8663808" y="2290763"/>
                </a:lnTo>
                <a:lnTo>
                  <a:pt x="8687698" y="2333261"/>
                </a:lnTo>
                <a:lnTo>
                  <a:pt x="8708005" y="2326005"/>
                </a:lnTo>
                <a:close/>
                <a:moveTo>
                  <a:pt x="8737868" y="2344663"/>
                </a:moveTo>
                <a:lnTo>
                  <a:pt x="8741452" y="2340517"/>
                </a:lnTo>
                <a:lnTo>
                  <a:pt x="8711589" y="2321859"/>
                </a:lnTo>
                <a:lnTo>
                  <a:pt x="8708005" y="2326005"/>
                </a:lnTo>
                <a:lnTo>
                  <a:pt x="8737868" y="2344663"/>
                </a:lnTo>
                <a:close/>
                <a:moveTo>
                  <a:pt x="8748619" y="2374723"/>
                </a:moveTo>
                <a:lnTo>
                  <a:pt x="8753397" y="2371613"/>
                </a:lnTo>
                <a:lnTo>
                  <a:pt x="8741452" y="2356065"/>
                </a:lnTo>
                <a:lnTo>
                  <a:pt x="8736674" y="2359175"/>
                </a:lnTo>
                <a:lnTo>
                  <a:pt x="8748619" y="2374723"/>
                </a:lnTo>
                <a:close/>
                <a:moveTo>
                  <a:pt x="8807150" y="2369540"/>
                </a:moveTo>
                <a:lnTo>
                  <a:pt x="8780870" y="2348809"/>
                </a:lnTo>
                <a:lnTo>
                  <a:pt x="8777287" y="2352955"/>
                </a:lnTo>
                <a:lnTo>
                  <a:pt x="8803566" y="2373686"/>
                </a:lnTo>
                <a:lnTo>
                  <a:pt x="8807150" y="2369540"/>
                </a:lnTo>
                <a:close/>
                <a:moveTo>
                  <a:pt x="8834623" y="2371613"/>
                </a:moveTo>
                <a:lnTo>
                  <a:pt x="8848958" y="2407892"/>
                </a:lnTo>
                <a:lnTo>
                  <a:pt x="8854930" y="2405819"/>
                </a:lnTo>
                <a:lnTo>
                  <a:pt x="8840596" y="2369540"/>
                </a:lnTo>
                <a:lnTo>
                  <a:pt x="8834623" y="2371613"/>
                </a:lnTo>
                <a:close/>
                <a:moveTo>
                  <a:pt x="8796400" y="2420331"/>
                </a:moveTo>
                <a:lnTo>
                  <a:pt x="8826262" y="2423440"/>
                </a:lnTo>
                <a:lnTo>
                  <a:pt x="8826262" y="2423440"/>
                </a:lnTo>
                <a:lnTo>
                  <a:pt x="8826262" y="2423440"/>
                </a:lnTo>
                <a:lnTo>
                  <a:pt x="8827457" y="2422404"/>
                </a:lnTo>
                <a:lnTo>
                  <a:pt x="8844180" y="2412038"/>
                </a:lnTo>
                <a:lnTo>
                  <a:pt x="8840596" y="2411002"/>
                </a:lnTo>
                <a:lnTo>
                  <a:pt x="8842985" y="2408929"/>
                </a:lnTo>
                <a:lnTo>
                  <a:pt x="8796400" y="2397527"/>
                </a:lnTo>
                <a:lnTo>
                  <a:pt x="8791621" y="2396490"/>
                </a:lnTo>
                <a:lnTo>
                  <a:pt x="8791621" y="2396490"/>
                </a:lnTo>
                <a:lnTo>
                  <a:pt x="8791621" y="2396490"/>
                </a:lnTo>
                <a:lnTo>
                  <a:pt x="8796400" y="2420331"/>
                </a:lnTo>
                <a:close/>
                <a:moveTo>
                  <a:pt x="7978158" y="2462829"/>
                </a:moveTo>
                <a:lnTo>
                  <a:pt x="7969796" y="2449354"/>
                </a:lnTo>
                <a:lnTo>
                  <a:pt x="7938738" y="2449354"/>
                </a:lnTo>
                <a:lnTo>
                  <a:pt x="7931572" y="2472158"/>
                </a:lnTo>
                <a:lnTo>
                  <a:pt x="7960240" y="2475267"/>
                </a:lnTo>
                <a:lnTo>
                  <a:pt x="7978158" y="2462829"/>
                </a:lnTo>
                <a:close/>
                <a:moveTo>
                  <a:pt x="7806148" y="2396490"/>
                </a:moveTo>
                <a:lnTo>
                  <a:pt x="7871846" y="2369540"/>
                </a:lnTo>
                <a:lnTo>
                  <a:pt x="7827649" y="2366430"/>
                </a:lnTo>
                <a:lnTo>
                  <a:pt x="7796592" y="2375759"/>
                </a:lnTo>
                <a:lnTo>
                  <a:pt x="7796592" y="2374723"/>
                </a:lnTo>
                <a:lnTo>
                  <a:pt x="7794203" y="2375759"/>
                </a:lnTo>
                <a:lnTo>
                  <a:pt x="7791813" y="2376796"/>
                </a:lnTo>
                <a:lnTo>
                  <a:pt x="7791813" y="2377832"/>
                </a:lnTo>
                <a:lnTo>
                  <a:pt x="7757173" y="2397527"/>
                </a:lnTo>
                <a:lnTo>
                  <a:pt x="7739255" y="2431733"/>
                </a:lnTo>
                <a:lnTo>
                  <a:pt x="7775091" y="2422404"/>
                </a:lnTo>
                <a:lnTo>
                  <a:pt x="7806148" y="2396490"/>
                </a:lnTo>
                <a:close/>
                <a:moveTo>
                  <a:pt x="3888142" y="165847"/>
                </a:moveTo>
                <a:lnTo>
                  <a:pt x="3920394" y="165847"/>
                </a:lnTo>
                <a:lnTo>
                  <a:pt x="3894115" y="154445"/>
                </a:lnTo>
                <a:lnTo>
                  <a:pt x="3888142" y="165847"/>
                </a:lnTo>
                <a:close/>
                <a:moveTo>
                  <a:pt x="4893923" y="1071787"/>
                </a:moveTo>
                <a:lnTo>
                  <a:pt x="4883172" y="1066604"/>
                </a:lnTo>
                <a:lnTo>
                  <a:pt x="4880784" y="1070750"/>
                </a:lnTo>
                <a:lnTo>
                  <a:pt x="4891534" y="1075933"/>
                </a:lnTo>
                <a:lnTo>
                  <a:pt x="4893923" y="1071787"/>
                </a:lnTo>
                <a:close/>
                <a:moveTo>
                  <a:pt x="3759135" y="281940"/>
                </a:moveTo>
                <a:lnTo>
                  <a:pt x="3784220" y="270538"/>
                </a:lnTo>
                <a:lnTo>
                  <a:pt x="3750773" y="263282"/>
                </a:lnTo>
                <a:lnTo>
                  <a:pt x="3792581" y="263282"/>
                </a:lnTo>
                <a:lnTo>
                  <a:pt x="3803332" y="241515"/>
                </a:lnTo>
                <a:lnTo>
                  <a:pt x="3769886" y="222857"/>
                </a:lnTo>
                <a:lnTo>
                  <a:pt x="3802137" y="230113"/>
                </a:lnTo>
                <a:lnTo>
                  <a:pt x="3816472" y="204199"/>
                </a:lnTo>
                <a:lnTo>
                  <a:pt x="3849918" y="197980"/>
                </a:lnTo>
                <a:lnTo>
                  <a:pt x="3859474" y="186578"/>
                </a:lnTo>
                <a:lnTo>
                  <a:pt x="3845140" y="183468"/>
                </a:lnTo>
                <a:lnTo>
                  <a:pt x="3879781" y="180359"/>
                </a:lnTo>
                <a:lnTo>
                  <a:pt x="3900088" y="167920"/>
                </a:lnTo>
                <a:lnTo>
                  <a:pt x="3870225" y="167920"/>
                </a:lnTo>
                <a:lnTo>
                  <a:pt x="3890532" y="150299"/>
                </a:lnTo>
                <a:lnTo>
                  <a:pt x="3879781" y="134751"/>
                </a:lnTo>
                <a:lnTo>
                  <a:pt x="3855890" y="134751"/>
                </a:lnTo>
                <a:lnTo>
                  <a:pt x="3857085" y="131641"/>
                </a:lnTo>
                <a:lnTo>
                  <a:pt x="3919200" y="129568"/>
                </a:lnTo>
                <a:lnTo>
                  <a:pt x="3927561" y="122312"/>
                </a:lnTo>
                <a:lnTo>
                  <a:pt x="3906060" y="103654"/>
                </a:lnTo>
                <a:lnTo>
                  <a:pt x="3920394" y="94326"/>
                </a:lnTo>
                <a:lnTo>
                  <a:pt x="3918005" y="84997"/>
                </a:lnTo>
                <a:lnTo>
                  <a:pt x="3995649" y="60120"/>
                </a:lnTo>
                <a:lnTo>
                  <a:pt x="4092404" y="38352"/>
                </a:lnTo>
                <a:lnTo>
                  <a:pt x="3994454" y="29023"/>
                </a:lnTo>
                <a:lnTo>
                  <a:pt x="3875003" y="42498"/>
                </a:lnTo>
                <a:lnTo>
                  <a:pt x="3914422" y="32133"/>
                </a:lnTo>
                <a:lnTo>
                  <a:pt x="3907255" y="25914"/>
                </a:lnTo>
                <a:lnTo>
                  <a:pt x="3858280" y="30060"/>
                </a:lnTo>
                <a:lnTo>
                  <a:pt x="3961008" y="18658"/>
                </a:lnTo>
                <a:lnTo>
                  <a:pt x="3822444" y="0"/>
                </a:lnTo>
                <a:lnTo>
                  <a:pt x="3529788" y="5183"/>
                </a:lnTo>
                <a:lnTo>
                  <a:pt x="3386447" y="25914"/>
                </a:lnTo>
                <a:lnTo>
                  <a:pt x="3335083" y="20731"/>
                </a:lnTo>
                <a:lnTo>
                  <a:pt x="3182185" y="31096"/>
                </a:lnTo>
                <a:lnTo>
                  <a:pt x="3189352" y="37316"/>
                </a:lnTo>
                <a:lnTo>
                  <a:pt x="3180990" y="39389"/>
                </a:lnTo>
                <a:lnTo>
                  <a:pt x="3143960" y="39389"/>
                </a:lnTo>
                <a:lnTo>
                  <a:pt x="3025703" y="62193"/>
                </a:lnTo>
                <a:lnTo>
                  <a:pt x="3097374" y="62193"/>
                </a:lnTo>
                <a:lnTo>
                  <a:pt x="3097374" y="65302"/>
                </a:lnTo>
                <a:lnTo>
                  <a:pt x="3063928" y="74631"/>
                </a:lnTo>
                <a:lnTo>
                  <a:pt x="2926559" y="84997"/>
                </a:lnTo>
                <a:lnTo>
                  <a:pt x="2889529" y="102618"/>
                </a:lnTo>
                <a:lnTo>
                  <a:pt x="2944477" y="105727"/>
                </a:lnTo>
                <a:lnTo>
                  <a:pt x="2944477" y="110910"/>
                </a:lnTo>
                <a:lnTo>
                  <a:pt x="2954033" y="112983"/>
                </a:lnTo>
                <a:lnTo>
                  <a:pt x="2895501" y="120239"/>
                </a:lnTo>
                <a:lnTo>
                  <a:pt x="2927753" y="128531"/>
                </a:lnTo>
                <a:lnTo>
                  <a:pt x="2919392" y="128531"/>
                </a:lnTo>
                <a:lnTo>
                  <a:pt x="2934921" y="142007"/>
                </a:lnTo>
                <a:lnTo>
                  <a:pt x="3069900" y="138897"/>
                </a:lnTo>
                <a:lnTo>
                  <a:pt x="3118876" y="150299"/>
                </a:lnTo>
                <a:lnTo>
                  <a:pt x="3114098" y="156518"/>
                </a:lnTo>
                <a:lnTo>
                  <a:pt x="3135599" y="175176"/>
                </a:lnTo>
                <a:lnTo>
                  <a:pt x="3129626" y="182432"/>
                </a:lnTo>
                <a:lnTo>
                  <a:pt x="3135599" y="189688"/>
                </a:lnTo>
                <a:lnTo>
                  <a:pt x="3115292" y="212492"/>
                </a:lnTo>
                <a:lnTo>
                  <a:pt x="3117681" y="224930"/>
                </a:lnTo>
                <a:lnTo>
                  <a:pt x="3094985" y="235295"/>
                </a:lnTo>
                <a:lnTo>
                  <a:pt x="3140377" y="244624"/>
                </a:lnTo>
                <a:lnTo>
                  <a:pt x="3152322" y="238405"/>
                </a:lnTo>
                <a:lnTo>
                  <a:pt x="3154711" y="246698"/>
                </a:lnTo>
                <a:lnTo>
                  <a:pt x="3178601" y="251880"/>
                </a:lnTo>
                <a:lnTo>
                  <a:pt x="3178601" y="257063"/>
                </a:lnTo>
                <a:lnTo>
                  <a:pt x="3121264" y="251880"/>
                </a:lnTo>
                <a:lnTo>
                  <a:pt x="3084235" y="277794"/>
                </a:lnTo>
                <a:lnTo>
                  <a:pt x="3110514" y="290232"/>
                </a:lnTo>
                <a:lnTo>
                  <a:pt x="3167851" y="277794"/>
                </a:lnTo>
                <a:lnTo>
                  <a:pt x="3170240" y="287123"/>
                </a:lnTo>
                <a:lnTo>
                  <a:pt x="3154711" y="300598"/>
                </a:lnTo>
                <a:lnTo>
                  <a:pt x="3118876" y="300598"/>
                </a:lnTo>
                <a:lnTo>
                  <a:pt x="3099763" y="315109"/>
                </a:lnTo>
                <a:lnTo>
                  <a:pt x="3055566" y="366937"/>
                </a:lnTo>
                <a:lnTo>
                  <a:pt x="3077068" y="377302"/>
                </a:lnTo>
                <a:lnTo>
                  <a:pt x="3068706" y="408398"/>
                </a:lnTo>
                <a:lnTo>
                  <a:pt x="3078262" y="413581"/>
                </a:lnTo>
                <a:lnTo>
                  <a:pt x="3078262" y="422910"/>
                </a:lnTo>
                <a:lnTo>
                  <a:pt x="3096180" y="477847"/>
                </a:lnTo>
                <a:lnTo>
                  <a:pt x="3109319" y="495468"/>
                </a:lnTo>
                <a:lnTo>
                  <a:pt x="3160684" y="503761"/>
                </a:lnTo>
                <a:lnTo>
                  <a:pt x="3196519" y="519309"/>
                </a:lnTo>
                <a:lnTo>
                  <a:pt x="3216826" y="516199"/>
                </a:lnTo>
                <a:lnTo>
                  <a:pt x="3269384" y="463335"/>
                </a:lnTo>
                <a:lnTo>
                  <a:pt x="3269384" y="448824"/>
                </a:lnTo>
                <a:lnTo>
                  <a:pt x="3315970" y="431202"/>
                </a:lnTo>
                <a:lnTo>
                  <a:pt x="3335083" y="403216"/>
                </a:lnTo>
                <a:lnTo>
                  <a:pt x="3330304" y="390777"/>
                </a:lnTo>
                <a:lnTo>
                  <a:pt x="3350611" y="392850"/>
                </a:lnTo>
                <a:lnTo>
                  <a:pt x="3362556" y="379375"/>
                </a:lnTo>
                <a:lnTo>
                  <a:pt x="3456923" y="369010"/>
                </a:lnTo>
                <a:lnTo>
                  <a:pt x="3553679" y="322365"/>
                </a:lnTo>
                <a:lnTo>
                  <a:pt x="3691048" y="303707"/>
                </a:lnTo>
                <a:lnTo>
                  <a:pt x="3759135" y="281940"/>
                </a:lnTo>
                <a:close/>
                <a:moveTo>
                  <a:pt x="3722105" y="248771"/>
                </a:moveTo>
                <a:lnTo>
                  <a:pt x="3740023" y="248771"/>
                </a:lnTo>
                <a:lnTo>
                  <a:pt x="3742412" y="262246"/>
                </a:lnTo>
                <a:lnTo>
                  <a:pt x="3724494" y="258099"/>
                </a:lnTo>
                <a:lnTo>
                  <a:pt x="3722105" y="259136"/>
                </a:lnTo>
                <a:lnTo>
                  <a:pt x="3722105" y="248771"/>
                </a:lnTo>
                <a:close/>
                <a:moveTo>
                  <a:pt x="5603464" y="2500145"/>
                </a:moveTo>
                <a:lnTo>
                  <a:pt x="5581963" y="2466975"/>
                </a:lnTo>
                <a:lnTo>
                  <a:pt x="5570018" y="2487706"/>
                </a:lnTo>
                <a:lnTo>
                  <a:pt x="5564045" y="2509473"/>
                </a:lnTo>
                <a:lnTo>
                  <a:pt x="5540155" y="2514656"/>
                </a:lnTo>
                <a:lnTo>
                  <a:pt x="5540155" y="2514656"/>
                </a:lnTo>
                <a:lnTo>
                  <a:pt x="5540155" y="2514656"/>
                </a:lnTo>
                <a:lnTo>
                  <a:pt x="5540155" y="2515693"/>
                </a:lnTo>
                <a:lnTo>
                  <a:pt x="5531794" y="2545753"/>
                </a:lnTo>
                <a:lnTo>
                  <a:pt x="5441010" y="2584104"/>
                </a:lnTo>
                <a:lnTo>
                  <a:pt x="5441010" y="2584104"/>
                </a:lnTo>
                <a:lnTo>
                  <a:pt x="5439816" y="2584104"/>
                </a:lnTo>
                <a:lnTo>
                  <a:pt x="5439816" y="2584104"/>
                </a:lnTo>
                <a:lnTo>
                  <a:pt x="5439816" y="2584104"/>
                </a:lnTo>
                <a:lnTo>
                  <a:pt x="5420704" y="2621420"/>
                </a:lnTo>
                <a:lnTo>
                  <a:pt x="5429065" y="2690869"/>
                </a:lnTo>
                <a:lnTo>
                  <a:pt x="5396813" y="2741659"/>
                </a:lnTo>
                <a:lnTo>
                  <a:pt x="5396813" y="2742696"/>
                </a:lnTo>
                <a:lnTo>
                  <a:pt x="5396813" y="2742696"/>
                </a:lnTo>
                <a:lnTo>
                  <a:pt x="5396813" y="2742696"/>
                </a:lnTo>
                <a:lnTo>
                  <a:pt x="5396813" y="2743733"/>
                </a:lnTo>
                <a:lnTo>
                  <a:pt x="5402786" y="2814217"/>
                </a:lnTo>
                <a:lnTo>
                  <a:pt x="5424287" y="2835985"/>
                </a:lnTo>
                <a:lnTo>
                  <a:pt x="5436232" y="2843241"/>
                </a:lnTo>
                <a:lnTo>
                  <a:pt x="5437427" y="2844277"/>
                </a:lnTo>
                <a:lnTo>
                  <a:pt x="5437427" y="2844277"/>
                </a:lnTo>
                <a:lnTo>
                  <a:pt x="5437427" y="2844277"/>
                </a:lnTo>
                <a:lnTo>
                  <a:pt x="5493569" y="2833912"/>
                </a:lnTo>
                <a:lnTo>
                  <a:pt x="5493569" y="2832875"/>
                </a:lnTo>
                <a:lnTo>
                  <a:pt x="5505514" y="2820437"/>
                </a:lnTo>
                <a:lnTo>
                  <a:pt x="5577185" y="2650444"/>
                </a:lnTo>
                <a:lnTo>
                  <a:pt x="5593908" y="2575812"/>
                </a:lnTo>
                <a:lnTo>
                  <a:pt x="5601075" y="2584104"/>
                </a:lnTo>
                <a:lnTo>
                  <a:pt x="5616604" y="2567520"/>
                </a:lnTo>
                <a:lnTo>
                  <a:pt x="5616604" y="2565447"/>
                </a:lnTo>
                <a:lnTo>
                  <a:pt x="5616604" y="2565447"/>
                </a:lnTo>
                <a:lnTo>
                  <a:pt x="5603464" y="2500145"/>
                </a:lnTo>
                <a:close/>
                <a:moveTo>
                  <a:pt x="5738444" y="2732330"/>
                </a:moveTo>
                <a:lnTo>
                  <a:pt x="5776669" y="2723002"/>
                </a:lnTo>
                <a:lnTo>
                  <a:pt x="5738444" y="2717819"/>
                </a:lnTo>
                <a:lnTo>
                  <a:pt x="5738444" y="2732330"/>
                </a:lnTo>
                <a:close/>
                <a:moveTo>
                  <a:pt x="5742028" y="1798404"/>
                </a:moveTo>
                <a:lnTo>
                  <a:pt x="5713359" y="1793221"/>
                </a:lnTo>
                <a:lnTo>
                  <a:pt x="5713359" y="1793221"/>
                </a:lnTo>
                <a:lnTo>
                  <a:pt x="5710971" y="1793221"/>
                </a:lnTo>
                <a:lnTo>
                  <a:pt x="5703803" y="1802550"/>
                </a:lnTo>
                <a:lnTo>
                  <a:pt x="5700220" y="1805660"/>
                </a:lnTo>
                <a:lnTo>
                  <a:pt x="5701414" y="1805660"/>
                </a:lnTo>
                <a:lnTo>
                  <a:pt x="5701414" y="1805660"/>
                </a:lnTo>
                <a:lnTo>
                  <a:pt x="5727694" y="1811879"/>
                </a:lnTo>
                <a:lnTo>
                  <a:pt x="5750389" y="1800477"/>
                </a:lnTo>
                <a:lnTo>
                  <a:pt x="5742028" y="1798404"/>
                </a:lnTo>
                <a:close/>
                <a:moveTo>
                  <a:pt x="4407756" y="2039919"/>
                </a:moveTo>
                <a:lnTo>
                  <a:pt x="4405367" y="2038882"/>
                </a:lnTo>
                <a:lnTo>
                  <a:pt x="4405367" y="2038882"/>
                </a:lnTo>
                <a:lnTo>
                  <a:pt x="4405367" y="2038882"/>
                </a:lnTo>
                <a:lnTo>
                  <a:pt x="4397005" y="2050284"/>
                </a:lnTo>
                <a:lnTo>
                  <a:pt x="4411339" y="2058577"/>
                </a:lnTo>
                <a:lnTo>
                  <a:pt x="4412534" y="2056504"/>
                </a:lnTo>
                <a:lnTo>
                  <a:pt x="4419701" y="2047175"/>
                </a:lnTo>
                <a:lnTo>
                  <a:pt x="4418507" y="2046138"/>
                </a:lnTo>
                <a:lnTo>
                  <a:pt x="4419701" y="2044065"/>
                </a:lnTo>
                <a:lnTo>
                  <a:pt x="4407756" y="2039919"/>
                </a:lnTo>
                <a:close/>
                <a:moveTo>
                  <a:pt x="6132634" y="88106"/>
                </a:moveTo>
                <a:lnTo>
                  <a:pt x="6132634" y="106764"/>
                </a:lnTo>
                <a:lnTo>
                  <a:pt x="6237751" y="98472"/>
                </a:lnTo>
                <a:lnTo>
                  <a:pt x="6217444" y="80850"/>
                </a:lnTo>
                <a:lnTo>
                  <a:pt x="6149357" y="67375"/>
                </a:lnTo>
                <a:lnTo>
                  <a:pt x="6131439" y="76704"/>
                </a:lnTo>
                <a:lnTo>
                  <a:pt x="6131439" y="86033"/>
                </a:lnTo>
                <a:lnTo>
                  <a:pt x="6107549" y="78777"/>
                </a:lnTo>
                <a:lnTo>
                  <a:pt x="6107549" y="68412"/>
                </a:lnTo>
                <a:lnTo>
                  <a:pt x="5979736" y="36279"/>
                </a:lnTo>
                <a:lnTo>
                  <a:pt x="5978542" y="36279"/>
                </a:lnTo>
                <a:lnTo>
                  <a:pt x="5940317" y="47681"/>
                </a:lnTo>
                <a:lnTo>
                  <a:pt x="5940317" y="50791"/>
                </a:lnTo>
                <a:lnTo>
                  <a:pt x="5921205" y="61156"/>
                </a:lnTo>
                <a:lnTo>
                  <a:pt x="6020350" y="86033"/>
                </a:lnTo>
                <a:lnTo>
                  <a:pt x="6132634" y="88106"/>
                </a:lnTo>
                <a:close/>
                <a:moveTo>
                  <a:pt x="5350227" y="163774"/>
                </a:moveTo>
                <a:lnTo>
                  <a:pt x="5346644" y="182432"/>
                </a:lnTo>
                <a:lnTo>
                  <a:pt x="5325142" y="191761"/>
                </a:lnTo>
                <a:lnTo>
                  <a:pt x="5340671" y="200053"/>
                </a:lnTo>
                <a:lnTo>
                  <a:pt x="5315586" y="214565"/>
                </a:lnTo>
                <a:lnTo>
                  <a:pt x="5323948" y="223894"/>
                </a:lnTo>
                <a:lnTo>
                  <a:pt x="5308419" y="225967"/>
                </a:lnTo>
                <a:lnTo>
                  <a:pt x="5308419" y="240478"/>
                </a:lnTo>
                <a:lnTo>
                  <a:pt x="5363367" y="262246"/>
                </a:lnTo>
                <a:lnTo>
                  <a:pt x="5460123" y="262246"/>
                </a:lnTo>
                <a:lnTo>
                  <a:pt x="5401592" y="241515"/>
                </a:lnTo>
                <a:lnTo>
                  <a:pt x="5384868" y="220784"/>
                </a:lnTo>
                <a:lnTo>
                  <a:pt x="5392035" y="212492"/>
                </a:lnTo>
                <a:lnTo>
                  <a:pt x="5451761" y="168957"/>
                </a:lnTo>
                <a:lnTo>
                  <a:pt x="5587935" y="139933"/>
                </a:lnTo>
                <a:lnTo>
                  <a:pt x="5587935" y="127495"/>
                </a:lnTo>
                <a:lnTo>
                  <a:pt x="5552100" y="122312"/>
                </a:lnTo>
                <a:lnTo>
                  <a:pt x="5516265" y="132678"/>
                </a:lnTo>
                <a:lnTo>
                  <a:pt x="5441010" y="137860"/>
                </a:lnTo>
                <a:lnTo>
                  <a:pt x="5350227" y="163774"/>
                </a:lnTo>
                <a:close/>
                <a:moveTo>
                  <a:pt x="5261833" y="289196"/>
                </a:moveTo>
                <a:lnTo>
                  <a:pt x="5277362" y="305781"/>
                </a:lnTo>
                <a:lnTo>
                  <a:pt x="5307225" y="302671"/>
                </a:lnTo>
                <a:lnTo>
                  <a:pt x="5315586" y="288159"/>
                </a:lnTo>
                <a:lnTo>
                  <a:pt x="5280946" y="281940"/>
                </a:lnTo>
                <a:lnTo>
                  <a:pt x="5261833" y="289196"/>
                </a:lnTo>
                <a:close/>
                <a:moveTo>
                  <a:pt x="5290502" y="62193"/>
                </a:moveTo>
                <a:lnTo>
                  <a:pt x="5386063" y="60120"/>
                </a:lnTo>
                <a:lnTo>
                  <a:pt x="5408758" y="52864"/>
                </a:lnTo>
                <a:lnTo>
                  <a:pt x="5405175" y="51827"/>
                </a:lnTo>
                <a:lnTo>
                  <a:pt x="5454150" y="46644"/>
                </a:lnTo>
                <a:lnTo>
                  <a:pt x="5427871" y="37316"/>
                </a:lnTo>
                <a:lnTo>
                  <a:pt x="5289307" y="58047"/>
                </a:lnTo>
                <a:lnTo>
                  <a:pt x="5290502" y="62193"/>
                </a:lnTo>
                <a:close/>
                <a:moveTo>
                  <a:pt x="5248694" y="49754"/>
                </a:moveTo>
                <a:lnTo>
                  <a:pt x="5329921" y="49754"/>
                </a:lnTo>
                <a:lnTo>
                  <a:pt x="5329921" y="44571"/>
                </a:lnTo>
                <a:lnTo>
                  <a:pt x="5322754" y="43535"/>
                </a:lnTo>
                <a:lnTo>
                  <a:pt x="5334699" y="39389"/>
                </a:lnTo>
                <a:lnTo>
                  <a:pt x="5312003" y="31096"/>
                </a:lnTo>
                <a:lnTo>
                  <a:pt x="5269001" y="37316"/>
                </a:lnTo>
                <a:lnTo>
                  <a:pt x="5274973" y="39389"/>
                </a:lnTo>
                <a:lnTo>
                  <a:pt x="5248694" y="43535"/>
                </a:lnTo>
                <a:lnTo>
                  <a:pt x="5248694" y="49754"/>
                </a:lnTo>
                <a:close/>
                <a:moveTo>
                  <a:pt x="5269001" y="57010"/>
                </a:moveTo>
                <a:lnTo>
                  <a:pt x="5233165" y="57010"/>
                </a:lnTo>
                <a:lnTo>
                  <a:pt x="5233165" y="62193"/>
                </a:lnTo>
                <a:lnTo>
                  <a:pt x="5269001" y="62193"/>
                </a:lnTo>
                <a:lnTo>
                  <a:pt x="5269001" y="57010"/>
                </a:lnTo>
                <a:close/>
                <a:moveTo>
                  <a:pt x="5190163" y="62193"/>
                </a:moveTo>
                <a:lnTo>
                  <a:pt x="5185385" y="58047"/>
                </a:lnTo>
                <a:lnTo>
                  <a:pt x="5212858" y="49754"/>
                </a:lnTo>
                <a:lnTo>
                  <a:pt x="5119686" y="43535"/>
                </a:lnTo>
                <a:lnTo>
                  <a:pt x="5055183" y="51827"/>
                </a:lnTo>
                <a:lnTo>
                  <a:pt x="5153133" y="62193"/>
                </a:lnTo>
                <a:lnTo>
                  <a:pt x="5190163" y="62193"/>
                </a:lnTo>
                <a:close/>
                <a:moveTo>
                  <a:pt x="4822252" y="1166112"/>
                </a:moveTo>
                <a:lnTo>
                  <a:pt x="4822252" y="1166112"/>
                </a:lnTo>
                <a:lnTo>
                  <a:pt x="4822252" y="1166112"/>
                </a:lnTo>
                <a:lnTo>
                  <a:pt x="4821058" y="1168185"/>
                </a:lnTo>
                <a:lnTo>
                  <a:pt x="4817474" y="1178551"/>
                </a:lnTo>
                <a:lnTo>
                  <a:pt x="4818669" y="1178551"/>
                </a:lnTo>
                <a:lnTo>
                  <a:pt x="4817474" y="1181660"/>
                </a:lnTo>
                <a:lnTo>
                  <a:pt x="4858088" y="1186843"/>
                </a:lnTo>
                <a:lnTo>
                  <a:pt x="4859282" y="1186843"/>
                </a:lnTo>
                <a:lnTo>
                  <a:pt x="4880784" y="1185806"/>
                </a:lnTo>
                <a:lnTo>
                  <a:pt x="4880784" y="1185806"/>
                </a:lnTo>
                <a:lnTo>
                  <a:pt x="4881978" y="1184770"/>
                </a:lnTo>
                <a:lnTo>
                  <a:pt x="4898701" y="1183733"/>
                </a:lnTo>
                <a:lnTo>
                  <a:pt x="4898701" y="1172332"/>
                </a:lnTo>
                <a:lnTo>
                  <a:pt x="4895118" y="1174405"/>
                </a:lnTo>
                <a:lnTo>
                  <a:pt x="4886756" y="1176478"/>
                </a:lnTo>
                <a:lnTo>
                  <a:pt x="4886756" y="1171295"/>
                </a:lnTo>
                <a:lnTo>
                  <a:pt x="4822252" y="1166112"/>
                </a:lnTo>
                <a:close/>
                <a:moveTo>
                  <a:pt x="5056377" y="1186843"/>
                </a:moveTo>
                <a:lnTo>
                  <a:pt x="5058766" y="1192026"/>
                </a:lnTo>
                <a:lnTo>
                  <a:pt x="5096991" y="1192026"/>
                </a:lnTo>
                <a:lnTo>
                  <a:pt x="5096991" y="1192026"/>
                </a:lnTo>
                <a:lnTo>
                  <a:pt x="5119686" y="1188916"/>
                </a:lnTo>
                <a:lnTo>
                  <a:pt x="5112519" y="1179587"/>
                </a:lnTo>
                <a:lnTo>
                  <a:pt x="5122075" y="1174405"/>
                </a:lnTo>
                <a:lnTo>
                  <a:pt x="5141187" y="1163003"/>
                </a:lnTo>
                <a:lnTo>
                  <a:pt x="5141187" y="1163003"/>
                </a:lnTo>
                <a:lnTo>
                  <a:pt x="5142382" y="1161966"/>
                </a:lnTo>
                <a:lnTo>
                  <a:pt x="5125659" y="1166112"/>
                </a:lnTo>
                <a:lnTo>
                  <a:pt x="5053988" y="1179587"/>
                </a:lnTo>
                <a:lnTo>
                  <a:pt x="5055183" y="1181660"/>
                </a:lnTo>
                <a:lnTo>
                  <a:pt x="5052793" y="1182697"/>
                </a:lnTo>
                <a:lnTo>
                  <a:pt x="5056377" y="1186843"/>
                </a:lnTo>
                <a:close/>
                <a:moveTo>
                  <a:pt x="3695826" y="1375494"/>
                </a:moveTo>
                <a:lnTo>
                  <a:pt x="3698215" y="1378604"/>
                </a:lnTo>
                <a:lnTo>
                  <a:pt x="3699409" y="1377567"/>
                </a:lnTo>
                <a:lnTo>
                  <a:pt x="3720910" y="1353727"/>
                </a:lnTo>
                <a:lnTo>
                  <a:pt x="3708965" y="1358909"/>
                </a:lnTo>
                <a:lnTo>
                  <a:pt x="3687464" y="1365129"/>
                </a:lnTo>
                <a:lnTo>
                  <a:pt x="3688658" y="1367202"/>
                </a:lnTo>
                <a:lnTo>
                  <a:pt x="3686270" y="1368238"/>
                </a:lnTo>
                <a:lnTo>
                  <a:pt x="3695826" y="1375494"/>
                </a:lnTo>
                <a:close/>
                <a:moveTo>
                  <a:pt x="3737634" y="1380677"/>
                </a:moveTo>
                <a:lnTo>
                  <a:pt x="3732856" y="1368238"/>
                </a:lnTo>
                <a:lnTo>
                  <a:pt x="3713743" y="1372384"/>
                </a:lnTo>
                <a:lnTo>
                  <a:pt x="3723300" y="1384823"/>
                </a:lnTo>
                <a:lnTo>
                  <a:pt x="3737634" y="1380677"/>
                </a:lnTo>
                <a:close/>
                <a:moveTo>
                  <a:pt x="3756746" y="1378604"/>
                </a:moveTo>
                <a:lnTo>
                  <a:pt x="3768691" y="1373421"/>
                </a:lnTo>
                <a:lnTo>
                  <a:pt x="3783025" y="1370312"/>
                </a:lnTo>
                <a:lnTo>
                  <a:pt x="3783025" y="1358909"/>
                </a:lnTo>
                <a:lnTo>
                  <a:pt x="3803332" y="1337142"/>
                </a:lnTo>
                <a:lnTo>
                  <a:pt x="3777053" y="1348544"/>
                </a:lnTo>
                <a:lnTo>
                  <a:pt x="3777053" y="1356836"/>
                </a:lnTo>
                <a:lnTo>
                  <a:pt x="3756746" y="1378604"/>
                </a:lnTo>
                <a:close/>
                <a:moveTo>
                  <a:pt x="3908449" y="409435"/>
                </a:moveTo>
                <a:lnTo>
                  <a:pt x="3931145" y="395960"/>
                </a:lnTo>
                <a:lnTo>
                  <a:pt x="3934728" y="377302"/>
                </a:lnTo>
                <a:lnTo>
                  <a:pt x="3916811" y="372119"/>
                </a:lnTo>
                <a:lnTo>
                  <a:pt x="3916811" y="358644"/>
                </a:lnTo>
                <a:lnTo>
                  <a:pt x="3883364" y="355535"/>
                </a:lnTo>
                <a:lnTo>
                  <a:pt x="3851112" y="365900"/>
                </a:lnTo>
                <a:lnTo>
                  <a:pt x="3802137" y="371083"/>
                </a:lnTo>
                <a:lnTo>
                  <a:pt x="3793776" y="360717"/>
                </a:lnTo>
                <a:lnTo>
                  <a:pt x="3786609" y="377302"/>
                </a:lnTo>
                <a:lnTo>
                  <a:pt x="3766302" y="379375"/>
                </a:lnTo>
                <a:lnTo>
                  <a:pt x="3771080" y="367973"/>
                </a:lnTo>
                <a:lnTo>
                  <a:pt x="3737634" y="356571"/>
                </a:lnTo>
                <a:lnTo>
                  <a:pt x="3689853" y="382485"/>
                </a:lnTo>
                <a:lnTo>
                  <a:pt x="3736439" y="384558"/>
                </a:lnTo>
                <a:lnTo>
                  <a:pt x="3683880" y="403216"/>
                </a:lnTo>
                <a:lnTo>
                  <a:pt x="3730466" y="403216"/>
                </a:lnTo>
                <a:lnTo>
                  <a:pt x="3736439" y="412545"/>
                </a:lnTo>
                <a:lnTo>
                  <a:pt x="3708965" y="422910"/>
                </a:lnTo>
                <a:lnTo>
                  <a:pt x="3809304" y="437422"/>
                </a:lnTo>
                <a:lnTo>
                  <a:pt x="3908449" y="409435"/>
                </a:lnTo>
                <a:close/>
                <a:moveTo>
                  <a:pt x="4515262" y="100545"/>
                </a:moveTo>
                <a:lnTo>
                  <a:pt x="4528402" y="100545"/>
                </a:lnTo>
                <a:lnTo>
                  <a:pt x="4524818" y="101581"/>
                </a:lnTo>
                <a:lnTo>
                  <a:pt x="4528402" y="116093"/>
                </a:lnTo>
                <a:lnTo>
                  <a:pt x="4591711" y="135787"/>
                </a:lnTo>
                <a:lnTo>
                  <a:pt x="4625158" y="96399"/>
                </a:lnTo>
                <a:lnTo>
                  <a:pt x="4650242" y="91216"/>
                </a:lnTo>
                <a:lnTo>
                  <a:pt x="4672938" y="104691"/>
                </a:lnTo>
                <a:lnTo>
                  <a:pt x="4656215" y="116093"/>
                </a:lnTo>
                <a:lnTo>
                  <a:pt x="4699217" y="122312"/>
                </a:lnTo>
                <a:lnTo>
                  <a:pt x="4750582" y="106764"/>
                </a:lnTo>
                <a:lnTo>
                  <a:pt x="4626352" y="76704"/>
                </a:lnTo>
                <a:lnTo>
                  <a:pt x="4625158" y="73595"/>
                </a:lnTo>
                <a:lnTo>
                  <a:pt x="4713552" y="80850"/>
                </a:lnTo>
                <a:lnTo>
                  <a:pt x="4713552" y="80850"/>
                </a:lnTo>
                <a:lnTo>
                  <a:pt x="4769694" y="69448"/>
                </a:lnTo>
                <a:lnTo>
                  <a:pt x="4769694" y="57010"/>
                </a:lnTo>
                <a:lnTo>
                  <a:pt x="4638297" y="48718"/>
                </a:lnTo>
                <a:lnTo>
                  <a:pt x="4560654" y="67375"/>
                </a:lnTo>
                <a:lnTo>
                  <a:pt x="4472260" y="64266"/>
                </a:lnTo>
                <a:lnTo>
                  <a:pt x="4486594" y="90179"/>
                </a:lnTo>
                <a:lnTo>
                  <a:pt x="4515262" y="100545"/>
                </a:lnTo>
                <a:close/>
                <a:moveTo>
                  <a:pt x="4193938" y="505834"/>
                </a:moveTo>
                <a:lnTo>
                  <a:pt x="4178409" y="513089"/>
                </a:lnTo>
                <a:lnTo>
                  <a:pt x="4193938" y="520345"/>
                </a:lnTo>
                <a:lnTo>
                  <a:pt x="4193938" y="505834"/>
                </a:lnTo>
                <a:close/>
                <a:moveTo>
                  <a:pt x="4149741" y="548332"/>
                </a:moveTo>
                <a:lnTo>
                  <a:pt x="4149741" y="548332"/>
                </a:lnTo>
                <a:lnTo>
                  <a:pt x="4152130" y="550405"/>
                </a:lnTo>
                <a:lnTo>
                  <a:pt x="4156908" y="547295"/>
                </a:lnTo>
                <a:lnTo>
                  <a:pt x="4152130" y="542113"/>
                </a:lnTo>
                <a:lnTo>
                  <a:pt x="4146157" y="534857"/>
                </a:lnTo>
                <a:lnTo>
                  <a:pt x="4146157" y="534857"/>
                </a:lnTo>
                <a:lnTo>
                  <a:pt x="4143768" y="532784"/>
                </a:lnTo>
                <a:lnTo>
                  <a:pt x="4138990" y="535893"/>
                </a:lnTo>
                <a:lnTo>
                  <a:pt x="4143768" y="541076"/>
                </a:lnTo>
                <a:lnTo>
                  <a:pt x="4149741" y="548332"/>
                </a:lnTo>
                <a:close/>
                <a:moveTo>
                  <a:pt x="4049402" y="560770"/>
                </a:moveTo>
                <a:lnTo>
                  <a:pt x="4036262" y="579428"/>
                </a:lnTo>
                <a:lnTo>
                  <a:pt x="4056569" y="575282"/>
                </a:lnTo>
                <a:lnTo>
                  <a:pt x="4084043" y="548332"/>
                </a:lnTo>
                <a:lnTo>
                  <a:pt x="4049402" y="560770"/>
                </a:lnTo>
                <a:close/>
                <a:moveTo>
                  <a:pt x="4650242" y="594976"/>
                </a:moveTo>
                <a:lnTo>
                  <a:pt x="4652631" y="593940"/>
                </a:lnTo>
                <a:lnTo>
                  <a:pt x="4668160" y="588757"/>
                </a:lnTo>
                <a:lnTo>
                  <a:pt x="4677716" y="574245"/>
                </a:lnTo>
                <a:lnTo>
                  <a:pt x="4682494" y="569063"/>
                </a:lnTo>
                <a:lnTo>
                  <a:pt x="4681300" y="569063"/>
                </a:lnTo>
                <a:lnTo>
                  <a:pt x="4641881" y="576319"/>
                </a:lnTo>
                <a:lnTo>
                  <a:pt x="4650242" y="594976"/>
                </a:lnTo>
                <a:lnTo>
                  <a:pt x="4650242" y="594976"/>
                </a:lnTo>
                <a:lnTo>
                  <a:pt x="4650242" y="594976"/>
                </a:lnTo>
                <a:close/>
                <a:moveTo>
                  <a:pt x="4743414" y="549368"/>
                </a:moveTo>
                <a:lnTo>
                  <a:pt x="4725497" y="560770"/>
                </a:lnTo>
                <a:lnTo>
                  <a:pt x="4731469" y="561807"/>
                </a:lnTo>
                <a:lnTo>
                  <a:pt x="4741025" y="564917"/>
                </a:lnTo>
                <a:lnTo>
                  <a:pt x="4742220" y="564917"/>
                </a:lnTo>
                <a:lnTo>
                  <a:pt x="4744609" y="564917"/>
                </a:lnTo>
                <a:lnTo>
                  <a:pt x="4766110" y="556624"/>
                </a:lnTo>
                <a:lnTo>
                  <a:pt x="4776861" y="553515"/>
                </a:lnTo>
                <a:lnTo>
                  <a:pt x="4775666" y="553515"/>
                </a:lnTo>
                <a:lnTo>
                  <a:pt x="4775666" y="553515"/>
                </a:lnTo>
                <a:lnTo>
                  <a:pt x="4743414" y="549368"/>
                </a:lnTo>
                <a:close/>
                <a:moveTo>
                  <a:pt x="4074487" y="588757"/>
                </a:moveTo>
                <a:lnTo>
                  <a:pt x="4056569" y="612598"/>
                </a:lnTo>
                <a:lnTo>
                  <a:pt x="4076875" y="609488"/>
                </a:lnTo>
                <a:lnTo>
                  <a:pt x="4075681" y="614671"/>
                </a:lnTo>
                <a:lnTo>
                  <a:pt x="4036262" y="625036"/>
                </a:lnTo>
                <a:lnTo>
                  <a:pt x="4069709" y="625036"/>
                </a:lnTo>
                <a:lnTo>
                  <a:pt x="4069709" y="638511"/>
                </a:lnTo>
                <a:lnTo>
                  <a:pt x="4086432" y="627109"/>
                </a:lnTo>
                <a:lnTo>
                  <a:pt x="4090015" y="633329"/>
                </a:lnTo>
                <a:lnTo>
                  <a:pt x="4078070" y="648877"/>
                </a:lnTo>
                <a:lnTo>
                  <a:pt x="4086432" y="656132"/>
                </a:lnTo>
                <a:lnTo>
                  <a:pt x="4121073" y="651986"/>
                </a:lnTo>
                <a:lnTo>
                  <a:pt x="4116295" y="660279"/>
                </a:lnTo>
                <a:lnTo>
                  <a:pt x="4137796" y="668571"/>
                </a:lnTo>
                <a:lnTo>
                  <a:pt x="4130629" y="685156"/>
                </a:lnTo>
                <a:lnTo>
                  <a:pt x="4091210" y="685156"/>
                </a:lnTo>
                <a:lnTo>
                  <a:pt x="4082848" y="705887"/>
                </a:lnTo>
                <a:lnTo>
                  <a:pt x="4098377" y="705887"/>
                </a:lnTo>
                <a:lnTo>
                  <a:pt x="4098377" y="717289"/>
                </a:lnTo>
                <a:lnTo>
                  <a:pt x="4062542" y="728691"/>
                </a:lnTo>
                <a:lnTo>
                  <a:pt x="4072097" y="736983"/>
                </a:lnTo>
                <a:lnTo>
                  <a:pt x="4115100" y="745275"/>
                </a:lnTo>
                <a:lnTo>
                  <a:pt x="4093599" y="745275"/>
                </a:lnTo>
                <a:lnTo>
                  <a:pt x="4037457" y="783627"/>
                </a:lnTo>
                <a:lnTo>
                  <a:pt x="4079265" y="771189"/>
                </a:lnTo>
                <a:lnTo>
                  <a:pt x="4101960" y="776372"/>
                </a:lnTo>
                <a:lnTo>
                  <a:pt x="4107933" y="764970"/>
                </a:lnTo>
                <a:lnTo>
                  <a:pt x="4123462" y="760823"/>
                </a:lnTo>
                <a:lnTo>
                  <a:pt x="4143768" y="766006"/>
                </a:lnTo>
                <a:lnTo>
                  <a:pt x="4222606" y="757714"/>
                </a:lnTo>
                <a:lnTo>
                  <a:pt x="4239330" y="743202"/>
                </a:lnTo>
                <a:lnTo>
                  <a:pt x="4216634" y="741129"/>
                </a:lnTo>
                <a:lnTo>
                  <a:pt x="4253664" y="714179"/>
                </a:lnTo>
                <a:lnTo>
                  <a:pt x="4228579" y="698631"/>
                </a:lnTo>
                <a:lnTo>
                  <a:pt x="4209467" y="700704"/>
                </a:lnTo>
                <a:lnTo>
                  <a:pt x="4214245" y="696558"/>
                </a:lnTo>
                <a:lnTo>
                  <a:pt x="4195133" y="657169"/>
                </a:lnTo>
                <a:lnTo>
                  <a:pt x="4177215" y="651986"/>
                </a:lnTo>
                <a:lnTo>
                  <a:pt x="4161686" y="620890"/>
                </a:lnTo>
                <a:lnTo>
                  <a:pt x="4135407" y="616744"/>
                </a:lnTo>
                <a:lnTo>
                  <a:pt x="4168853" y="583574"/>
                </a:lnTo>
                <a:lnTo>
                  <a:pt x="4168853" y="570099"/>
                </a:lnTo>
                <a:lnTo>
                  <a:pt x="4123462" y="574245"/>
                </a:lnTo>
                <a:lnTo>
                  <a:pt x="4146157" y="560770"/>
                </a:lnTo>
                <a:lnTo>
                  <a:pt x="4141379" y="549368"/>
                </a:lnTo>
                <a:lnTo>
                  <a:pt x="4092404" y="552478"/>
                </a:lnTo>
                <a:lnTo>
                  <a:pt x="4066125" y="580465"/>
                </a:lnTo>
                <a:lnTo>
                  <a:pt x="4074487" y="588757"/>
                </a:lnTo>
                <a:close/>
                <a:moveTo>
                  <a:pt x="4121073" y="744239"/>
                </a:moveTo>
                <a:lnTo>
                  <a:pt x="4117489" y="744239"/>
                </a:lnTo>
                <a:lnTo>
                  <a:pt x="4123462" y="741129"/>
                </a:lnTo>
                <a:lnTo>
                  <a:pt x="4121073" y="744239"/>
                </a:lnTo>
                <a:close/>
                <a:moveTo>
                  <a:pt x="4402978" y="1066604"/>
                </a:moveTo>
                <a:lnTo>
                  <a:pt x="4417312" y="1082152"/>
                </a:lnTo>
                <a:lnTo>
                  <a:pt x="4444786" y="1067641"/>
                </a:lnTo>
                <a:lnTo>
                  <a:pt x="4448369" y="1017886"/>
                </a:lnTo>
                <a:lnTo>
                  <a:pt x="4430452" y="1005448"/>
                </a:lnTo>
                <a:lnTo>
                  <a:pt x="4440008" y="959840"/>
                </a:lnTo>
                <a:lnTo>
                  <a:pt x="4406561" y="976425"/>
                </a:lnTo>
                <a:lnTo>
                  <a:pt x="4406561" y="997155"/>
                </a:lnTo>
                <a:lnTo>
                  <a:pt x="4422090" y="1008557"/>
                </a:lnTo>
                <a:lnTo>
                  <a:pt x="4397005" y="1016850"/>
                </a:lnTo>
                <a:lnTo>
                  <a:pt x="4402978" y="1066604"/>
                </a:lnTo>
                <a:close/>
                <a:moveTo>
                  <a:pt x="4259636" y="1043800"/>
                </a:moveTo>
                <a:lnTo>
                  <a:pt x="4232162" y="1057275"/>
                </a:lnTo>
                <a:lnTo>
                  <a:pt x="4266804" y="1073860"/>
                </a:lnTo>
                <a:lnTo>
                  <a:pt x="4278749" y="1054165"/>
                </a:lnTo>
                <a:lnTo>
                  <a:pt x="4259636" y="1043800"/>
                </a:lnTo>
                <a:close/>
                <a:moveTo>
                  <a:pt x="4478232" y="650950"/>
                </a:moveTo>
                <a:lnTo>
                  <a:pt x="4478232" y="656132"/>
                </a:lnTo>
                <a:lnTo>
                  <a:pt x="4499734" y="656132"/>
                </a:lnTo>
                <a:lnTo>
                  <a:pt x="4499734" y="650950"/>
                </a:lnTo>
                <a:lnTo>
                  <a:pt x="4478232" y="650950"/>
                </a:lnTo>
                <a:close/>
                <a:moveTo>
                  <a:pt x="3941896" y="713142"/>
                </a:moveTo>
                <a:lnTo>
                  <a:pt x="3957424" y="736983"/>
                </a:lnTo>
                <a:lnTo>
                  <a:pt x="4044624" y="718325"/>
                </a:lnTo>
                <a:lnTo>
                  <a:pt x="4057764" y="696558"/>
                </a:lnTo>
                <a:lnTo>
                  <a:pt x="4057764" y="669608"/>
                </a:lnTo>
                <a:lnTo>
                  <a:pt x="4057764" y="669608"/>
                </a:lnTo>
                <a:lnTo>
                  <a:pt x="4058958" y="672717"/>
                </a:lnTo>
                <a:lnTo>
                  <a:pt x="4058958" y="672717"/>
                </a:lnTo>
                <a:lnTo>
                  <a:pt x="4058958" y="672717"/>
                </a:lnTo>
                <a:lnTo>
                  <a:pt x="4075681" y="662352"/>
                </a:lnTo>
                <a:lnTo>
                  <a:pt x="4075681" y="662352"/>
                </a:lnTo>
                <a:lnTo>
                  <a:pt x="4075681" y="662352"/>
                </a:lnTo>
                <a:lnTo>
                  <a:pt x="4074487" y="660279"/>
                </a:lnTo>
                <a:lnTo>
                  <a:pt x="4068514" y="637475"/>
                </a:lnTo>
                <a:lnTo>
                  <a:pt x="4005205" y="637475"/>
                </a:lnTo>
                <a:lnTo>
                  <a:pt x="3989676" y="650950"/>
                </a:lnTo>
                <a:lnTo>
                  <a:pt x="4000427" y="655096"/>
                </a:lnTo>
                <a:lnTo>
                  <a:pt x="3994454" y="657169"/>
                </a:lnTo>
                <a:lnTo>
                  <a:pt x="3965786" y="657169"/>
                </a:lnTo>
                <a:lnTo>
                  <a:pt x="3953841" y="671681"/>
                </a:lnTo>
                <a:lnTo>
                  <a:pt x="3964591" y="675827"/>
                </a:lnTo>
                <a:lnTo>
                  <a:pt x="3946674" y="681009"/>
                </a:lnTo>
                <a:lnTo>
                  <a:pt x="3976536" y="692412"/>
                </a:lnTo>
                <a:lnTo>
                  <a:pt x="3956230" y="712106"/>
                </a:lnTo>
                <a:lnTo>
                  <a:pt x="3941896" y="712106"/>
                </a:lnTo>
                <a:close/>
                <a:moveTo>
                  <a:pt x="3075873" y="2278324"/>
                </a:moveTo>
                <a:lnTo>
                  <a:pt x="2986285" y="2216131"/>
                </a:lnTo>
                <a:lnTo>
                  <a:pt x="2940893" y="2221314"/>
                </a:lnTo>
                <a:lnTo>
                  <a:pt x="2883556" y="2205766"/>
                </a:lnTo>
                <a:lnTo>
                  <a:pt x="2858471" y="2215095"/>
                </a:lnTo>
                <a:lnTo>
                  <a:pt x="2860861" y="2208876"/>
                </a:lnTo>
                <a:lnTo>
                  <a:pt x="2847721" y="2182962"/>
                </a:lnTo>
                <a:lnTo>
                  <a:pt x="2833387" y="2188145"/>
                </a:lnTo>
                <a:lnTo>
                  <a:pt x="2830998" y="2179852"/>
                </a:lnTo>
                <a:lnTo>
                  <a:pt x="2778439" y="2161195"/>
                </a:lnTo>
                <a:lnTo>
                  <a:pt x="2748576" y="2164304"/>
                </a:lnTo>
                <a:lnTo>
                  <a:pt x="2737826" y="2185035"/>
                </a:lnTo>
                <a:lnTo>
                  <a:pt x="2735437" y="2181925"/>
                </a:lnTo>
                <a:lnTo>
                  <a:pt x="2741409" y="2151866"/>
                </a:lnTo>
                <a:lnTo>
                  <a:pt x="2723492" y="2148756"/>
                </a:lnTo>
                <a:lnTo>
                  <a:pt x="2678100" y="2153939"/>
                </a:lnTo>
                <a:lnTo>
                  <a:pt x="2678100" y="2181925"/>
                </a:lnTo>
                <a:lnTo>
                  <a:pt x="2670933" y="2168451"/>
                </a:lnTo>
                <a:lnTo>
                  <a:pt x="2656599" y="2174670"/>
                </a:lnTo>
                <a:lnTo>
                  <a:pt x="2666155" y="2152902"/>
                </a:lnTo>
                <a:lnTo>
                  <a:pt x="2696018" y="2119733"/>
                </a:lnTo>
                <a:lnTo>
                  <a:pt x="2703185" y="2094856"/>
                </a:lnTo>
                <a:lnTo>
                  <a:pt x="2684073" y="2094856"/>
                </a:lnTo>
                <a:lnTo>
                  <a:pt x="2669738" y="2040955"/>
                </a:lnTo>
                <a:lnTo>
                  <a:pt x="2654210" y="2032663"/>
                </a:lnTo>
                <a:lnTo>
                  <a:pt x="2586122" y="1992238"/>
                </a:lnTo>
                <a:lnTo>
                  <a:pt x="2588511" y="1990165"/>
                </a:lnTo>
                <a:lnTo>
                  <a:pt x="2552676" y="1978763"/>
                </a:lnTo>
                <a:lnTo>
                  <a:pt x="2490561" y="1978763"/>
                </a:lnTo>
                <a:lnTo>
                  <a:pt x="2463087" y="1954922"/>
                </a:lnTo>
                <a:lnTo>
                  <a:pt x="2453531" y="1959068"/>
                </a:lnTo>
                <a:lnTo>
                  <a:pt x="2453531" y="1936264"/>
                </a:lnTo>
                <a:lnTo>
                  <a:pt x="2421279" y="1922789"/>
                </a:lnTo>
                <a:lnTo>
                  <a:pt x="2426058" y="1919680"/>
                </a:lnTo>
                <a:lnTo>
                  <a:pt x="2405751" y="1909314"/>
                </a:lnTo>
                <a:lnTo>
                  <a:pt x="2387833" y="1913461"/>
                </a:lnTo>
                <a:lnTo>
                  <a:pt x="2387833" y="1883401"/>
                </a:lnTo>
                <a:lnTo>
                  <a:pt x="2361554" y="1877182"/>
                </a:lnTo>
                <a:lnTo>
                  <a:pt x="2380666" y="1877182"/>
                </a:lnTo>
                <a:lnTo>
                  <a:pt x="2395000" y="1845049"/>
                </a:lnTo>
                <a:lnTo>
                  <a:pt x="2368721" y="1848158"/>
                </a:lnTo>
                <a:lnTo>
                  <a:pt x="2293467" y="1848158"/>
                </a:lnTo>
                <a:lnTo>
                  <a:pt x="2267187" y="1865779"/>
                </a:lnTo>
                <a:lnTo>
                  <a:pt x="2234935" y="1853341"/>
                </a:lnTo>
                <a:lnTo>
                  <a:pt x="2174015" y="1855414"/>
                </a:lnTo>
                <a:lnTo>
                  <a:pt x="2171626" y="1835720"/>
                </a:lnTo>
                <a:lnTo>
                  <a:pt x="2135791" y="1827427"/>
                </a:lnTo>
                <a:lnTo>
                  <a:pt x="2129818" y="1807733"/>
                </a:lnTo>
                <a:lnTo>
                  <a:pt x="2113095" y="1814989"/>
                </a:lnTo>
                <a:lnTo>
                  <a:pt x="2115484" y="1827427"/>
                </a:lnTo>
                <a:lnTo>
                  <a:pt x="2079649" y="1839866"/>
                </a:lnTo>
                <a:lnTo>
                  <a:pt x="2083232" y="1889620"/>
                </a:lnTo>
                <a:lnTo>
                  <a:pt x="2070092" y="1894803"/>
                </a:lnTo>
                <a:lnTo>
                  <a:pt x="2065314" y="1876145"/>
                </a:lnTo>
                <a:lnTo>
                  <a:pt x="2080843" y="1855414"/>
                </a:lnTo>
                <a:lnTo>
                  <a:pt x="2072481" y="1832610"/>
                </a:lnTo>
                <a:lnTo>
                  <a:pt x="2097566" y="1817062"/>
                </a:lnTo>
                <a:lnTo>
                  <a:pt x="2077259" y="1803587"/>
                </a:lnTo>
                <a:lnTo>
                  <a:pt x="2022312" y="1837793"/>
                </a:lnTo>
                <a:lnTo>
                  <a:pt x="2000811" y="1834683"/>
                </a:lnTo>
                <a:lnTo>
                  <a:pt x="1994838" y="1845049"/>
                </a:lnTo>
                <a:lnTo>
                  <a:pt x="1970948" y="1845049"/>
                </a:lnTo>
                <a:lnTo>
                  <a:pt x="1955419" y="1884437"/>
                </a:lnTo>
                <a:lnTo>
                  <a:pt x="1919584" y="1908278"/>
                </a:lnTo>
                <a:lnTo>
                  <a:pt x="1919584" y="1923826"/>
                </a:lnTo>
                <a:lnTo>
                  <a:pt x="1890915" y="1886510"/>
                </a:lnTo>
                <a:lnTo>
                  <a:pt x="1896888" y="1899985"/>
                </a:lnTo>
                <a:lnTo>
                  <a:pt x="1882554" y="1883401"/>
                </a:lnTo>
                <a:lnTo>
                  <a:pt x="1853885" y="1875108"/>
                </a:lnTo>
                <a:lnTo>
                  <a:pt x="1828801" y="1886510"/>
                </a:lnTo>
                <a:lnTo>
                  <a:pt x="1825217" y="1882364"/>
                </a:lnTo>
                <a:lnTo>
                  <a:pt x="1782215" y="1901022"/>
                </a:lnTo>
                <a:lnTo>
                  <a:pt x="1766686" y="1893766"/>
                </a:lnTo>
                <a:lnTo>
                  <a:pt x="1753546" y="1874072"/>
                </a:lnTo>
                <a:lnTo>
                  <a:pt x="1746379" y="1876145"/>
                </a:lnTo>
                <a:lnTo>
                  <a:pt x="1739212" y="1873035"/>
                </a:lnTo>
                <a:lnTo>
                  <a:pt x="1726072" y="1849195"/>
                </a:lnTo>
                <a:lnTo>
                  <a:pt x="1726072" y="1849195"/>
                </a:lnTo>
                <a:lnTo>
                  <a:pt x="1722489" y="1835720"/>
                </a:lnTo>
                <a:lnTo>
                  <a:pt x="1748768" y="1752796"/>
                </a:lnTo>
                <a:lnTo>
                  <a:pt x="1745185" y="1731029"/>
                </a:lnTo>
                <a:lnTo>
                  <a:pt x="1749963" y="1729992"/>
                </a:lnTo>
                <a:lnTo>
                  <a:pt x="1700988" y="1706152"/>
                </a:lnTo>
                <a:lnTo>
                  <a:pt x="1612594" y="1710298"/>
                </a:lnTo>
                <a:lnTo>
                  <a:pt x="1613788" y="1709261"/>
                </a:lnTo>
                <a:lnTo>
                  <a:pt x="1592287" y="1703042"/>
                </a:lnTo>
                <a:lnTo>
                  <a:pt x="1582731" y="1696823"/>
                </a:lnTo>
                <a:lnTo>
                  <a:pt x="1593481" y="1655361"/>
                </a:lnTo>
                <a:lnTo>
                  <a:pt x="1617372" y="1640849"/>
                </a:lnTo>
                <a:lnTo>
                  <a:pt x="1629317" y="1658471"/>
                </a:lnTo>
                <a:lnTo>
                  <a:pt x="1641262" y="1638776"/>
                </a:lnTo>
                <a:lnTo>
                  <a:pt x="1681875" y="1555853"/>
                </a:lnTo>
                <a:lnTo>
                  <a:pt x="1648429" y="1549634"/>
                </a:lnTo>
                <a:lnTo>
                  <a:pt x="1585120" y="1559999"/>
                </a:lnTo>
                <a:lnTo>
                  <a:pt x="1574369" y="1563108"/>
                </a:lnTo>
                <a:lnTo>
                  <a:pt x="1552868" y="1614936"/>
                </a:lnTo>
                <a:lnTo>
                  <a:pt x="1531367" y="1626338"/>
                </a:lnTo>
                <a:lnTo>
                  <a:pt x="1533756" y="1633594"/>
                </a:lnTo>
                <a:lnTo>
                  <a:pt x="1520616" y="1635667"/>
                </a:lnTo>
                <a:lnTo>
                  <a:pt x="1505087" y="1627374"/>
                </a:lnTo>
                <a:lnTo>
                  <a:pt x="1442973" y="1642922"/>
                </a:lnTo>
                <a:lnTo>
                  <a:pt x="1403554" y="1615972"/>
                </a:lnTo>
                <a:lnTo>
                  <a:pt x="1367718" y="1528903"/>
                </a:lnTo>
                <a:lnTo>
                  <a:pt x="1382052" y="1476039"/>
                </a:lnTo>
                <a:lnTo>
                  <a:pt x="1409526" y="1436650"/>
                </a:lnTo>
                <a:lnTo>
                  <a:pt x="1411915" y="1437687"/>
                </a:lnTo>
                <a:lnTo>
                  <a:pt x="1413110" y="1431468"/>
                </a:lnTo>
                <a:lnTo>
                  <a:pt x="1414304" y="1430431"/>
                </a:lnTo>
                <a:lnTo>
                  <a:pt x="1413110" y="1430431"/>
                </a:lnTo>
                <a:lnTo>
                  <a:pt x="1421471" y="1386896"/>
                </a:lnTo>
                <a:lnTo>
                  <a:pt x="1506282" y="1342325"/>
                </a:lnTo>
                <a:lnTo>
                  <a:pt x="1506282" y="1342325"/>
                </a:lnTo>
                <a:lnTo>
                  <a:pt x="1536145" y="1334032"/>
                </a:lnTo>
                <a:lnTo>
                  <a:pt x="1577953" y="1339215"/>
                </a:lnTo>
                <a:lnTo>
                  <a:pt x="1591092" y="1332996"/>
                </a:lnTo>
                <a:lnTo>
                  <a:pt x="1599454" y="1350617"/>
                </a:lnTo>
                <a:lnTo>
                  <a:pt x="1642456" y="1345434"/>
                </a:lnTo>
                <a:lnTo>
                  <a:pt x="1656791" y="1350617"/>
                </a:lnTo>
                <a:lnTo>
                  <a:pt x="1671125" y="1350617"/>
                </a:lnTo>
                <a:lnTo>
                  <a:pt x="1655596" y="1337142"/>
                </a:lnTo>
                <a:lnTo>
                  <a:pt x="1668736" y="1319521"/>
                </a:lnTo>
                <a:lnTo>
                  <a:pt x="1641262" y="1319521"/>
                </a:lnTo>
                <a:lnTo>
                  <a:pt x="1646040" y="1312265"/>
                </a:lnTo>
                <a:lnTo>
                  <a:pt x="1656791" y="1316411"/>
                </a:lnTo>
                <a:lnTo>
                  <a:pt x="1702182" y="1309155"/>
                </a:lnTo>
                <a:lnTo>
                  <a:pt x="1702182" y="1316411"/>
                </a:lnTo>
                <a:lnTo>
                  <a:pt x="1748768" y="1311228"/>
                </a:lnTo>
                <a:lnTo>
                  <a:pt x="1767880" y="1322630"/>
                </a:lnTo>
                <a:lnTo>
                  <a:pt x="1767880" y="1335069"/>
                </a:lnTo>
                <a:lnTo>
                  <a:pt x="1812077" y="1324703"/>
                </a:lnTo>
                <a:lnTo>
                  <a:pt x="1837162" y="1348544"/>
                </a:lnTo>
                <a:lnTo>
                  <a:pt x="1828801" y="1402444"/>
                </a:lnTo>
                <a:lnTo>
                  <a:pt x="1859858" y="1462564"/>
                </a:lnTo>
                <a:lnTo>
                  <a:pt x="1868220" y="1458418"/>
                </a:lnTo>
                <a:lnTo>
                  <a:pt x="1896888" y="1436650"/>
                </a:lnTo>
                <a:lnTo>
                  <a:pt x="1902861" y="1406591"/>
                </a:lnTo>
                <a:lnTo>
                  <a:pt x="1896888" y="1293607"/>
                </a:lnTo>
                <a:lnTo>
                  <a:pt x="1931529" y="1258365"/>
                </a:lnTo>
                <a:lnTo>
                  <a:pt x="2086816" y="1175441"/>
                </a:lnTo>
                <a:lnTo>
                  <a:pt x="2096372" y="1161966"/>
                </a:lnTo>
                <a:lnTo>
                  <a:pt x="2105928" y="1168185"/>
                </a:lnTo>
                <a:lnTo>
                  <a:pt x="2104733" y="1169222"/>
                </a:lnTo>
                <a:lnTo>
                  <a:pt x="2104733" y="1169222"/>
                </a:lnTo>
                <a:lnTo>
                  <a:pt x="2083232" y="1181660"/>
                </a:lnTo>
                <a:lnTo>
                  <a:pt x="2083232" y="1181660"/>
                </a:lnTo>
                <a:lnTo>
                  <a:pt x="2080843" y="1182697"/>
                </a:lnTo>
                <a:lnTo>
                  <a:pt x="2084427" y="1186843"/>
                </a:lnTo>
                <a:lnTo>
                  <a:pt x="2086816" y="1185806"/>
                </a:lnTo>
                <a:lnTo>
                  <a:pt x="2086816" y="1185806"/>
                </a:lnTo>
                <a:lnTo>
                  <a:pt x="2108317" y="1173368"/>
                </a:lnTo>
                <a:lnTo>
                  <a:pt x="2108317" y="1173368"/>
                </a:lnTo>
                <a:lnTo>
                  <a:pt x="2110706" y="1172332"/>
                </a:lnTo>
                <a:lnTo>
                  <a:pt x="2108317" y="1169222"/>
                </a:lnTo>
                <a:lnTo>
                  <a:pt x="2098761" y="1139162"/>
                </a:lnTo>
                <a:lnTo>
                  <a:pt x="2148930" y="1092517"/>
                </a:lnTo>
                <a:lnTo>
                  <a:pt x="2147736" y="1080079"/>
                </a:lnTo>
                <a:lnTo>
                  <a:pt x="2168043" y="1067641"/>
                </a:lnTo>
                <a:lnTo>
                  <a:pt x="2199100" y="1031361"/>
                </a:lnTo>
                <a:lnTo>
                  <a:pt x="2200294" y="1034471"/>
                </a:lnTo>
                <a:lnTo>
                  <a:pt x="2265993" y="1016850"/>
                </a:lnTo>
                <a:lnTo>
                  <a:pt x="2263604" y="1014777"/>
                </a:lnTo>
                <a:lnTo>
                  <a:pt x="2273160" y="1012704"/>
                </a:lnTo>
                <a:lnTo>
                  <a:pt x="2279132" y="1005448"/>
                </a:lnTo>
                <a:lnTo>
                  <a:pt x="2281521" y="1010631"/>
                </a:lnTo>
                <a:lnTo>
                  <a:pt x="2314968" y="1004411"/>
                </a:lnTo>
                <a:lnTo>
                  <a:pt x="2326913" y="989900"/>
                </a:lnTo>
                <a:lnTo>
                  <a:pt x="2303023" y="997155"/>
                </a:lnTo>
                <a:lnTo>
                  <a:pt x="2298245" y="987827"/>
                </a:lnTo>
                <a:lnTo>
                  <a:pt x="2335275" y="950511"/>
                </a:lnTo>
                <a:lnTo>
                  <a:pt x="2379472" y="929780"/>
                </a:lnTo>
                <a:lnTo>
                  <a:pt x="2415307" y="926670"/>
                </a:lnTo>
                <a:lnTo>
                  <a:pt x="2435614" y="909049"/>
                </a:lnTo>
                <a:lnTo>
                  <a:pt x="2446364" y="909049"/>
                </a:lnTo>
                <a:lnTo>
                  <a:pt x="2445170" y="908013"/>
                </a:lnTo>
                <a:lnTo>
                  <a:pt x="2497728" y="897647"/>
                </a:lnTo>
                <a:lnTo>
                  <a:pt x="2491756" y="908013"/>
                </a:lnTo>
                <a:lnTo>
                  <a:pt x="2496534" y="906976"/>
                </a:lnTo>
                <a:lnTo>
                  <a:pt x="2445170" y="933926"/>
                </a:lnTo>
                <a:lnTo>
                  <a:pt x="2457115" y="956730"/>
                </a:lnTo>
                <a:lnTo>
                  <a:pt x="2507284" y="926670"/>
                </a:lnTo>
                <a:lnTo>
                  <a:pt x="2593290" y="909049"/>
                </a:lnTo>
                <a:lnTo>
                  <a:pt x="2639876" y="886245"/>
                </a:lnTo>
                <a:lnTo>
                  <a:pt x="2625541" y="876916"/>
                </a:lnTo>
                <a:lnTo>
                  <a:pt x="2629125" y="848930"/>
                </a:lnTo>
                <a:lnTo>
                  <a:pt x="2590900" y="888318"/>
                </a:lnTo>
                <a:lnTo>
                  <a:pt x="2567010" y="888318"/>
                </a:lnTo>
                <a:lnTo>
                  <a:pt x="2590900" y="869660"/>
                </a:lnTo>
                <a:lnTo>
                  <a:pt x="2547898" y="869660"/>
                </a:lnTo>
                <a:lnTo>
                  <a:pt x="2538342" y="867587"/>
                </a:lnTo>
                <a:lnTo>
                  <a:pt x="2538342" y="859295"/>
                </a:lnTo>
                <a:lnTo>
                  <a:pt x="2540731" y="852039"/>
                </a:lnTo>
                <a:lnTo>
                  <a:pt x="2518035" y="866551"/>
                </a:lnTo>
                <a:lnTo>
                  <a:pt x="2556260" y="887282"/>
                </a:lnTo>
                <a:lnTo>
                  <a:pt x="2544314" y="887282"/>
                </a:lnTo>
                <a:lnTo>
                  <a:pt x="2513257" y="874843"/>
                </a:lnTo>
                <a:lnTo>
                  <a:pt x="2513257" y="861368"/>
                </a:lnTo>
                <a:lnTo>
                  <a:pt x="2531175" y="834418"/>
                </a:lnTo>
                <a:lnTo>
                  <a:pt x="2506090" y="837528"/>
                </a:lnTo>
                <a:lnTo>
                  <a:pt x="2496534" y="829235"/>
                </a:lnTo>
                <a:lnTo>
                  <a:pt x="2556260" y="818870"/>
                </a:lnTo>
                <a:lnTo>
                  <a:pt x="2556260" y="807468"/>
                </a:lnTo>
                <a:lnTo>
                  <a:pt x="2535953" y="792956"/>
                </a:lnTo>
                <a:lnTo>
                  <a:pt x="2435614" y="813687"/>
                </a:lnTo>
                <a:lnTo>
                  <a:pt x="2393806" y="835455"/>
                </a:lnTo>
                <a:lnTo>
                  <a:pt x="2423668" y="816797"/>
                </a:lnTo>
                <a:lnTo>
                  <a:pt x="2464282" y="796066"/>
                </a:lnTo>
                <a:lnTo>
                  <a:pt x="2482200" y="796066"/>
                </a:lnTo>
                <a:lnTo>
                  <a:pt x="2506090" y="775335"/>
                </a:lnTo>
                <a:lnTo>
                  <a:pt x="2578955" y="770152"/>
                </a:lnTo>
                <a:lnTo>
                  <a:pt x="2681684" y="775335"/>
                </a:lnTo>
                <a:lnTo>
                  <a:pt x="2729464" y="749421"/>
                </a:lnTo>
                <a:lnTo>
                  <a:pt x="2817858" y="723508"/>
                </a:lnTo>
                <a:lnTo>
                  <a:pt x="2827414" y="695521"/>
                </a:lnTo>
                <a:lnTo>
                  <a:pt x="2816664" y="674790"/>
                </a:lnTo>
                <a:lnTo>
                  <a:pt x="2801135" y="674790"/>
                </a:lnTo>
                <a:lnTo>
                  <a:pt x="2803524" y="667534"/>
                </a:lnTo>
                <a:lnTo>
                  <a:pt x="2787995" y="666498"/>
                </a:lnTo>
                <a:lnTo>
                  <a:pt x="2814275" y="659242"/>
                </a:lnTo>
                <a:lnTo>
                  <a:pt x="2770077" y="649913"/>
                </a:lnTo>
                <a:lnTo>
                  <a:pt x="2770077" y="641621"/>
                </a:lnTo>
                <a:lnTo>
                  <a:pt x="2746187" y="636438"/>
                </a:lnTo>
                <a:lnTo>
                  <a:pt x="2746187" y="629182"/>
                </a:lnTo>
                <a:lnTo>
                  <a:pt x="2727075" y="612598"/>
                </a:lnTo>
                <a:lnTo>
                  <a:pt x="2749771" y="594976"/>
                </a:lnTo>
                <a:lnTo>
                  <a:pt x="2718714" y="504797"/>
                </a:lnTo>
                <a:lnTo>
                  <a:pt x="2684073" y="522418"/>
                </a:lnTo>
                <a:lnTo>
                  <a:pt x="2684073" y="528638"/>
                </a:lnTo>
                <a:lnTo>
                  <a:pt x="2673322" y="540040"/>
                </a:lnTo>
                <a:lnTo>
                  <a:pt x="2607624" y="562844"/>
                </a:lnTo>
                <a:lnTo>
                  <a:pt x="2588511" y="537966"/>
                </a:lnTo>
                <a:lnTo>
                  <a:pt x="2619569" y="494432"/>
                </a:lnTo>
                <a:lnTo>
                  <a:pt x="2578955" y="485103"/>
                </a:lnTo>
                <a:lnTo>
                  <a:pt x="2588511" y="480956"/>
                </a:lnTo>
                <a:lnTo>
                  <a:pt x="2551482" y="454006"/>
                </a:lnTo>
                <a:lnTo>
                  <a:pt x="2464282" y="454006"/>
                </a:lnTo>
                <a:lnTo>
                  <a:pt x="2441586" y="459189"/>
                </a:lnTo>
                <a:lnTo>
                  <a:pt x="2434419" y="468518"/>
                </a:lnTo>
                <a:lnTo>
                  <a:pt x="2440392" y="477847"/>
                </a:lnTo>
                <a:lnTo>
                  <a:pt x="2409334" y="499614"/>
                </a:lnTo>
                <a:lnTo>
                  <a:pt x="2420085" y="505834"/>
                </a:lnTo>
                <a:lnTo>
                  <a:pt x="2409334" y="526564"/>
                </a:lnTo>
                <a:lnTo>
                  <a:pt x="2357970" y="548332"/>
                </a:lnTo>
                <a:lnTo>
                  <a:pt x="2374694" y="559734"/>
                </a:lnTo>
                <a:lnTo>
                  <a:pt x="2354387" y="616744"/>
                </a:lnTo>
                <a:lnTo>
                  <a:pt x="2258826" y="650950"/>
                </a:lnTo>
                <a:lnTo>
                  <a:pt x="2243297" y="716252"/>
                </a:lnTo>
                <a:lnTo>
                  <a:pt x="2195516" y="736983"/>
                </a:lnTo>
                <a:lnTo>
                  <a:pt x="2194322" y="744239"/>
                </a:lnTo>
                <a:lnTo>
                  <a:pt x="2163265" y="699667"/>
                </a:lnTo>
                <a:lnTo>
                  <a:pt x="2163265" y="699667"/>
                </a:lnTo>
                <a:lnTo>
                  <a:pt x="2201489" y="714179"/>
                </a:lnTo>
                <a:lnTo>
                  <a:pt x="2201489" y="691375"/>
                </a:lnTo>
                <a:lnTo>
                  <a:pt x="2164459" y="698631"/>
                </a:lnTo>
                <a:lnTo>
                  <a:pt x="2212240" y="646803"/>
                </a:lnTo>
                <a:lnTo>
                  <a:pt x="2139374" y="635402"/>
                </a:lnTo>
                <a:lnTo>
                  <a:pt x="2037841" y="585647"/>
                </a:lnTo>
                <a:lnTo>
                  <a:pt x="2003200" y="592903"/>
                </a:lnTo>
                <a:lnTo>
                  <a:pt x="2023506" y="547295"/>
                </a:lnTo>
                <a:lnTo>
                  <a:pt x="1992449" y="547295"/>
                </a:lnTo>
                <a:lnTo>
                  <a:pt x="1992449" y="543149"/>
                </a:lnTo>
                <a:lnTo>
                  <a:pt x="2050980" y="492358"/>
                </a:lnTo>
                <a:lnTo>
                  <a:pt x="2116678" y="468518"/>
                </a:lnTo>
                <a:lnTo>
                  <a:pt x="2125040" y="456079"/>
                </a:lnTo>
                <a:lnTo>
                  <a:pt x="2175210" y="448824"/>
                </a:lnTo>
                <a:lnTo>
                  <a:pt x="2217018" y="417727"/>
                </a:lnTo>
                <a:lnTo>
                  <a:pt x="2245686" y="417727"/>
                </a:lnTo>
                <a:lnTo>
                  <a:pt x="2304217" y="396996"/>
                </a:lnTo>
                <a:lnTo>
                  <a:pt x="2319746" y="387667"/>
                </a:lnTo>
                <a:lnTo>
                  <a:pt x="2298245" y="413581"/>
                </a:lnTo>
                <a:lnTo>
                  <a:pt x="2255242" y="429129"/>
                </a:lnTo>
                <a:lnTo>
                  <a:pt x="2293467" y="429129"/>
                </a:lnTo>
                <a:lnTo>
                  <a:pt x="2276743" y="443641"/>
                </a:lnTo>
                <a:lnTo>
                  <a:pt x="2354387" y="418764"/>
                </a:lnTo>
                <a:lnTo>
                  <a:pt x="2371110" y="418764"/>
                </a:lnTo>
                <a:lnTo>
                  <a:pt x="2398584" y="437422"/>
                </a:lnTo>
                <a:lnTo>
                  <a:pt x="2430836" y="421873"/>
                </a:lnTo>
                <a:lnTo>
                  <a:pt x="2369915" y="379375"/>
                </a:lnTo>
                <a:lnTo>
                  <a:pt x="2378277" y="361754"/>
                </a:lnTo>
                <a:lnTo>
                  <a:pt x="2332886" y="381448"/>
                </a:lnTo>
                <a:lnTo>
                  <a:pt x="2355581" y="367973"/>
                </a:lnTo>
                <a:lnTo>
                  <a:pt x="2348414" y="361754"/>
                </a:lnTo>
                <a:lnTo>
                  <a:pt x="2374694" y="359681"/>
                </a:lnTo>
                <a:lnTo>
                  <a:pt x="2402167" y="370046"/>
                </a:lnTo>
                <a:lnTo>
                  <a:pt x="2475033" y="351388"/>
                </a:lnTo>
                <a:lnTo>
                  <a:pt x="2497728" y="331694"/>
                </a:lnTo>
                <a:lnTo>
                  <a:pt x="2472644" y="326511"/>
                </a:lnTo>
                <a:lnTo>
                  <a:pt x="2529980" y="292305"/>
                </a:lnTo>
                <a:lnTo>
                  <a:pt x="2501312" y="289196"/>
                </a:lnTo>
                <a:lnTo>
                  <a:pt x="2504895" y="280904"/>
                </a:lnTo>
                <a:lnTo>
                  <a:pt x="2448753" y="277794"/>
                </a:lnTo>
                <a:lnTo>
                  <a:pt x="2409334" y="319256"/>
                </a:lnTo>
                <a:lnTo>
                  <a:pt x="2353192" y="338950"/>
                </a:lnTo>
                <a:lnTo>
                  <a:pt x="2350803" y="327548"/>
                </a:lnTo>
                <a:lnTo>
                  <a:pt x="2374694" y="303707"/>
                </a:lnTo>
                <a:lnTo>
                  <a:pt x="2362748" y="287123"/>
                </a:lnTo>
                <a:lnTo>
                  <a:pt x="2326913" y="304744"/>
                </a:lnTo>
                <a:lnTo>
                  <a:pt x="2318551" y="286086"/>
                </a:lnTo>
                <a:lnTo>
                  <a:pt x="2308995" y="280904"/>
                </a:lnTo>
                <a:lnTo>
                  <a:pt x="2337664" y="273648"/>
                </a:lnTo>
                <a:lnTo>
                  <a:pt x="2325718" y="234259"/>
                </a:lnTo>
                <a:lnTo>
                  <a:pt x="2349609" y="227003"/>
                </a:lnTo>
                <a:lnTo>
                  <a:pt x="2349609" y="219747"/>
                </a:lnTo>
                <a:lnTo>
                  <a:pt x="2391417" y="217674"/>
                </a:lnTo>
                <a:lnTo>
                  <a:pt x="2467866" y="187615"/>
                </a:lnTo>
                <a:lnTo>
                  <a:pt x="2403362" y="181395"/>
                </a:lnTo>
                <a:lnTo>
                  <a:pt x="2403362" y="181395"/>
                </a:lnTo>
                <a:lnTo>
                  <a:pt x="2338858" y="191761"/>
                </a:lnTo>
                <a:lnTo>
                  <a:pt x="2299439" y="233222"/>
                </a:lnTo>
                <a:lnTo>
                  <a:pt x="2222990" y="262246"/>
                </a:lnTo>
                <a:lnTo>
                  <a:pt x="2233741" y="280904"/>
                </a:lnTo>
                <a:lnTo>
                  <a:pt x="2252853" y="289196"/>
                </a:lnTo>
                <a:lnTo>
                  <a:pt x="2233741" y="295415"/>
                </a:lnTo>
                <a:lnTo>
                  <a:pt x="2227768" y="308890"/>
                </a:lnTo>
                <a:lnTo>
                  <a:pt x="2170432" y="330658"/>
                </a:lnTo>
                <a:lnTo>
                  <a:pt x="2162070" y="325475"/>
                </a:lnTo>
                <a:lnTo>
                  <a:pt x="2171626" y="315109"/>
                </a:lnTo>
                <a:lnTo>
                  <a:pt x="2208656" y="304744"/>
                </a:lnTo>
                <a:lnTo>
                  <a:pt x="2208656" y="288159"/>
                </a:lnTo>
                <a:lnTo>
                  <a:pt x="2188349" y="276757"/>
                </a:lnTo>
                <a:lnTo>
                  <a:pt x="2120262" y="297488"/>
                </a:lnTo>
                <a:lnTo>
                  <a:pt x="2146541" y="308890"/>
                </a:lnTo>
                <a:lnTo>
                  <a:pt x="2113095" y="329621"/>
                </a:lnTo>
                <a:lnTo>
                  <a:pt x="2048591" y="324438"/>
                </a:lnTo>
                <a:lnTo>
                  <a:pt x="2005589" y="314073"/>
                </a:lnTo>
                <a:lnTo>
                  <a:pt x="1999616" y="297488"/>
                </a:lnTo>
                <a:lnTo>
                  <a:pt x="1893304" y="315109"/>
                </a:lnTo>
                <a:lnTo>
                  <a:pt x="1916000" y="321329"/>
                </a:lnTo>
                <a:lnTo>
                  <a:pt x="1904055" y="327548"/>
                </a:lnTo>
                <a:lnTo>
                  <a:pt x="1869414" y="317183"/>
                </a:lnTo>
                <a:lnTo>
                  <a:pt x="1800132" y="327548"/>
                </a:lnTo>
                <a:lnTo>
                  <a:pt x="1771464" y="324438"/>
                </a:lnTo>
                <a:lnTo>
                  <a:pt x="1796549" y="317183"/>
                </a:lnTo>
                <a:lnTo>
                  <a:pt x="1804910" y="302671"/>
                </a:lnTo>
                <a:lnTo>
                  <a:pt x="1727267" y="289196"/>
                </a:lnTo>
                <a:lnTo>
                  <a:pt x="1693821" y="276757"/>
                </a:lnTo>
                <a:lnTo>
                  <a:pt x="1659180" y="276757"/>
                </a:lnTo>
                <a:lnTo>
                  <a:pt x="1629317" y="287123"/>
                </a:lnTo>
                <a:lnTo>
                  <a:pt x="1624539" y="287123"/>
                </a:lnTo>
                <a:lnTo>
                  <a:pt x="1654402" y="268465"/>
                </a:lnTo>
                <a:lnTo>
                  <a:pt x="1592287" y="286086"/>
                </a:lnTo>
                <a:lnTo>
                  <a:pt x="1586314" y="282977"/>
                </a:lnTo>
                <a:lnTo>
                  <a:pt x="1594676" y="270538"/>
                </a:lnTo>
                <a:lnTo>
                  <a:pt x="1579147" y="257063"/>
                </a:lnTo>
                <a:lnTo>
                  <a:pt x="1528978" y="273648"/>
                </a:lnTo>
                <a:lnTo>
                  <a:pt x="1531367" y="264319"/>
                </a:lnTo>
                <a:lnTo>
                  <a:pt x="1422666" y="286086"/>
                </a:lnTo>
                <a:lnTo>
                  <a:pt x="1386831" y="282977"/>
                </a:lnTo>
                <a:lnTo>
                  <a:pt x="1345023" y="298525"/>
                </a:lnTo>
                <a:lnTo>
                  <a:pt x="1276935" y="278830"/>
                </a:lnTo>
                <a:lnTo>
                  <a:pt x="1279324" y="276757"/>
                </a:lnTo>
                <a:lnTo>
                  <a:pt x="1250656" y="267428"/>
                </a:lnTo>
                <a:lnTo>
                  <a:pt x="1083424" y="257063"/>
                </a:lnTo>
                <a:lnTo>
                  <a:pt x="1077451" y="251880"/>
                </a:lnTo>
                <a:lnTo>
                  <a:pt x="1042811" y="251880"/>
                </a:lnTo>
                <a:lnTo>
                  <a:pt x="1042811" y="247734"/>
                </a:lnTo>
                <a:lnTo>
                  <a:pt x="1016531" y="241515"/>
                </a:lnTo>
                <a:lnTo>
                  <a:pt x="866023" y="262246"/>
                </a:lnTo>
                <a:lnTo>
                  <a:pt x="768072" y="290232"/>
                </a:lnTo>
                <a:lnTo>
                  <a:pt x="705958" y="295415"/>
                </a:lnTo>
                <a:lnTo>
                  <a:pt x="677289" y="309927"/>
                </a:lnTo>
                <a:lnTo>
                  <a:pt x="692818" y="326511"/>
                </a:lnTo>
                <a:lnTo>
                  <a:pt x="686845" y="335840"/>
                </a:lnTo>
                <a:lnTo>
                  <a:pt x="691624" y="349315"/>
                </a:lnTo>
                <a:lnTo>
                  <a:pt x="653399" y="355535"/>
                </a:lnTo>
                <a:lnTo>
                  <a:pt x="667733" y="348279"/>
                </a:lnTo>
                <a:lnTo>
                  <a:pt x="634287" y="348279"/>
                </a:lnTo>
                <a:lnTo>
                  <a:pt x="516030" y="374193"/>
                </a:lnTo>
                <a:lnTo>
                  <a:pt x="541115" y="380412"/>
                </a:lnTo>
                <a:lnTo>
                  <a:pt x="517224" y="392850"/>
                </a:lnTo>
                <a:lnTo>
                  <a:pt x="544698" y="400106"/>
                </a:lnTo>
                <a:lnTo>
                  <a:pt x="592479" y="403216"/>
                </a:lnTo>
                <a:lnTo>
                  <a:pt x="633092" y="395960"/>
                </a:lnTo>
                <a:lnTo>
                  <a:pt x="591284" y="421873"/>
                </a:lnTo>
                <a:lnTo>
                  <a:pt x="490945" y="432239"/>
                </a:lnTo>
                <a:lnTo>
                  <a:pt x="398968" y="469555"/>
                </a:lnTo>
                <a:lnTo>
                  <a:pt x="383439" y="504797"/>
                </a:lnTo>
                <a:lnTo>
                  <a:pt x="310574" y="504797"/>
                </a:lnTo>
                <a:lnTo>
                  <a:pt x="316546" y="507907"/>
                </a:lnTo>
                <a:lnTo>
                  <a:pt x="308185" y="507907"/>
                </a:lnTo>
                <a:lnTo>
                  <a:pt x="335658" y="517235"/>
                </a:lnTo>
                <a:lnTo>
                  <a:pt x="336853" y="517235"/>
                </a:lnTo>
                <a:lnTo>
                  <a:pt x="336853" y="517235"/>
                </a:lnTo>
                <a:lnTo>
                  <a:pt x="336853" y="517235"/>
                </a:lnTo>
                <a:lnTo>
                  <a:pt x="373883" y="508943"/>
                </a:lnTo>
                <a:lnTo>
                  <a:pt x="373883" y="508943"/>
                </a:lnTo>
                <a:lnTo>
                  <a:pt x="387022" y="505834"/>
                </a:lnTo>
                <a:lnTo>
                  <a:pt x="381050" y="520345"/>
                </a:lnTo>
                <a:lnTo>
                  <a:pt x="432414" y="511016"/>
                </a:lnTo>
                <a:lnTo>
                  <a:pt x="392995" y="543149"/>
                </a:lnTo>
                <a:lnTo>
                  <a:pt x="451526" y="540040"/>
                </a:lnTo>
                <a:lnTo>
                  <a:pt x="447943" y="550405"/>
                </a:lnTo>
                <a:lnTo>
                  <a:pt x="489751" y="544186"/>
                </a:lnTo>
                <a:lnTo>
                  <a:pt x="450332" y="568026"/>
                </a:lnTo>
                <a:lnTo>
                  <a:pt x="163648" y="650950"/>
                </a:lnTo>
                <a:lnTo>
                  <a:pt x="164843" y="656132"/>
                </a:lnTo>
                <a:lnTo>
                  <a:pt x="371494" y="611561"/>
                </a:lnTo>
                <a:lnTo>
                  <a:pt x="455110" y="587721"/>
                </a:lnTo>
                <a:lnTo>
                  <a:pt x="578145" y="548332"/>
                </a:lnTo>
                <a:lnTo>
                  <a:pt x="612786" y="534857"/>
                </a:lnTo>
                <a:lnTo>
                  <a:pt x="598451" y="531747"/>
                </a:lnTo>
                <a:lnTo>
                  <a:pt x="613980" y="522418"/>
                </a:lnTo>
                <a:lnTo>
                  <a:pt x="713125" y="490285"/>
                </a:lnTo>
                <a:lnTo>
                  <a:pt x="628314" y="532784"/>
                </a:lnTo>
                <a:lnTo>
                  <a:pt x="747766" y="511016"/>
                </a:lnTo>
                <a:lnTo>
                  <a:pt x="795546" y="485103"/>
                </a:lnTo>
                <a:lnTo>
                  <a:pt x="826604" y="487176"/>
                </a:lnTo>
                <a:lnTo>
                  <a:pt x="856466" y="511016"/>
                </a:lnTo>
                <a:lnTo>
                  <a:pt x="937693" y="516199"/>
                </a:lnTo>
                <a:lnTo>
                  <a:pt x="937693" y="516199"/>
                </a:lnTo>
                <a:lnTo>
                  <a:pt x="944860" y="514126"/>
                </a:lnTo>
                <a:lnTo>
                  <a:pt x="938888" y="518272"/>
                </a:lnTo>
                <a:lnTo>
                  <a:pt x="972334" y="552478"/>
                </a:lnTo>
                <a:lnTo>
                  <a:pt x="947249" y="614671"/>
                </a:lnTo>
                <a:lnTo>
                  <a:pt x="995030" y="571136"/>
                </a:lnTo>
                <a:lnTo>
                  <a:pt x="981890" y="585647"/>
                </a:lnTo>
                <a:lnTo>
                  <a:pt x="979501" y="586684"/>
                </a:lnTo>
                <a:lnTo>
                  <a:pt x="966362" y="605342"/>
                </a:lnTo>
                <a:lnTo>
                  <a:pt x="980696" y="603269"/>
                </a:lnTo>
                <a:lnTo>
                  <a:pt x="966362" y="621927"/>
                </a:lnTo>
                <a:lnTo>
                  <a:pt x="973529" y="645767"/>
                </a:lnTo>
                <a:lnTo>
                  <a:pt x="995030" y="627109"/>
                </a:lnTo>
                <a:lnTo>
                  <a:pt x="1003392" y="605342"/>
                </a:lnTo>
                <a:lnTo>
                  <a:pt x="1010559" y="607415"/>
                </a:lnTo>
                <a:lnTo>
                  <a:pt x="1005781" y="610524"/>
                </a:lnTo>
                <a:lnTo>
                  <a:pt x="998614" y="636438"/>
                </a:lnTo>
                <a:lnTo>
                  <a:pt x="1006975" y="643694"/>
                </a:lnTo>
                <a:lnTo>
                  <a:pt x="1027282" y="638511"/>
                </a:lnTo>
                <a:lnTo>
                  <a:pt x="984279" y="665461"/>
                </a:lnTo>
                <a:lnTo>
                  <a:pt x="984279" y="701740"/>
                </a:lnTo>
                <a:lnTo>
                  <a:pt x="996225" y="708996"/>
                </a:lnTo>
                <a:lnTo>
                  <a:pt x="984279" y="740092"/>
                </a:lnTo>
                <a:lnTo>
                  <a:pt x="998614" y="747348"/>
                </a:lnTo>
                <a:lnTo>
                  <a:pt x="975918" y="738019"/>
                </a:lnTo>
                <a:lnTo>
                  <a:pt x="961584" y="744239"/>
                </a:lnTo>
                <a:lnTo>
                  <a:pt x="961584" y="762897"/>
                </a:lnTo>
                <a:lnTo>
                  <a:pt x="979501" y="773262"/>
                </a:lnTo>
                <a:lnTo>
                  <a:pt x="975918" y="783627"/>
                </a:lnTo>
                <a:lnTo>
                  <a:pt x="999808" y="793993"/>
                </a:lnTo>
                <a:lnTo>
                  <a:pt x="997419" y="799176"/>
                </a:lnTo>
                <a:lnTo>
                  <a:pt x="1010559" y="809541"/>
                </a:lnTo>
                <a:lnTo>
                  <a:pt x="999808" y="806431"/>
                </a:lnTo>
                <a:lnTo>
                  <a:pt x="989057" y="817833"/>
                </a:lnTo>
                <a:lnTo>
                  <a:pt x="967556" y="869660"/>
                </a:lnTo>
                <a:lnTo>
                  <a:pt x="881551" y="957767"/>
                </a:lnTo>
                <a:lnTo>
                  <a:pt x="869606" y="997155"/>
                </a:lnTo>
                <a:lnTo>
                  <a:pt x="832576" y="1029288"/>
                </a:lnTo>
                <a:lnTo>
                  <a:pt x="842132" y="1047946"/>
                </a:lnTo>
                <a:lnTo>
                  <a:pt x="832576" y="1071787"/>
                </a:lnTo>
                <a:lnTo>
                  <a:pt x="840938" y="1084225"/>
                </a:lnTo>
                <a:lnTo>
                  <a:pt x="828993" y="1097700"/>
                </a:lnTo>
                <a:lnTo>
                  <a:pt x="850494" y="1094591"/>
                </a:lnTo>
                <a:lnTo>
                  <a:pt x="834965" y="1114285"/>
                </a:lnTo>
                <a:lnTo>
                  <a:pt x="839743" y="1122577"/>
                </a:lnTo>
                <a:lnTo>
                  <a:pt x="844521" y="1122577"/>
                </a:lnTo>
                <a:lnTo>
                  <a:pt x="831382" y="1138126"/>
                </a:lnTo>
                <a:lnTo>
                  <a:pt x="852883" y="1172332"/>
                </a:lnTo>
                <a:lnTo>
                  <a:pt x="843327" y="1189953"/>
                </a:lnTo>
                <a:lnTo>
                  <a:pt x="895885" y="1203428"/>
                </a:lnTo>
                <a:lnTo>
                  <a:pt x="895885" y="1210684"/>
                </a:lnTo>
                <a:lnTo>
                  <a:pt x="913803" y="1223122"/>
                </a:lnTo>
                <a:lnTo>
                  <a:pt x="913803" y="1240743"/>
                </a:lnTo>
                <a:lnTo>
                  <a:pt x="913803" y="1240743"/>
                </a:lnTo>
                <a:lnTo>
                  <a:pt x="913803" y="1242816"/>
                </a:lnTo>
                <a:lnTo>
                  <a:pt x="913803" y="1251109"/>
                </a:lnTo>
                <a:lnTo>
                  <a:pt x="913803" y="1251109"/>
                </a:lnTo>
                <a:lnTo>
                  <a:pt x="916192" y="1321594"/>
                </a:lnTo>
                <a:lnTo>
                  <a:pt x="948444" y="1354763"/>
                </a:lnTo>
                <a:lnTo>
                  <a:pt x="935304" y="1372384"/>
                </a:lnTo>
                <a:lnTo>
                  <a:pt x="912609" y="1369275"/>
                </a:lnTo>
                <a:lnTo>
                  <a:pt x="931721" y="1392079"/>
                </a:lnTo>
                <a:lnTo>
                  <a:pt x="975918" y="1417992"/>
                </a:lnTo>
                <a:lnTo>
                  <a:pt x="978307" y="1429394"/>
                </a:lnTo>
                <a:lnTo>
                  <a:pt x="966362" y="1456345"/>
                </a:lnTo>
                <a:lnTo>
                  <a:pt x="1015337" y="1493660"/>
                </a:lnTo>
                <a:lnTo>
                  <a:pt x="1018920" y="1515428"/>
                </a:lnTo>
                <a:lnTo>
                  <a:pt x="1046394" y="1498843"/>
                </a:lnTo>
                <a:lnTo>
                  <a:pt x="1029671" y="1469819"/>
                </a:lnTo>
                <a:lnTo>
                  <a:pt x="1015337" y="1469819"/>
                </a:lnTo>
                <a:lnTo>
                  <a:pt x="1006975" y="1407627"/>
                </a:lnTo>
                <a:lnTo>
                  <a:pt x="956806" y="1307082"/>
                </a:lnTo>
                <a:lnTo>
                  <a:pt x="973529" y="1266657"/>
                </a:lnTo>
                <a:lnTo>
                  <a:pt x="993835" y="1270803"/>
                </a:lnTo>
                <a:lnTo>
                  <a:pt x="1006975" y="1280132"/>
                </a:lnTo>
                <a:lnTo>
                  <a:pt x="1006975" y="1342325"/>
                </a:lnTo>
                <a:lnTo>
                  <a:pt x="1028476" y="1372384"/>
                </a:lnTo>
                <a:lnTo>
                  <a:pt x="1039227" y="1374458"/>
                </a:lnTo>
                <a:lnTo>
                  <a:pt x="1039227" y="1386896"/>
                </a:lnTo>
                <a:lnTo>
                  <a:pt x="1067895" y="1414883"/>
                </a:lnTo>
                <a:lnTo>
                  <a:pt x="1055950" y="1433540"/>
                </a:lnTo>
                <a:lnTo>
                  <a:pt x="1084619" y="1447016"/>
                </a:lnTo>
                <a:lnTo>
                  <a:pt x="1140761" y="1526829"/>
                </a:lnTo>
                <a:lnTo>
                  <a:pt x="1146733" y="1548597"/>
                </a:lnTo>
                <a:lnTo>
                  <a:pt x="1128816" y="1579693"/>
                </a:lnTo>
                <a:lnTo>
                  <a:pt x="1134788" y="1598351"/>
                </a:lnTo>
                <a:lnTo>
                  <a:pt x="1177791" y="1641886"/>
                </a:lnTo>
                <a:lnTo>
                  <a:pt x="1219599" y="1647069"/>
                </a:lnTo>
                <a:lnTo>
                  <a:pt x="1245878" y="1669873"/>
                </a:lnTo>
                <a:lnTo>
                  <a:pt x="1328299" y="1702006"/>
                </a:lnTo>
                <a:lnTo>
                  <a:pt x="1377274" y="1715481"/>
                </a:lnTo>
                <a:lnTo>
                  <a:pt x="1416693" y="1699932"/>
                </a:lnTo>
                <a:lnTo>
                  <a:pt x="1435806" y="1702006"/>
                </a:lnTo>
                <a:lnTo>
                  <a:pt x="1490753" y="1741394"/>
                </a:lnTo>
                <a:lnTo>
                  <a:pt x="1494337" y="1747614"/>
                </a:lnTo>
                <a:lnTo>
                  <a:pt x="1546895" y="1763162"/>
                </a:lnTo>
                <a:lnTo>
                  <a:pt x="1546895" y="1764198"/>
                </a:lnTo>
                <a:lnTo>
                  <a:pt x="1554063" y="1776637"/>
                </a:lnTo>
                <a:lnTo>
                  <a:pt x="1611399" y="1784929"/>
                </a:lnTo>
                <a:lnTo>
                  <a:pt x="1617372" y="1779746"/>
                </a:lnTo>
                <a:lnTo>
                  <a:pt x="1620955" y="1785965"/>
                </a:lnTo>
                <a:lnTo>
                  <a:pt x="1622150" y="1784929"/>
                </a:lnTo>
                <a:lnTo>
                  <a:pt x="1624539" y="1798404"/>
                </a:lnTo>
                <a:lnTo>
                  <a:pt x="1665152" y="1838829"/>
                </a:lnTo>
                <a:lnTo>
                  <a:pt x="1666347" y="1838829"/>
                </a:lnTo>
                <a:lnTo>
                  <a:pt x="1663958" y="1838829"/>
                </a:lnTo>
                <a:lnTo>
                  <a:pt x="1660374" y="1870962"/>
                </a:lnTo>
                <a:lnTo>
                  <a:pt x="1678292" y="1880291"/>
                </a:lnTo>
                <a:lnTo>
                  <a:pt x="1690237" y="1873035"/>
                </a:lnTo>
                <a:lnTo>
                  <a:pt x="1716516" y="1893766"/>
                </a:lnTo>
                <a:lnTo>
                  <a:pt x="1712933" y="1907241"/>
                </a:lnTo>
                <a:lnTo>
                  <a:pt x="1736823" y="1915533"/>
                </a:lnTo>
                <a:lnTo>
                  <a:pt x="1736823" y="1915533"/>
                </a:lnTo>
                <a:lnTo>
                  <a:pt x="1739212" y="1916570"/>
                </a:lnTo>
                <a:lnTo>
                  <a:pt x="1742796" y="1917607"/>
                </a:lnTo>
                <a:lnTo>
                  <a:pt x="1742796" y="1917607"/>
                </a:lnTo>
                <a:lnTo>
                  <a:pt x="1790576" y="1929009"/>
                </a:lnTo>
                <a:lnTo>
                  <a:pt x="1790576" y="1951813"/>
                </a:lnTo>
                <a:lnTo>
                  <a:pt x="1827606" y="1939374"/>
                </a:lnTo>
                <a:lnTo>
                  <a:pt x="1812077" y="1915533"/>
                </a:lnTo>
                <a:lnTo>
                  <a:pt x="1835968" y="1903095"/>
                </a:lnTo>
                <a:lnTo>
                  <a:pt x="1843135" y="1914497"/>
                </a:lnTo>
                <a:lnTo>
                  <a:pt x="1843135" y="1898949"/>
                </a:lnTo>
                <a:lnTo>
                  <a:pt x="1874192" y="1910351"/>
                </a:lnTo>
                <a:lnTo>
                  <a:pt x="1865831" y="1921753"/>
                </a:lnTo>
                <a:lnTo>
                  <a:pt x="1880165" y="1944557"/>
                </a:lnTo>
                <a:lnTo>
                  <a:pt x="1883748" y="1941447"/>
                </a:lnTo>
                <a:lnTo>
                  <a:pt x="1895693" y="1959068"/>
                </a:lnTo>
                <a:lnTo>
                  <a:pt x="1889721" y="2029553"/>
                </a:lnTo>
                <a:lnTo>
                  <a:pt x="1898082" y="2039919"/>
                </a:lnTo>
                <a:lnTo>
                  <a:pt x="1884943" y="2067906"/>
                </a:lnTo>
                <a:lnTo>
                  <a:pt x="1863442" y="2067906"/>
                </a:lnTo>
                <a:lnTo>
                  <a:pt x="1857469" y="2091746"/>
                </a:lnTo>
                <a:lnTo>
                  <a:pt x="1844329" y="2094856"/>
                </a:lnTo>
                <a:lnTo>
                  <a:pt x="1847913" y="2107294"/>
                </a:lnTo>
                <a:lnTo>
                  <a:pt x="1809688" y="2123879"/>
                </a:lnTo>
                <a:lnTo>
                  <a:pt x="1806105" y="2142537"/>
                </a:lnTo>
                <a:lnTo>
                  <a:pt x="1790576" y="2150829"/>
                </a:lnTo>
                <a:lnTo>
                  <a:pt x="1790576" y="2166377"/>
                </a:lnTo>
                <a:lnTo>
                  <a:pt x="1781020" y="2171560"/>
                </a:lnTo>
                <a:lnTo>
                  <a:pt x="1784604" y="2209912"/>
                </a:lnTo>
                <a:lnTo>
                  <a:pt x="1808494" y="2230643"/>
                </a:lnTo>
                <a:lnTo>
                  <a:pt x="1798938" y="2237899"/>
                </a:lnTo>
                <a:lnTo>
                  <a:pt x="1798938" y="2237899"/>
                </a:lnTo>
                <a:lnTo>
                  <a:pt x="1798938" y="2237899"/>
                </a:lnTo>
                <a:lnTo>
                  <a:pt x="1775048" y="2256557"/>
                </a:lnTo>
                <a:lnTo>
                  <a:pt x="1786993" y="2295945"/>
                </a:lnTo>
                <a:lnTo>
                  <a:pt x="1779826" y="2307347"/>
                </a:lnTo>
                <a:lnTo>
                  <a:pt x="1816856" y="2329115"/>
                </a:lnTo>
                <a:lnTo>
                  <a:pt x="1858664" y="2377832"/>
                </a:lnTo>
                <a:lnTo>
                  <a:pt x="1956614" y="2545753"/>
                </a:lnTo>
                <a:lnTo>
                  <a:pt x="2119067" y="2643188"/>
                </a:lnTo>
                <a:lnTo>
                  <a:pt x="2146541" y="2728184"/>
                </a:lnTo>
                <a:lnTo>
                  <a:pt x="2140569" y="2766536"/>
                </a:lnTo>
                <a:lnTo>
                  <a:pt x="2156097" y="2856716"/>
                </a:lnTo>
                <a:lnTo>
                  <a:pt x="2146541" y="2934457"/>
                </a:lnTo>
                <a:lnTo>
                  <a:pt x="2146541" y="2935493"/>
                </a:lnTo>
                <a:lnTo>
                  <a:pt x="2158486" y="2961407"/>
                </a:lnTo>
                <a:lnTo>
                  <a:pt x="2152514" y="2982138"/>
                </a:lnTo>
                <a:lnTo>
                  <a:pt x="2176404" y="3031892"/>
                </a:lnTo>
                <a:lnTo>
                  <a:pt x="2176404" y="3059878"/>
                </a:lnTo>
                <a:lnTo>
                  <a:pt x="2170432" y="3156277"/>
                </a:lnTo>
                <a:lnTo>
                  <a:pt x="2157292" y="3156277"/>
                </a:lnTo>
                <a:lnTo>
                  <a:pt x="2160875" y="3174935"/>
                </a:lnTo>
                <a:lnTo>
                  <a:pt x="2190738" y="3224689"/>
                </a:lnTo>
                <a:lnTo>
                  <a:pt x="2190738" y="3266151"/>
                </a:lnTo>
                <a:lnTo>
                  <a:pt x="2209851" y="3287918"/>
                </a:lnTo>
                <a:lnTo>
                  <a:pt x="2226574" y="3291028"/>
                </a:lnTo>
                <a:lnTo>
                  <a:pt x="2226574" y="3280662"/>
                </a:lnTo>
                <a:lnTo>
                  <a:pt x="2236130" y="3283772"/>
                </a:lnTo>
                <a:lnTo>
                  <a:pt x="2254048" y="3338709"/>
                </a:lnTo>
                <a:lnTo>
                  <a:pt x="2258826" y="3376024"/>
                </a:lnTo>
                <a:lnTo>
                  <a:pt x="2254048" y="3370842"/>
                </a:lnTo>
                <a:lnTo>
                  <a:pt x="2244491" y="3347001"/>
                </a:lnTo>
                <a:lnTo>
                  <a:pt x="2228963" y="3336636"/>
                </a:lnTo>
                <a:lnTo>
                  <a:pt x="2220601" y="3348038"/>
                </a:lnTo>
                <a:lnTo>
                  <a:pt x="2234935" y="3391573"/>
                </a:lnTo>
                <a:lnTo>
                  <a:pt x="2224185" y="3397792"/>
                </a:lnTo>
                <a:lnTo>
                  <a:pt x="2233741" y="3402974"/>
                </a:lnTo>
                <a:lnTo>
                  <a:pt x="2219407" y="3415413"/>
                </a:lnTo>
                <a:lnTo>
                  <a:pt x="2228963" y="3423705"/>
                </a:lnTo>
                <a:lnTo>
                  <a:pt x="2238519" y="3417486"/>
                </a:lnTo>
                <a:lnTo>
                  <a:pt x="2267187" y="3419559"/>
                </a:lnTo>
                <a:lnTo>
                  <a:pt x="2269576" y="3451692"/>
                </a:lnTo>
                <a:lnTo>
                  <a:pt x="2255242" y="3439253"/>
                </a:lnTo>
                <a:lnTo>
                  <a:pt x="2245686" y="3443400"/>
                </a:lnTo>
                <a:lnTo>
                  <a:pt x="2245686" y="3452729"/>
                </a:lnTo>
                <a:lnTo>
                  <a:pt x="2267187" y="3502483"/>
                </a:lnTo>
                <a:lnTo>
                  <a:pt x="2281521" y="3502483"/>
                </a:lnTo>
                <a:lnTo>
                  <a:pt x="2288689" y="3532542"/>
                </a:lnTo>
                <a:lnTo>
                  <a:pt x="2294661" y="3518031"/>
                </a:lnTo>
                <a:lnTo>
                  <a:pt x="2298245" y="3551200"/>
                </a:lnTo>
                <a:lnTo>
                  <a:pt x="2322135" y="3540835"/>
                </a:lnTo>
                <a:lnTo>
                  <a:pt x="2322135" y="3537725"/>
                </a:lnTo>
                <a:lnTo>
                  <a:pt x="2328107" y="3546018"/>
                </a:lnTo>
                <a:lnTo>
                  <a:pt x="2328107" y="3552237"/>
                </a:lnTo>
                <a:lnTo>
                  <a:pt x="2308995" y="3549127"/>
                </a:lnTo>
                <a:lnTo>
                  <a:pt x="2317357" y="3567785"/>
                </a:lnTo>
                <a:lnTo>
                  <a:pt x="2338858" y="3570895"/>
                </a:lnTo>
                <a:lnTo>
                  <a:pt x="2341247" y="3566748"/>
                </a:lnTo>
                <a:lnTo>
                  <a:pt x="2403362" y="3597845"/>
                </a:lnTo>
                <a:lnTo>
                  <a:pt x="2375888" y="3591625"/>
                </a:lnTo>
                <a:lnTo>
                  <a:pt x="2375888" y="3600954"/>
                </a:lnTo>
                <a:lnTo>
                  <a:pt x="2392611" y="3615466"/>
                </a:lnTo>
                <a:lnTo>
                  <a:pt x="2410529" y="3615466"/>
                </a:lnTo>
                <a:lnTo>
                  <a:pt x="2463087" y="3638270"/>
                </a:lnTo>
                <a:lnTo>
                  <a:pt x="2490561" y="3638270"/>
                </a:lnTo>
                <a:lnTo>
                  <a:pt x="2501312" y="3645526"/>
                </a:lnTo>
                <a:lnTo>
                  <a:pt x="2522813" y="3651745"/>
                </a:lnTo>
                <a:lnTo>
                  <a:pt x="2525202" y="3655891"/>
                </a:lnTo>
                <a:lnTo>
                  <a:pt x="2557454" y="3655891"/>
                </a:lnTo>
                <a:lnTo>
                  <a:pt x="2547898" y="3644489"/>
                </a:lnTo>
                <a:lnTo>
                  <a:pt x="2598068" y="3637233"/>
                </a:lnTo>
                <a:lnTo>
                  <a:pt x="2611207" y="3625831"/>
                </a:lnTo>
                <a:lnTo>
                  <a:pt x="2524008" y="3598881"/>
                </a:lnTo>
                <a:lnTo>
                  <a:pt x="2494145" y="3577114"/>
                </a:lnTo>
                <a:lnTo>
                  <a:pt x="2491756" y="3571931"/>
                </a:lnTo>
                <a:lnTo>
                  <a:pt x="2488172" y="3572968"/>
                </a:lnTo>
                <a:lnTo>
                  <a:pt x="2483394" y="3569858"/>
                </a:lnTo>
                <a:lnTo>
                  <a:pt x="2497728" y="3570895"/>
                </a:lnTo>
                <a:lnTo>
                  <a:pt x="2451142" y="3530469"/>
                </a:lnTo>
                <a:lnTo>
                  <a:pt x="2448753" y="3522177"/>
                </a:lnTo>
                <a:lnTo>
                  <a:pt x="2469060" y="3506629"/>
                </a:lnTo>
                <a:lnTo>
                  <a:pt x="2465476" y="3480715"/>
                </a:lnTo>
                <a:lnTo>
                  <a:pt x="2495339" y="3451692"/>
                </a:lnTo>
                <a:lnTo>
                  <a:pt x="2491756" y="3439253"/>
                </a:lnTo>
                <a:lnTo>
                  <a:pt x="2484589" y="3424742"/>
                </a:lnTo>
                <a:lnTo>
                  <a:pt x="2472644" y="3424742"/>
                </a:lnTo>
                <a:lnTo>
                  <a:pt x="2441586" y="3407121"/>
                </a:lnTo>
                <a:lnTo>
                  <a:pt x="2436808" y="3395719"/>
                </a:lnTo>
                <a:lnTo>
                  <a:pt x="2441586" y="3382243"/>
                </a:lnTo>
                <a:lnTo>
                  <a:pt x="2472644" y="3373951"/>
                </a:lnTo>
                <a:lnTo>
                  <a:pt x="2469060" y="3362549"/>
                </a:lnTo>
                <a:lnTo>
                  <a:pt x="2475033" y="3357366"/>
                </a:lnTo>
                <a:lnTo>
                  <a:pt x="2463087" y="3336636"/>
                </a:lnTo>
                <a:lnTo>
                  <a:pt x="2482200" y="3316941"/>
                </a:lnTo>
                <a:lnTo>
                  <a:pt x="2464282" y="3311759"/>
                </a:lnTo>
                <a:lnTo>
                  <a:pt x="2469060" y="3306576"/>
                </a:lnTo>
                <a:lnTo>
                  <a:pt x="2479811" y="3315905"/>
                </a:lnTo>
                <a:lnTo>
                  <a:pt x="2496534" y="3315905"/>
                </a:lnTo>
                <a:lnTo>
                  <a:pt x="2496534" y="3307612"/>
                </a:lnTo>
                <a:lnTo>
                  <a:pt x="2485783" y="3287918"/>
                </a:lnTo>
                <a:lnTo>
                  <a:pt x="2469060" y="3296210"/>
                </a:lnTo>
                <a:lnTo>
                  <a:pt x="2453531" y="3288954"/>
                </a:lnTo>
                <a:lnTo>
                  <a:pt x="2436808" y="3263041"/>
                </a:lnTo>
                <a:lnTo>
                  <a:pt x="2440392" y="3257858"/>
                </a:lnTo>
                <a:lnTo>
                  <a:pt x="2471449" y="3268224"/>
                </a:lnTo>
                <a:lnTo>
                  <a:pt x="2510868" y="3262005"/>
                </a:lnTo>
                <a:lnTo>
                  <a:pt x="2504895" y="3220543"/>
                </a:lnTo>
                <a:lnTo>
                  <a:pt x="2496534" y="3206031"/>
                </a:lnTo>
                <a:lnTo>
                  <a:pt x="2500117" y="3208104"/>
                </a:lnTo>
                <a:lnTo>
                  <a:pt x="2540731" y="3208104"/>
                </a:lnTo>
                <a:lnTo>
                  <a:pt x="2613596" y="3187373"/>
                </a:lnTo>
                <a:lnTo>
                  <a:pt x="2614791" y="3187373"/>
                </a:lnTo>
                <a:lnTo>
                  <a:pt x="2630319" y="3149021"/>
                </a:lnTo>
                <a:lnTo>
                  <a:pt x="2617180" y="3132437"/>
                </a:lnTo>
                <a:lnTo>
                  <a:pt x="2598068" y="3117925"/>
                </a:lnTo>
                <a:lnTo>
                  <a:pt x="2604040" y="3107559"/>
                </a:lnTo>
                <a:lnTo>
                  <a:pt x="2564621" y="3085792"/>
                </a:lnTo>
                <a:lnTo>
                  <a:pt x="2562232" y="3075427"/>
                </a:lnTo>
                <a:lnTo>
                  <a:pt x="2624347" y="3095121"/>
                </a:lnTo>
                <a:lnTo>
                  <a:pt x="2682878" y="3084755"/>
                </a:lnTo>
                <a:lnTo>
                  <a:pt x="2698407" y="3061951"/>
                </a:lnTo>
                <a:lnTo>
                  <a:pt x="2698407" y="3057805"/>
                </a:lnTo>
                <a:lnTo>
                  <a:pt x="2718714" y="3029818"/>
                </a:lnTo>
                <a:lnTo>
                  <a:pt x="2748576" y="3000795"/>
                </a:lnTo>
                <a:lnTo>
                  <a:pt x="2770077" y="2945859"/>
                </a:lnTo>
                <a:lnTo>
                  <a:pt x="2797551" y="2916835"/>
                </a:lnTo>
                <a:lnTo>
                  <a:pt x="2787995" y="2844277"/>
                </a:lnTo>
                <a:lnTo>
                  <a:pt x="2832192" y="2798669"/>
                </a:lnTo>
                <a:lnTo>
                  <a:pt x="2857277" y="2786231"/>
                </a:lnTo>
                <a:lnTo>
                  <a:pt x="2866833" y="2791413"/>
                </a:lnTo>
                <a:lnTo>
                  <a:pt x="2879973" y="2777938"/>
                </a:lnTo>
                <a:lnTo>
                  <a:pt x="2894307" y="2777938"/>
                </a:lnTo>
                <a:lnTo>
                  <a:pt x="2891918" y="2767573"/>
                </a:lnTo>
                <a:lnTo>
                  <a:pt x="2965978" y="2767573"/>
                </a:lnTo>
                <a:lnTo>
                  <a:pt x="2965978" y="2753061"/>
                </a:lnTo>
                <a:lnTo>
                  <a:pt x="2995840" y="2737513"/>
                </a:lnTo>
                <a:lnTo>
                  <a:pt x="2995840" y="2710563"/>
                </a:lnTo>
                <a:lnTo>
                  <a:pt x="3025703" y="2669101"/>
                </a:lnTo>
                <a:lnTo>
                  <a:pt x="3025703" y="2627639"/>
                </a:lnTo>
                <a:lnTo>
                  <a:pt x="3031676" y="2618311"/>
                </a:lnTo>
                <a:lnTo>
                  <a:pt x="3031676" y="2501181"/>
                </a:lnTo>
                <a:lnTo>
                  <a:pt x="3123654" y="2397527"/>
                </a:lnTo>
                <a:lnTo>
                  <a:pt x="3145155" y="2358138"/>
                </a:lnTo>
                <a:lnTo>
                  <a:pt x="3145155" y="2322896"/>
                </a:lnTo>
                <a:lnTo>
                  <a:pt x="3123654" y="2274178"/>
                </a:lnTo>
                <a:lnTo>
                  <a:pt x="3075873" y="2278324"/>
                </a:lnTo>
                <a:close/>
                <a:moveTo>
                  <a:pt x="1907639" y="937036"/>
                </a:moveTo>
                <a:lnTo>
                  <a:pt x="1877776" y="987827"/>
                </a:lnTo>
                <a:lnTo>
                  <a:pt x="1858664" y="997155"/>
                </a:lnTo>
                <a:lnTo>
                  <a:pt x="1847913" y="997155"/>
                </a:lnTo>
                <a:lnTo>
                  <a:pt x="1847913" y="989900"/>
                </a:lnTo>
                <a:lnTo>
                  <a:pt x="1862247" y="959840"/>
                </a:lnTo>
                <a:lnTo>
                  <a:pt x="1912417" y="904903"/>
                </a:lnTo>
                <a:lnTo>
                  <a:pt x="1895693" y="912159"/>
                </a:lnTo>
                <a:lnTo>
                  <a:pt x="1921973" y="891428"/>
                </a:lnTo>
                <a:lnTo>
                  <a:pt x="1966170" y="890391"/>
                </a:lnTo>
                <a:lnTo>
                  <a:pt x="1933918" y="910086"/>
                </a:lnTo>
                <a:lnTo>
                  <a:pt x="1907639" y="937036"/>
                </a:lnTo>
                <a:close/>
                <a:moveTo>
                  <a:pt x="1998422" y="1000265"/>
                </a:moveTo>
                <a:lnTo>
                  <a:pt x="1967364" y="1002338"/>
                </a:lnTo>
                <a:lnTo>
                  <a:pt x="1962586" y="999228"/>
                </a:lnTo>
                <a:lnTo>
                  <a:pt x="1962586" y="999228"/>
                </a:lnTo>
                <a:lnTo>
                  <a:pt x="2021117" y="976425"/>
                </a:lnTo>
                <a:lnTo>
                  <a:pt x="2072481" y="971242"/>
                </a:lnTo>
                <a:lnTo>
                  <a:pt x="1998422" y="1000265"/>
                </a:lnTo>
                <a:close/>
                <a:moveTo>
                  <a:pt x="2095177" y="1136052"/>
                </a:moveTo>
                <a:lnTo>
                  <a:pt x="2091594" y="1125687"/>
                </a:lnTo>
                <a:lnTo>
                  <a:pt x="2104733" y="1100810"/>
                </a:lnTo>
                <a:lnTo>
                  <a:pt x="2102344" y="1098737"/>
                </a:lnTo>
                <a:lnTo>
                  <a:pt x="2103539" y="1098737"/>
                </a:lnTo>
                <a:lnTo>
                  <a:pt x="2105928" y="1090444"/>
                </a:lnTo>
                <a:lnTo>
                  <a:pt x="2109512" y="1093554"/>
                </a:lnTo>
                <a:lnTo>
                  <a:pt x="2105928" y="1102883"/>
                </a:lnTo>
                <a:lnTo>
                  <a:pt x="2114289" y="1102883"/>
                </a:lnTo>
                <a:lnTo>
                  <a:pt x="2095177" y="1136052"/>
                </a:lnTo>
                <a:close/>
                <a:moveTo>
                  <a:pt x="2110706" y="1075933"/>
                </a:moveTo>
                <a:lnTo>
                  <a:pt x="2114289" y="1064531"/>
                </a:lnTo>
                <a:lnTo>
                  <a:pt x="2117873" y="1063494"/>
                </a:lnTo>
                <a:lnTo>
                  <a:pt x="2110706" y="1075933"/>
                </a:lnTo>
                <a:close/>
                <a:moveTo>
                  <a:pt x="2158486" y="943255"/>
                </a:moveTo>
                <a:lnTo>
                  <a:pt x="2178793" y="934963"/>
                </a:lnTo>
                <a:lnTo>
                  <a:pt x="2169237" y="948438"/>
                </a:lnTo>
                <a:lnTo>
                  <a:pt x="2095177" y="953621"/>
                </a:lnTo>
                <a:lnTo>
                  <a:pt x="2095177" y="953621"/>
                </a:lnTo>
                <a:lnTo>
                  <a:pt x="2095177" y="953621"/>
                </a:lnTo>
                <a:lnTo>
                  <a:pt x="2086816" y="954657"/>
                </a:lnTo>
                <a:lnTo>
                  <a:pt x="2086816" y="955694"/>
                </a:lnTo>
                <a:lnTo>
                  <a:pt x="2084427" y="955694"/>
                </a:lnTo>
                <a:lnTo>
                  <a:pt x="2091594" y="949475"/>
                </a:lnTo>
                <a:lnTo>
                  <a:pt x="2158486" y="943255"/>
                </a:lnTo>
                <a:close/>
                <a:moveTo>
                  <a:pt x="2043813" y="884172"/>
                </a:moveTo>
                <a:lnTo>
                  <a:pt x="2005589" y="884172"/>
                </a:lnTo>
                <a:lnTo>
                  <a:pt x="2056953" y="897647"/>
                </a:lnTo>
                <a:lnTo>
                  <a:pt x="2068898" y="887282"/>
                </a:lnTo>
                <a:lnTo>
                  <a:pt x="2084427" y="889355"/>
                </a:lnTo>
                <a:lnTo>
                  <a:pt x="2095177" y="914232"/>
                </a:lnTo>
                <a:lnTo>
                  <a:pt x="2084427" y="920451"/>
                </a:lnTo>
                <a:lnTo>
                  <a:pt x="2056953" y="901793"/>
                </a:lnTo>
                <a:lnTo>
                  <a:pt x="2022312" y="955694"/>
                </a:lnTo>
                <a:lnTo>
                  <a:pt x="2004394" y="962949"/>
                </a:lnTo>
                <a:lnTo>
                  <a:pt x="2007978" y="935999"/>
                </a:lnTo>
                <a:lnTo>
                  <a:pt x="1981698" y="943255"/>
                </a:lnTo>
                <a:lnTo>
                  <a:pt x="2002005" y="927707"/>
                </a:lnTo>
                <a:lnTo>
                  <a:pt x="2012756" y="900757"/>
                </a:lnTo>
                <a:lnTo>
                  <a:pt x="1974531" y="890391"/>
                </a:lnTo>
                <a:lnTo>
                  <a:pt x="2005589" y="889355"/>
                </a:lnTo>
                <a:lnTo>
                  <a:pt x="2007978" y="878989"/>
                </a:lnTo>
                <a:lnTo>
                  <a:pt x="2043813" y="884172"/>
                </a:lnTo>
                <a:close/>
                <a:moveTo>
                  <a:pt x="1880165" y="834418"/>
                </a:moveTo>
                <a:lnTo>
                  <a:pt x="1884943" y="834418"/>
                </a:lnTo>
                <a:lnTo>
                  <a:pt x="1884943" y="833381"/>
                </a:lnTo>
                <a:lnTo>
                  <a:pt x="1944669" y="803322"/>
                </a:lnTo>
                <a:lnTo>
                  <a:pt x="1978115" y="810577"/>
                </a:lnTo>
                <a:lnTo>
                  <a:pt x="1984087" y="834418"/>
                </a:lnTo>
                <a:lnTo>
                  <a:pt x="2006783" y="834418"/>
                </a:lnTo>
                <a:lnTo>
                  <a:pt x="1993643" y="867587"/>
                </a:lnTo>
                <a:lnTo>
                  <a:pt x="1987671" y="867587"/>
                </a:lnTo>
                <a:lnTo>
                  <a:pt x="1991254" y="859295"/>
                </a:lnTo>
                <a:lnTo>
                  <a:pt x="1920778" y="867587"/>
                </a:lnTo>
                <a:lnTo>
                  <a:pt x="1920778" y="860332"/>
                </a:lnTo>
                <a:lnTo>
                  <a:pt x="1905250" y="860332"/>
                </a:lnTo>
                <a:lnTo>
                  <a:pt x="1939890" y="836491"/>
                </a:lnTo>
                <a:lnTo>
                  <a:pt x="1841940" y="866551"/>
                </a:lnTo>
                <a:lnTo>
                  <a:pt x="1839551" y="854112"/>
                </a:lnTo>
                <a:lnTo>
                  <a:pt x="1829995" y="856186"/>
                </a:lnTo>
                <a:lnTo>
                  <a:pt x="1880165" y="834418"/>
                </a:lnTo>
                <a:close/>
                <a:moveTo>
                  <a:pt x="1503893" y="1329886"/>
                </a:moveTo>
                <a:lnTo>
                  <a:pt x="1503893" y="1339215"/>
                </a:lnTo>
                <a:lnTo>
                  <a:pt x="1499115" y="1330923"/>
                </a:lnTo>
                <a:lnTo>
                  <a:pt x="1503893" y="1329886"/>
                </a:lnTo>
                <a:close/>
                <a:moveTo>
                  <a:pt x="1002197" y="556624"/>
                </a:moveTo>
                <a:lnTo>
                  <a:pt x="1017726" y="552478"/>
                </a:lnTo>
                <a:lnTo>
                  <a:pt x="1004586" y="566990"/>
                </a:lnTo>
                <a:lnTo>
                  <a:pt x="1002197" y="556624"/>
                </a:lnTo>
                <a:close/>
                <a:moveTo>
                  <a:pt x="1015337" y="589794"/>
                </a:moveTo>
                <a:lnTo>
                  <a:pt x="1004586" y="585647"/>
                </a:lnTo>
                <a:lnTo>
                  <a:pt x="1018920" y="579428"/>
                </a:lnTo>
                <a:lnTo>
                  <a:pt x="1015337" y="589794"/>
                </a:lnTo>
                <a:close/>
                <a:moveTo>
                  <a:pt x="1033254" y="839601"/>
                </a:moveTo>
                <a:lnTo>
                  <a:pt x="1030865" y="839601"/>
                </a:lnTo>
                <a:lnTo>
                  <a:pt x="1035643" y="837528"/>
                </a:lnTo>
                <a:lnTo>
                  <a:pt x="1033254" y="839601"/>
                </a:lnTo>
                <a:close/>
                <a:moveTo>
                  <a:pt x="1058339" y="812651"/>
                </a:moveTo>
                <a:lnTo>
                  <a:pt x="1042811" y="829235"/>
                </a:lnTo>
                <a:lnTo>
                  <a:pt x="1033254" y="824053"/>
                </a:lnTo>
                <a:lnTo>
                  <a:pt x="1027282" y="821980"/>
                </a:lnTo>
                <a:lnTo>
                  <a:pt x="1041616" y="817833"/>
                </a:lnTo>
                <a:lnTo>
                  <a:pt x="1024893" y="772225"/>
                </a:lnTo>
                <a:lnTo>
                  <a:pt x="1058339" y="801249"/>
                </a:lnTo>
                <a:lnTo>
                  <a:pt x="1058339" y="812651"/>
                </a:lnTo>
                <a:close/>
                <a:moveTo>
                  <a:pt x="2304217" y="3523214"/>
                </a:moveTo>
                <a:lnTo>
                  <a:pt x="2307801" y="3514921"/>
                </a:lnTo>
                <a:lnTo>
                  <a:pt x="2313773" y="3525287"/>
                </a:lnTo>
                <a:lnTo>
                  <a:pt x="2304217" y="3523214"/>
                </a:lnTo>
                <a:close/>
                <a:moveTo>
                  <a:pt x="2347220" y="1870962"/>
                </a:moveTo>
                <a:lnTo>
                  <a:pt x="2330497" y="1854377"/>
                </a:lnTo>
                <a:lnTo>
                  <a:pt x="2363943" y="1847122"/>
                </a:lnTo>
                <a:lnTo>
                  <a:pt x="2366332" y="1864743"/>
                </a:lnTo>
                <a:lnTo>
                  <a:pt x="2353192" y="1873035"/>
                </a:lnTo>
                <a:lnTo>
                  <a:pt x="2347220" y="1870962"/>
                </a:lnTo>
                <a:close/>
                <a:moveTo>
                  <a:pt x="2471449" y="3580223"/>
                </a:moveTo>
                <a:lnTo>
                  <a:pt x="2471449" y="3572968"/>
                </a:lnTo>
                <a:lnTo>
                  <a:pt x="2489367" y="3574004"/>
                </a:lnTo>
                <a:lnTo>
                  <a:pt x="2491756" y="3579187"/>
                </a:lnTo>
                <a:lnTo>
                  <a:pt x="2455920" y="3586443"/>
                </a:lnTo>
                <a:lnTo>
                  <a:pt x="2464282" y="3600954"/>
                </a:lnTo>
                <a:lnTo>
                  <a:pt x="2490561" y="3603028"/>
                </a:lnTo>
                <a:lnTo>
                  <a:pt x="2481005" y="3608210"/>
                </a:lnTo>
                <a:lnTo>
                  <a:pt x="2467866" y="3603028"/>
                </a:lnTo>
                <a:lnTo>
                  <a:pt x="2461893" y="3613393"/>
                </a:lnTo>
                <a:lnTo>
                  <a:pt x="2458309" y="3612356"/>
                </a:lnTo>
                <a:lnTo>
                  <a:pt x="2452337" y="3584370"/>
                </a:lnTo>
                <a:lnTo>
                  <a:pt x="2471449" y="3580223"/>
                </a:lnTo>
                <a:close/>
                <a:moveTo>
                  <a:pt x="2411723" y="3603028"/>
                </a:moveTo>
                <a:lnTo>
                  <a:pt x="2414113" y="3599918"/>
                </a:lnTo>
                <a:lnTo>
                  <a:pt x="2429641" y="3607174"/>
                </a:lnTo>
                <a:lnTo>
                  <a:pt x="2411723" y="3603028"/>
                </a:lnTo>
                <a:close/>
                <a:moveTo>
                  <a:pt x="2433225" y="3589552"/>
                </a:moveTo>
                <a:lnTo>
                  <a:pt x="2416502" y="3598881"/>
                </a:lnTo>
                <a:lnTo>
                  <a:pt x="2428447" y="3587479"/>
                </a:lnTo>
                <a:lnTo>
                  <a:pt x="2434419" y="3588516"/>
                </a:lnTo>
                <a:lnTo>
                  <a:pt x="2433225" y="3589552"/>
                </a:lnTo>
                <a:close/>
                <a:moveTo>
                  <a:pt x="2242102" y="3337672"/>
                </a:moveTo>
                <a:lnTo>
                  <a:pt x="2242102" y="3337672"/>
                </a:lnTo>
                <a:lnTo>
                  <a:pt x="2242102" y="3337672"/>
                </a:lnTo>
                <a:lnTo>
                  <a:pt x="2238519" y="3304503"/>
                </a:lnTo>
                <a:lnTo>
                  <a:pt x="2205073" y="3284808"/>
                </a:lnTo>
                <a:lnTo>
                  <a:pt x="2205073" y="3284808"/>
                </a:lnTo>
                <a:lnTo>
                  <a:pt x="2205073" y="3284808"/>
                </a:lnTo>
                <a:lnTo>
                  <a:pt x="2207462" y="3291028"/>
                </a:lnTo>
                <a:lnTo>
                  <a:pt x="2217018" y="3334563"/>
                </a:lnTo>
                <a:lnTo>
                  <a:pt x="2239713" y="3337672"/>
                </a:lnTo>
                <a:lnTo>
                  <a:pt x="2242102" y="3337672"/>
                </a:lnTo>
                <a:close/>
                <a:moveTo>
                  <a:pt x="2163265" y="1820172"/>
                </a:moveTo>
                <a:lnTo>
                  <a:pt x="2168043" y="1816025"/>
                </a:lnTo>
                <a:lnTo>
                  <a:pt x="2148930" y="1799441"/>
                </a:lnTo>
                <a:lnTo>
                  <a:pt x="2144152" y="1803587"/>
                </a:lnTo>
                <a:lnTo>
                  <a:pt x="2163265" y="1820172"/>
                </a:lnTo>
                <a:close/>
                <a:moveTo>
                  <a:pt x="1476419" y="2157048"/>
                </a:moveTo>
                <a:lnTo>
                  <a:pt x="1485975" y="2161195"/>
                </a:lnTo>
                <a:lnTo>
                  <a:pt x="1478808" y="2165341"/>
                </a:lnTo>
                <a:lnTo>
                  <a:pt x="1491948" y="2176743"/>
                </a:lnTo>
                <a:lnTo>
                  <a:pt x="1511060" y="2160158"/>
                </a:lnTo>
                <a:lnTo>
                  <a:pt x="1484781" y="2134244"/>
                </a:lnTo>
                <a:lnTo>
                  <a:pt x="1476419" y="2157048"/>
                </a:lnTo>
                <a:close/>
              </a:path>
            </a:pathLst>
          </a:custGeom>
          <a:solidFill>
            <a:srgbClr val="D9D9D9"/>
          </a:solidFill>
          <a:ln w="1194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0" name="Freeform: Shape 89">
            <a:extLst>
              <a:ext uri="{FF2B5EF4-FFF2-40B4-BE49-F238E27FC236}">
                <a16:creationId xmlns:a16="http://schemas.microsoft.com/office/drawing/2014/main" id="{25FD0BF6-46E3-4CB3-AB89-D222D4E5CD54}"/>
              </a:ext>
            </a:extLst>
          </p:cNvPr>
          <p:cNvSpPr/>
          <p:nvPr/>
        </p:nvSpPr>
        <p:spPr>
          <a:xfrm flipV="1">
            <a:off x="3905672" y="2643051"/>
            <a:ext cx="725633" cy="273882"/>
          </a:xfrm>
          <a:custGeom>
            <a:avLst/>
            <a:gdLst>
              <a:gd name="connsiteX0" fmla="*/ 318977 w 318977"/>
              <a:gd name="connsiteY0" fmla="*/ 0 h 191386"/>
              <a:gd name="connsiteX1" fmla="*/ 0 w 318977"/>
              <a:gd name="connsiteY1" fmla="*/ 0 h 191386"/>
              <a:gd name="connsiteX2" fmla="*/ 0 w 318977"/>
              <a:gd name="connsiteY2" fmla="*/ 191386 h 1913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18977" h="191386">
                <a:moveTo>
                  <a:pt x="318977" y="0"/>
                </a:moveTo>
                <a:lnTo>
                  <a:pt x="0" y="0"/>
                </a:lnTo>
                <a:lnTo>
                  <a:pt x="0" y="191386"/>
                </a:lnTo>
              </a:path>
            </a:pathLst>
          </a:custGeom>
          <a:noFill/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C8DC14E3-15DA-41F9-ADE6-CA85558B4A83}"/>
              </a:ext>
            </a:extLst>
          </p:cNvPr>
          <p:cNvCxnSpPr>
            <a:cxnSpLocks/>
          </p:cNvCxnSpPr>
          <p:nvPr/>
        </p:nvCxnSpPr>
        <p:spPr>
          <a:xfrm>
            <a:off x="2526382" y="2475913"/>
            <a:ext cx="1394094" cy="0"/>
          </a:xfrm>
          <a:prstGeom prst="line">
            <a:avLst/>
          </a:prstGeom>
          <a:noFill/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sp>
        <p:nvSpPr>
          <p:cNvPr id="7" name="Content Placeholder 22">
            <a:extLst>
              <a:ext uri="{FF2B5EF4-FFF2-40B4-BE49-F238E27FC236}">
                <a16:creationId xmlns:a16="http://schemas.microsoft.com/office/drawing/2014/main" id="{1F949A3F-0B95-8D44-A06D-3CE8D2C45186}"/>
              </a:ext>
            </a:extLst>
          </p:cNvPr>
          <p:cNvSpPr txBox="1">
            <a:spLocks/>
          </p:cNvSpPr>
          <p:nvPr/>
        </p:nvSpPr>
        <p:spPr>
          <a:xfrm>
            <a:off x="1288744" y="4712604"/>
            <a:ext cx="3178045" cy="1364925"/>
          </a:xfrm>
          <a:prstGeom prst="rect">
            <a:avLst/>
          </a:prstGeom>
        </p:spPr>
        <p:txBody>
          <a:bodyPr anchor="ctr"/>
          <a:lstStyle>
            <a:lvl1pPr marL="168275" indent="-168275" algn="l" defTabSz="457200" rtl="0" eaLnBrk="1" latinLnBrk="0" hangingPunct="1">
              <a:lnSpc>
                <a:spcPct val="85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Arial"/>
              </a:defRPr>
            </a:lvl1pPr>
            <a:lvl2pPr marL="396875" indent="-168275" algn="l" defTabSz="457200" rtl="0" eaLnBrk="1" latinLnBrk="0" hangingPunct="1">
              <a:lnSpc>
                <a:spcPct val="85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Arial"/>
              <a:buChar char="•"/>
              <a:defRPr sz="22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577850" indent="-180975" algn="l" defTabSz="457200" rtl="0" eaLnBrk="1" latinLnBrk="0" hangingPunct="1">
              <a:lnSpc>
                <a:spcPct val="85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Arial"/>
              <a:buChar char="•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Arial"/>
              </a:defRPr>
            </a:lvl3pPr>
            <a:lvl4pPr marL="685800" indent="-168275" algn="l" defTabSz="457200" rtl="0" eaLnBrk="1" latinLnBrk="0" hangingPunct="1">
              <a:lnSpc>
                <a:spcPct val="85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Arial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Arial"/>
              </a:defRPr>
            </a:lvl4pPr>
            <a:lvl5pPr marL="685800" indent="-169863" algn="l" defTabSz="457200" rtl="0" eaLnBrk="1" latinLnBrk="0" hangingPunct="1">
              <a:spcBef>
                <a:spcPts val="528"/>
              </a:spcBef>
              <a:spcAft>
                <a:spcPts val="0"/>
              </a:spcAft>
              <a:buClr>
                <a:schemeClr val="accent1"/>
              </a:buClr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/>
              </a:defRPr>
            </a:lvl5pPr>
            <a:lvl6pPr marL="800100" indent="-114300" algn="l" defTabSz="457200" rtl="0" eaLnBrk="1" latinLnBrk="0" hangingPunct="1">
              <a:spcBef>
                <a:spcPts val="528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5988" indent="-115888" algn="l" defTabSz="457200" rtl="0" eaLnBrk="1" latinLnBrk="0" hangingPunct="1">
              <a:spcBef>
                <a:spcPts val="528"/>
              </a:spcBef>
              <a:spcAft>
                <a:spcPts val="0"/>
              </a:spcAft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30288" indent="-114300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•"/>
              <a:defRPr sz="105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198563" indent="-106363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•"/>
              <a:defRPr sz="105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B149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14 Powder Plants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B149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1 Powder Resin Plant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B149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1 Global R&amp;D Center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B149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1 Global Center of Excellence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BD1EB7CB-F34F-4AD2-B610-5F952E8904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lobal powder manufacturing footprint</a:t>
            </a:r>
          </a:p>
        </p:txBody>
      </p:sp>
      <p:sp>
        <p:nvSpPr>
          <p:cNvPr id="666" name="TextBox 665">
            <a:extLst>
              <a:ext uri="{FF2B5EF4-FFF2-40B4-BE49-F238E27FC236}">
                <a16:creationId xmlns:a16="http://schemas.microsoft.com/office/drawing/2014/main" id="{3E6DDF15-B5EB-4D1B-B9A8-9909E6E2A5C6}"/>
              </a:ext>
            </a:extLst>
          </p:cNvPr>
          <p:cNvSpPr txBox="1"/>
          <p:nvPr/>
        </p:nvSpPr>
        <p:spPr>
          <a:xfrm>
            <a:off x="4610563" y="2053246"/>
            <a:ext cx="1509388" cy="286232"/>
          </a:xfrm>
          <a:prstGeom prst="rect">
            <a:avLst/>
          </a:prstGeom>
          <a:noFill/>
        </p:spPr>
        <p:txBody>
          <a:bodyPr wrap="square" lIns="45720" rIns="4572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llison Park, USA</a:t>
            </a:r>
          </a:p>
        </p:txBody>
      </p:sp>
      <p:sp>
        <p:nvSpPr>
          <p:cNvPr id="667" name="Freeform: Shape 666">
            <a:extLst>
              <a:ext uri="{FF2B5EF4-FFF2-40B4-BE49-F238E27FC236}">
                <a16:creationId xmlns:a16="http://schemas.microsoft.com/office/drawing/2014/main" id="{10065C2F-E852-4B7D-A503-84917809EF53}"/>
              </a:ext>
            </a:extLst>
          </p:cNvPr>
          <p:cNvSpPr/>
          <p:nvPr/>
        </p:nvSpPr>
        <p:spPr>
          <a:xfrm>
            <a:off x="4132364" y="2174762"/>
            <a:ext cx="478199" cy="188864"/>
          </a:xfrm>
          <a:custGeom>
            <a:avLst/>
            <a:gdLst>
              <a:gd name="connsiteX0" fmla="*/ 318977 w 318977"/>
              <a:gd name="connsiteY0" fmla="*/ 0 h 191386"/>
              <a:gd name="connsiteX1" fmla="*/ 0 w 318977"/>
              <a:gd name="connsiteY1" fmla="*/ 0 h 191386"/>
              <a:gd name="connsiteX2" fmla="*/ 0 w 318977"/>
              <a:gd name="connsiteY2" fmla="*/ 191386 h 1913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18977" h="191386">
                <a:moveTo>
                  <a:pt x="318977" y="0"/>
                </a:moveTo>
                <a:lnTo>
                  <a:pt x="0" y="0"/>
                </a:lnTo>
                <a:lnTo>
                  <a:pt x="0" y="191386"/>
                </a:lnTo>
              </a:path>
            </a:pathLst>
          </a:custGeom>
          <a:noFill/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71" name="TextBox 670">
            <a:extLst>
              <a:ext uri="{FF2B5EF4-FFF2-40B4-BE49-F238E27FC236}">
                <a16:creationId xmlns:a16="http://schemas.microsoft.com/office/drawing/2014/main" id="{B423605D-6AE1-44C7-B307-F256C70450A2}"/>
              </a:ext>
            </a:extLst>
          </p:cNvPr>
          <p:cNvSpPr txBox="1"/>
          <p:nvPr/>
        </p:nvSpPr>
        <p:spPr>
          <a:xfrm>
            <a:off x="4610563" y="2481337"/>
            <a:ext cx="1509388" cy="286232"/>
          </a:xfrm>
          <a:prstGeom prst="rect">
            <a:avLst/>
          </a:prstGeom>
          <a:noFill/>
        </p:spPr>
        <p:txBody>
          <a:bodyPr wrap="square" lIns="45720" rIns="4572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reensboro, USA</a:t>
            </a:r>
          </a:p>
        </p:txBody>
      </p:sp>
      <p:cxnSp>
        <p:nvCxnSpPr>
          <p:cNvPr id="679" name="Straight Connector 678">
            <a:extLst>
              <a:ext uri="{FF2B5EF4-FFF2-40B4-BE49-F238E27FC236}">
                <a16:creationId xmlns:a16="http://schemas.microsoft.com/office/drawing/2014/main" id="{D141EDE6-1063-45F8-9BC2-676130585C28}"/>
              </a:ext>
            </a:extLst>
          </p:cNvPr>
          <p:cNvCxnSpPr>
            <a:cxnSpLocks/>
          </p:cNvCxnSpPr>
          <p:nvPr/>
        </p:nvCxnSpPr>
        <p:spPr>
          <a:xfrm>
            <a:off x="4203261" y="2628171"/>
            <a:ext cx="369711" cy="0"/>
          </a:xfrm>
          <a:prstGeom prst="line">
            <a:avLst/>
          </a:prstGeom>
          <a:noFill/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C9FC9873-44B7-4289-8D58-5646A627B5DD}"/>
              </a:ext>
            </a:extLst>
          </p:cNvPr>
          <p:cNvSpPr txBox="1"/>
          <p:nvPr/>
        </p:nvSpPr>
        <p:spPr>
          <a:xfrm>
            <a:off x="4610563" y="1183385"/>
            <a:ext cx="1941691" cy="286232"/>
          </a:xfrm>
          <a:prstGeom prst="rect">
            <a:avLst/>
          </a:prstGeom>
          <a:noFill/>
        </p:spPr>
        <p:txBody>
          <a:bodyPr wrap="square" lIns="45720" rIns="4572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rand Haven, USA</a:t>
            </a:r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6563A701-D1E6-4FBA-B4DE-7267F8CFF851}"/>
              </a:ext>
            </a:extLst>
          </p:cNvPr>
          <p:cNvSpPr/>
          <p:nvPr/>
        </p:nvSpPr>
        <p:spPr>
          <a:xfrm>
            <a:off x="3920476" y="1304905"/>
            <a:ext cx="632049" cy="927482"/>
          </a:xfrm>
          <a:custGeom>
            <a:avLst/>
            <a:gdLst>
              <a:gd name="connsiteX0" fmla="*/ 318977 w 318977"/>
              <a:gd name="connsiteY0" fmla="*/ 0 h 191386"/>
              <a:gd name="connsiteX1" fmla="*/ 0 w 318977"/>
              <a:gd name="connsiteY1" fmla="*/ 0 h 191386"/>
              <a:gd name="connsiteX2" fmla="*/ 0 w 318977"/>
              <a:gd name="connsiteY2" fmla="*/ 191386 h 1913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18977" h="191386">
                <a:moveTo>
                  <a:pt x="318977" y="0"/>
                </a:moveTo>
                <a:lnTo>
                  <a:pt x="0" y="0"/>
                </a:lnTo>
                <a:lnTo>
                  <a:pt x="0" y="191386"/>
                </a:lnTo>
              </a:path>
            </a:pathLst>
          </a:custGeom>
          <a:noFill/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087ECD7-8286-4A71-A39D-2A5BE36EEF01}"/>
              </a:ext>
            </a:extLst>
          </p:cNvPr>
          <p:cNvSpPr txBox="1"/>
          <p:nvPr/>
        </p:nvSpPr>
        <p:spPr>
          <a:xfrm>
            <a:off x="1001647" y="2546965"/>
            <a:ext cx="1509388" cy="286232"/>
          </a:xfrm>
          <a:prstGeom prst="rect">
            <a:avLst/>
          </a:prstGeom>
          <a:noFill/>
        </p:spPr>
        <p:txBody>
          <a:bodyPr wrap="square" lIns="45720" rIns="45720" rtlCol="0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ainesville, USA</a:t>
            </a:r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0B81023A-F0E1-491C-995E-CE36B8343BA5}"/>
              </a:ext>
            </a:extLst>
          </p:cNvPr>
          <p:cNvSpPr/>
          <p:nvPr/>
        </p:nvSpPr>
        <p:spPr>
          <a:xfrm flipH="1">
            <a:off x="2511035" y="2679388"/>
            <a:ext cx="837926" cy="184631"/>
          </a:xfrm>
          <a:custGeom>
            <a:avLst/>
            <a:gdLst>
              <a:gd name="connsiteX0" fmla="*/ 318977 w 318977"/>
              <a:gd name="connsiteY0" fmla="*/ 0 h 191386"/>
              <a:gd name="connsiteX1" fmla="*/ 0 w 318977"/>
              <a:gd name="connsiteY1" fmla="*/ 0 h 191386"/>
              <a:gd name="connsiteX2" fmla="*/ 0 w 318977"/>
              <a:gd name="connsiteY2" fmla="*/ 191386 h 1913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18977" h="191386">
                <a:moveTo>
                  <a:pt x="318977" y="0"/>
                </a:moveTo>
                <a:lnTo>
                  <a:pt x="0" y="0"/>
                </a:lnTo>
                <a:lnTo>
                  <a:pt x="0" y="191386"/>
                </a:lnTo>
              </a:path>
            </a:pathLst>
          </a:custGeom>
          <a:noFill/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F13032E4-E7A6-4B4D-BF4C-D9E5651886E3}"/>
              </a:ext>
            </a:extLst>
          </p:cNvPr>
          <p:cNvSpPr txBox="1"/>
          <p:nvPr/>
        </p:nvSpPr>
        <p:spPr>
          <a:xfrm>
            <a:off x="373518" y="3132974"/>
            <a:ext cx="2137517" cy="286232"/>
          </a:xfrm>
          <a:prstGeom prst="rect">
            <a:avLst/>
          </a:prstGeom>
          <a:noFill/>
        </p:spPr>
        <p:txBody>
          <a:bodyPr wrap="square" lIns="45720" rIns="45720" rtlCol="0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an Juan del Rio, Mexico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E6F8227A-4B5B-48B3-8290-1F87F18BA681}"/>
              </a:ext>
            </a:extLst>
          </p:cNvPr>
          <p:cNvCxnSpPr>
            <a:cxnSpLocks/>
          </p:cNvCxnSpPr>
          <p:nvPr/>
        </p:nvCxnSpPr>
        <p:spPr>
          <a:xfrm>
            <a:off x="2511035" y="3296620"/>
            <a:ext cx="792508" cy="0"/>
          </a:xfrm>
          <a:prstGeom prst="line">
            <a:avLst/>
          </a:prstGeom>
          <a:noFill/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8050BE7A-A1EF-4204-8C97-6FE58183AB0C}"/>
              </a:ext>
            </a:extLst>
          </p:cNvPr>
          <p:cNvSpPr txBox="1"/>
          <p:nvPr/>
        </p:nvSpPr>
        <p:spPr>
          <a:xfrm>
            <a:off x="4610563" y="1622032"/>
            <a:ext cx="1509388" cy="286232"/>
          </a:xfrm>
          <a:prstGeom prst="rect">
            <a:avLst/>
          </a:prstGeom>
          <a:noFill/>
        </p:spPr>
        <p:txBody>
          <a:bodyPr wrap="square" lIns="45720" rIns="4572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rongsville, USA</a:t>
            </a:r>
          </a:p>
        </p:txBody>
      </p:sp>
      <p:sp>
        <p:nvSpPr>
          <p:cNvPr id="44" name="Freeform: Shape 43">
            <a:extLst>
              <a:ext uri="{FF2B5EF4-FFF2-40B4-BE49-F238E27FC236}">
                <a16:creationId xmlns:a16="http://schemas.microsoft.com/office/drawing/2014/main" id="{88094D5E-BCFC-471A-9FCE-B8B176B7A8C8}"/>
              </a:ext>
            </a:extLst>
          </p:cNvPr>
          <p:cNvSpPr/>
          <p:nvPr/>
        </p:nvSpPr>
        <p:spPr>
          <a:xfrm>
            <a:off x="4001492" y="1743548"/>
            <a:ext cx="609072" cy="633728"/>
          </a:xfrm>
          <a:custGeom>
            <a:avLst/>
            <a:gdLst>
              <a:gd name="connsiteX0" fmla="*/ 318977 w 318977"/>
              <a:gd name="connsiteY0" fmla="*/ 0 h 191386"/>
              <a:gd name="connsiteX1" fmla="*/ 0 w 318977"/>
              <a:gd name="connsiteY1" fmla="*/ 0 h 191386"/>
              <a:gd name="connsiteX2" fmla="*/ 0 w 318977"/>
              <a:gd name="connsiteY2" fmla="*/ 191386 h 1913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18977" h="191386">
                <a:moveTo>
                  <a:pt x="318977" y="0"/>
                </a:moveTo>
                <a:lnTo>
                  <a:pt x="0" y="0"/>
                </a:lnTo>
                <a:lnTo>
                  <a:pt x="0" y="191386"/>
                </a:lnTo>
              </a:path>
            </a:pathLst>
          </a:custGeom>
          <a:noFill/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16CF0BD7-C312-494F-84B9-411D40D725B9}"/>
              </a:ext>
            </a:extLst>
          </p:cNvPr>
          <p:cNvSpPr txBox="1"/>
          <p:nvPr/>
        </p:nvSpPr>
        <p:spPr>
          <a:xfrm>
            <a:off x="373518" y="2312267"/>
            <a:ext cx="2137517" cy="286232"/>
          </a:xfrm>
          <a:prstGeom prst="rect">
            <a:avLst/>
          </a:prstGeom>
          <a:noFill/>
        </p:spPr>
        <p:txBody>
          <a:bodyPr wrap="square" lIns="45720" rIns="45720" rtlCol="0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hicago, USA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37D5FBF8-D576-4E65-B3EC-7CBCA79066A1}"/>
              </a:ext>
            </a:extLst>
          </p:cNvPr>
          <p:cNvSpPr txBox="1"/>
          <p:nvPr/>
        </p:nvSpPr>
        <p:spPr>
          <a:xfrm>
            <a:off x="5445000" y="4474686"/>
            <a:ext cx="1509388" cy="286232"/>
          </a:xfrm>
          <a:prstGeom prst="rect">
            <a:avLst/>
          </a:prstGeom>
          <a:noFill/>
        </p:spPr>
        <p:txBody>
          <a:bodyPr wrap="square" lIns="45720" rIns="4572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umaré, Brazil</a:t>
            </a:r>
          </a:p>
        </p:txBody>
      </p: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00E18DA2-C5E0-4779-A64F-30B7472F5078}"/>
              </a:ext>
            </a:extLst>
          </p:cNvPr>
          <p:cNvCxnSpPr>
            <a:cxnSpLocks/>
          </p:cNvCxnSpPr>
          <p:nvPr/>
        </p:nvCxnSpPr>
        <p:spPr>
          <a:xfrm>
            <a:off x="5037698" y="4621520"/>
            <a:ext cx="369711" cy="0"/>
          </a:xfrm>
          <a:prstGeom prst="line">
            <a:avLst/>
          </a:prstGeom>
          <a:noFill/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29EDEAEC-A194-4608-B756-595DF8446E19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4672" y="5103989"/>
            <a:ext cx="578277" cy="582158"/>
          </a:xfrm>
          <a:prstGeom prst="rect">
            <a:avLst/>
          </a:prstGeom>
        </p:spPr>
      </p:pic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A0DB3063-3AC1-4958-BBA2-657EA35AFE2D}"/>
              </a:ext>
            </a:extLst>
          </p:cNvPr>
          <p:cNvCxnSpPr/>
          <p:nvPr/>
        </p:nvCxnSpPr>
        <p:spPr>
          <a:xfrm>
            <a:off x="1191802" y="4771506"/>
            <a:ext cx="0" cy="1247123"/>
          </a:xfrm>
          <a:prstGeom prst="line">
            <a:avLst/>
          </a:prstGeom>
          <a:ln w="1905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3" name="TextBox 62">
            <a:extLst>
              <a:ext uri="{FF2B5EF4-FFF2-40B4-BE49-F238E27FC236}">
                <a16:creationId xmlns:a16="http://schemas.microsoft.com/office/drawing/2014/main" id="{EE7E7D87-5082-483B-A254-1D0AB4CCFA5C}"/>
              </a:ext>
            </a:extLst>
          </p:cNvPr>
          <p:cNvSpPr txBox="1"/>
          <p:nvPr/>
        </p:nvSpPr>
        <p:spPr>
          <a:xfrm>
            <a:off x="8695346" y="5070544"/>
            <a:ext cx="2137517" cy="286232"/>
          </a:xfrm>
          <a:prstGeom prst="rect">
            <a:avLst/>
          </a:prstGeom>
          <a:noFill/>
        </p:spPr>
        <p:txBody>
          <a:bodyPr wrap="square" lIns="45720" rIns="45720" rtlCol="0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uckland, New Zealand</a:t>
            </a:r>
          </a:p>
        </p:txBody>
      </p: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6A98777E-8F8D-44A7-ACD1-841688596699}"/>
              </a:ext>
            </a:extLst>
          </p:cNvPr>
          <p:cNvCxnSpPr>
            <a:cxnSpLocks/>
          </p:cNvCxnSpPr>
          <p:nvPr/>
        </p:nvCxnSpPr>
        <p:spPr>
          <a:xfrm>
            <a:off x="10894717" y="5191312"/>
            <a:ext cx="492085" cy="0"/>
          </a:xfrm>
          <a:prstGeom prst="line">
            <a:avLst/>
          </a:prstGeom>
          <a:noFill/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sp>
        <p:nvSpPr>
          <p:cNvPr id="65" name="TextBox 64">
            <a:extLst>
              <a:ext uri="{FF2B5EF4-FFF2-40B4-BE49-F238E27FC236}">
                <a16:creationId xmlns:a16="http://schemas.microsoft.com/office/drawing/2014/main" id="{C25352E3-A904-4797-9577-09C6C45A21A3}"/>
              </a:ext>
            </a:extLst>
          </p:cNvPr>
          <p:cNvSpPr txBox="1"/>
          <p:nvPr/>
        </p:nvSpPr>
        <p:spPr>
          <a:xfrm>
            <a:off x="7540915" y="3494247"/>
            <a:ext cx="2137517" cy="286232"/>
          </a:xfrm>
          <a:prstGeom prst="rect">
            <a:avLst/>
          </a:prstGeom>
          <a:noFill/>
        </p:spPr>
        <p:txBody>
          <a:bodyPr wrap="square" lIns="45720" rIns="45720" rtlCol="0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etaling Jaya, Malaysia</a:t>
            </a:r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57CD9B23-7803-418F-9D70-37BA60D34B37}"/>
              </a:ext>
            </a:extLst>
          </p:cNvPr>
          <p:cNvCxnSpPr>
            <a:cxnSpLocks/>
          </p:cNvCxnSpPr>
          <p:nvPr/>
        </p:nvCxnSpPr>
        <p:spPr>
          <a:xfrm>
            <a:off x="9740286" y="3615015"/>
            <a:ext cx="492085" cy="0"/>
          </a:xfrm>
          <a:prstGeom prst="line">
            <a:avLst/>
          </a:prstGeom>
          <a:noFill/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sp>
        <p:nvSpPr>
          <p:cNvPr id="75" name="TextBox 74">
            <a:extLst>
              <a:ext uri="{FF2B5EF4-FFF2-40B4-BE49-F238E27FC236}">
                <a16:creationId xmlns:a16="http://schemas.microsoft.com/office/drawing/2014/main" id="{9FB1CFEE-990A-4633-9590-14033D18498E}"/>
              </a:ext>
            </a:extLst>
          </p:cNvPr>
          <p:cNvSpPr txBox="1"/>
          <p:nvPr/>
        </p:nvSpPr>
        <p:spPr>
          <a:xfrm>
            <a:off x="10237976" y="2374220"/>
            <a:ext cx="1509388" cy="286232"/>
          </a:xfrm>
          <a:prstGeom prst="rect">
            <a:avLst/>
          </a:prstGeom>
          <a:noFill/>
        </p:spPr>
        <p:txBody>
          <a:bodyPr wrap="square" lIns="45720" rIns="4572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iading, China 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0489BDEF-0733-484F-A890-78619FDA1F4A}"/>
              </a:ext>
            </a:extLst>
          </p:cNvPr>
          <p:cNvSpPr txBox="1"/>
          <p:nvPr/>
        </p:nvSpPr>
        <p:spPr>
          <a:xfrm>
            <a:off x="10237975" y="1850529"/>
            <a:ext cx="1597857" cy="286232"/>
          </a:xfrm>
          <a:prstGeom prst="rect">
            <a:avLst/>
          </a:prstGeom>
          <a:noFill/>
        </p:spPr>
        <p:txBody>
          <a:bodyPr wrap="square" lIns="45720" rIns="4572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nsha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China </a:t>
            </a:r>
          </a:p>
        </p:txBody>
      </p:sp>
      <p:sp>
        <p:nvSpPr>
          <p:cNvPr id="76" name="Freeform: Shape 75">
            <a:extLst>
              <a:ext uri="{FF2B5EF4-FFF2-40B4-BE49-F238E27FC236}">
                <a16:creationId xmlns:a16="http://schemas.microsoft.com/office/drawing/2014/main" id="{B48A437C-E3A9-450B-B06A-C0B647B69540}"/>
              </a:ext>
            </a:extLst>
          </p:cNvPr>
          <p:cNvSpPr/>
          <p:nvPr/>
        </p:nvSpPr>
        <p:spPr>
          <a:xfrm>
            <a:off x="9939611" y="2495736"/>
            <a:ext cx="302081" cy="188864"/>
          </a:xfrm>
          <a:custGeom>
            <a:avLst/>
            <a:gdLst>
              <a:gd name="connsiteX0" fmla="*/ 318977 w 318977"/>
              <a:gd name="connsiteY0" fmla="*/ 0 h 191386"/>
              <a:gd name="connsiteX1" fmla="*/ 0 w 318977"/>
              <a:gd name="connsiteY1" fmla="*/ 0 h 191386"/>
              <a:gd name="connsiteX2" fmla="*/ 0 w 318977"/>
              <a:gd name="connsiteY2" fmla="*/ 191386 h 1913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18977" h="191386">
                <a:moveTo>
                  <a:pt x="318977" y="0"/>
                </a:moveTo>
                <a:lnTo>
                  <a:pt x="0" y="0"/>
                </a:lnTo>
                <a:lnTo>
                  <a:pt x="0" y="191386"/>
                </a:lnTo>
              </a:path>
            </a:pathLst>
          </a:custGeom>
          <a:noFill/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4" name="Freeform: Shape 83">
            <a:extLst>
              <a:ext uri="{FF2B5EF4-FFF2-40B4-BE49-F238E27FC236}">
                <a16:creationId xmlns:a16="http://schemas.microsoft.com/office/drawing/2014/main" id="{1A8E6AE1-ED70-4D45-83BA-089AEF7221A0}"/>
              </a:ext>
            </a:extLst>
          </p:cNvPr>
          <p:cNvSpPr/>
          <p:nvPr/>
        </p:nvSpPr>
        <p:spPr>
          <a:xfrm>
            <a:off x="9749609" y="1972044"/>
            <a:ext cx="492084" cy="990833"/>
          </a:xfrm>
          <a:custGeom>
            <a:avLst/>
            <a:gdLst>
              <a:gd name="connsiteX0" fmla="*/ 318977 w 318977"/>
              <a:gd name="connsiteY0" fmla="*/ 0 h 191386"/>
              <a:gd name="connsiteX1" fmla="*/ 0 w 318977"/>
              <a:gd name="connsiteY1" fmla="*/ 0 h 191386"/>
              <a:gd name="connsiteX2" fmla="*/ 0 w 318977"/>
              <a:gd name="connsiteY2" fmla="*/ 191386 h 1913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18977" h="191386">
                <a:moveTo>
                  <a:pt x="318977" y="0"/>
                </a:moveTo>
                <a:lnTo>
                  <a:pt x="0" y="0"/>
                </a:lnTo>
                <a:lnTo>
                  <a:pt x="0" y="191386"/>
                </a:lnTo>
              </a:path>
            </a:pathLst>
          </a:custGeom>
          <a:noFill/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C1EC57E6-C3A7-4824-99A4-3FDEE92B524F}"/>
              </a:ext>
            </a:extLst>
          </p:cNvPr>
          <p:cNvSpPr txBox="1"/>
          <p:nvPr/>
        </p:nvSpPr>
        <p:spPr>
          <a:xfrm>
            <a:off x="4631305" y="2771226"/>
            <a:ext cx="1509388" cy="286232"/>
          </a:xfrm>
          <a:prstGeom prst="rect">
            <a:avLst/>
          </a:prstGeom>
          <a:noFill/>
        </p:spPr>
        <p:txBody>
          <a:bodyPr wrap="square" lIns="45720" rIns="4572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razil, USA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C9FC9873-44B7-4289-8D58-5646A627B5DD}"/>
              </a:ext>
            </a:extLst>
          </p:cNvPr>
          <p:cNvSpPr txBox="1"/>
          <p:nvPr/>
        </p:nvSpPr>
        <p:spPr>
          <a:xfrm>
            <a:off x="7450294" y="1581460"/>
            <a:ext cx="1941691" cy="286232"/>
          </a:xfrm>
          <a:prstGeom prst="rect">
            <a:avLst/>
          </a:prstGeom>
          <a:noFill/>
        </p:spPr>
        <p:txBody>
          <a:bodyPr wrap="square" lIns="45720" rIns="4572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ieszyn, Poland</a:t>
            </a:r>
          </a:p>
        </p:txBody>
      </p:sp>
      <p:sp>
        <p:nvSpPr>
          <p:cNvPr id="98" name="Freeform: Shape 20">
            <a:extLst>
              <a:ext uri="{FF2B5EF4-FFF2-40B4-BE49-F238E27FC236}">
                <a16:creationId xmlns:a16="http://schemas.microsoft.com/office/drawing/2014/main" id="{6563A701-D1E6-4FBA-B4DE-7267F8CFF851}"/>
              </a:ext>
            </a:extLst>
          </p:cNvPr>
          <p:cNvSpPr/>
          <p:nvPr/>
        </p:nvSpPr>
        <p:spPr>
          <a:xfrm>
            <a:off x="6818245" y="1722897"/>
            <a:ext cx="632049" cy="306696"/>
          </a:xfrm>
          <a:custGeom>
            <a:avLst/>
            <a:gdLst>
              <a:gd name="connsiteX0" fmla="*/ 318977 w 318977"/>
              <a:gd name="connsiteY0" fmla="*/ 0 h 191386"/>
              <a:gd name="connsiteX1" fmla="*/ 0 w 318977"/>
              <a:gd name="connsiteY1" fmla="*/ 0 h 191386"/>
              <a:gd name="connsiteX2" fmla="*/ 0 w 318977"/>
              <a:gd name="connsiteY2" fmla="*/ 191386 h 1913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18977" h="191386">
                <a:moveTo>
                  <a:pt x="318977" y="0"/>
                </a:moveTo>
                <a:lnTo>
                  <a:pt x="0" y="0"/>
                </a:lnTo>
                <a:lnTo>
                  <a:pt x="0" y="191386"/>
                </a:lnTo>
              </a:path>
            </a:pathLst>
          </a:custGeom>
          <a:noFill/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3" name="TextBox 91">
            <a:extLst>
              <a:ext uri="{FF2B5EF4-FFF2-40B4-BE49-F238E27FC236}">
                <a16:creationId xmlns:a16="http://schemas.microsoft.com/office/drawing/2014/main" id="{9B7C7F19-3E6B-401B-91CE-7A4FB85C38E6}"/>
              </a:ext>
            </a:extLst>
          </p:cNvPr>
          <p:cNvSpPr txBox="1"/>
          <p:nvPr/>
        </p:nvSpPr>
        <p:spPr>
          <a:xfrm>
            <a:off x="7124656" y="924279"/>
            <a:ext cx="1941691" cy="286232"/>
          </a:xfrm>
          <a:prstGeom prst="rect">
            <a:avLst/>
          </a:prstGeom>
          <a:noFill/>
        </p:spPr>
        <p:txBody>
          <a:bodyPr wrap="square" lIns="45720" rIns="4572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nningen, Germany</a:t>
            </a:r>
          </a:p>
        </p:txBody>
      </p:sp>
      <p:sp>
        <p:nvSpPr>
          <p:cNvPr id="107" name="Freeform: Shape 20">
            <a:extLst>
              <a:ext uri="{FF2B5EF4-FFF2-40B4-BE49-F238E27FC236}">
                <a16:creationId xmlns:a16="http://schemas.microsoft.com/office/drawing/2014/main" id="{84DC4E60-BA90-4804-8FB8-79124223350E}"/>
              </a:ext>
            </a:extLst>
          </p:cNvPr>
          <p:cNvSpPr/>
          <p:nvPr/>
        </p:nvSpPr>
        <p:spPr>
          <a:xfrm>
            <a:off x="6682723" y="1333265"/>
            <a:ext cx="520888" cy="679000"/>
          </a:xfrm>
          <a:custGeom>
            <a:avLst/>
            <a:gdLst>
              <a:gd name="connsiteX0" fmla="*/ 318977 w 318977"/>
              <a:gd name="connsiteY0" fmla="*/ 0 h 191386"/>
              <a:gd name="connsiteX1" fmla="*/ 0 w 318977"/>
              <a:gd name="connsiteY1" fmla="*/ 0 h 191386"/>
              <a:gd name="connsiteX2" fmla="*/ 0 w 318977"/>
              <a:gd name="connsiteY2" fmla="*/ 191386 h 1913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18977" h="191386">
                <a:moveTo>
                  <a:pt x="318977" y="0"/>
                </a:moveTo>
                <a:lnTo>
                  <a:pt x="0" y="0"/>
                </a:lnTo>
                <a:lnTo>
                  <a:pt x="0" y="191386"/>
                </a:lnTo>
              </a:path>
            </a:pathLst>
          </a:custGeom>
          <a:noFill/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8" name="TextBox 91">
            <a:extLst>
              <a:ext uri="{FF2B5EF4-FFF2-40B4-BE49-F238E27FC236}">
                <a16:creationId xmlns:a16="http://schemas.microsoft.com/office/drawing/2014/main" id="{D5A2C1E8-BED2-4D00-9E0B-D70A4F3825B7}"/>
              </a:ext>
            </a:extLst>
          </p:cNvPr>
          <p:cNvSpPr txBox="1"/>
          <p:nvPr/>
        </p:nvSpPr>
        <p:spPr>
          <a:xfrm>
            <a:off x="7187568" y="1210511"/>
            <a:ext cx="2516604" cy="286232"/>
          </a:xfrm>
          <a:prstGeom prst="rect">
            <a:avLst/>
          </a:prstGeom>
          <a:noFill/>
        </p:spPr>
        <p:txBody>
          <a:bodyPr wrap="square" lIns="45720" rIns="4572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uffenhausen, Germany</a:t>
            </a:r>
          </a:p>
        </p:txBody>
      </p:sp>
      <p:sp>
        <p:nvSpPr>
          <p:cNvPr id="91" name="Slide Number Placeholder 2">
            <a:extLst>
              <a:ext uri="{FF2B5EF4-FFF2-40B4-BE49-F238E27FC236}">
                <a16:creationId xmlns:a16="http://schemas.microsoft.com/office/drawing/2014/main" id="{3ED3F04F-AC9F-F148-A83A-071F69B0E23F}"/>
              </a:ext>
            </a:extLst>
          </p:cNvPr>
          <p:cNvSpPr txBox="1">
            <a:spLocks/>
          </p:cNvSpPr>
          <p:nvPr/>
        </p:nvSpPr>
        <p:spPr>
          <a:xfrm>
            <a:off x="308056" y="6496407"/>
            <a:ext cx="455756" cy="17222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chemeClr val="tx2"/>
                </a:solidFill>
                <a:latin typeface="+mn-lt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666666"/>
                </a:solidFill>
                <a:latin typeface="Arial" panose="020B0604020202020204"/>
              </a:rPr>
              <a:t>5</a:t>
            </a:r>
          </a:p>
        </p:txBody>
      </p:sp>
      <p:sp>
        <p:nvSpPr>
          <p:cNvPr id="109" name="Footer Placeholder 1">
            <a:extLst>
              <a:ext uri="{FF2B5EF4-FFF2-40B4-BE49-F238E27FC236}">
                <a16:creationId xmlns:a16="http://schemas.microsoft.com/office/drawing/2014/main" id="{74532774-AEF7-A94B-90C7-FD0E87AED5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63811" y="6496407"/>
            <a:ext cx="9460550" cy="172221"/>
          </a:xfrm>
        </p:spPr>
        <p:txBody>
          <a:bodyPr/>
          <a:lstStyle/>
          <a:p>
            <a:pPr marL="0" marR="0" lvl="0" indent="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Powder Coatings from PPG ©2023 PPG Industries, Inc. All rights reserved</a:t>
            </a:r>
          </a:p>
        </p:txBody>
      </p:sp>
      <p:pic>
        <p:nvPicPr>
          <p:cNvPr id="110" name="Picture 109" descr="Shape, logo&#10;&#10;Description automatically generated">
            <a:extLst>
              <a:ext uri="{FF2B5EF4-FFF2-40B4-BE49-F238E27FC236}">
                <a16:creationId xmlns:a16="http://schemas.microsoft.com/office/drawing/2014/main" id="{84455F68-7E87-1E46-B8B3-61A0D78AC7C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44427" y="2815282"/>
            <a:ext cx="209068" cy="288894"/>
          </a:xfrm>
          <a:prstGeom prst="rect">
            <a:avLst/>
          </a:prstGeom>
        </p:spPr>
      </p:pic>
      <p:pic>
        <p:nvPicPr>
          <p:cNvPr id="111" name="Picture 110" descr="Shape, logo&#10;&#10;Description automatically generated">
            <a:extLst>
              <a:ext uri="{FF2B5EF4-FFF2-40B4-BE49-F238E27FC236}">
                <a16:creationId xmlns:a16="http://schemas.microsoft.com/office/drawing/2014/main" id="{B3426D82-2226-DA4C-A95F-BEEE9EC9FAC2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80510" y="3155184"/>
            <a:ext cx="209068" cy="288894"/>
          </a:xfrm>
          <a:prstGeom prst="rect">
            <a:avLst/>
          </a:prstGeom>
        </p:spPr>
      </p:pic>
      <p:pic>
        <p:nvPicPr>
          <p:cNvPr id="112" name="Picture 111" descr="Shape, logo&#10;&#10;Description automatically generated">
            <a:extLst>
              <a:ext uri="{FF2B5EF4-FFF2-40B4-BE49-F238E27FC236}">
                <a16:creationId xmlns:a16="http://schemas.microsoft.com/office/drawing/2014/main" id="{915D123B-9E4B-3241-9219-C386251F311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34819" y="4508538"/>
            <a:ext cx="209068" cy="288894"/>
          </a:xfrm>
          <a:prstGeom prst="rect">
            <a:avLst/>
          </a:prstGeom>
        </p:spPr>
      </p:pic>
      <p:pic>
        <p:nvPicPr>
          <p:cNvPr id="117" name="Picture 116" descr="Shape, logo&#10;&#10;Description automatically generated">
            <a:extLst>
              <a:ext uri="{FF2B5EF4-FFF2-40B4-BE49-F238E27FC236}">
                <a16:creationId xmlns:a16="http://schemas.microsoft.com/office/drawing/2014/main" id="{A51A3C01-43F2-FE4D-944E-4AE239C7382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34365" y="2364576"/>
            <a:ext cx="209068" cy="288894"/>
          </a:xfrm>
          <a:prstGeom prst="rect">
            <a:avLst/>
          </a:prstGeom>
        </p:spPr>
      </p:pic>
      <p:pic>
        <p:nvPicPr>
          <p:cNvPr id="118" name="Picture 117" descr="Shape, logo&#10;&#10;Description automatically generated">
            <a:extLst>
              <a:ext uri="{FF2B5EF4-FFF2-40B4-BE49-F238E27FC236}">
                <a16:creationId xmlns:a16="http://schemas.microsoft.com/office/drawing/2014/main" id="{735985D8-6C09-A549-A5CD-ACCC4EFC55B0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35642" y="2523810"/>
            <a:ext cx="209068" cy="288894"/>
          </a:xfrm>
          <a:prstGeom prst="rect">
            <a:avLst/>
          </a:prstGeom>
        </p:spPr>
      </p:pic>
      <p:pic>
        <p:nvPicPr>
          <p:cNvPr id="116" name="Picture 115" descr="Shape, logo&#10;&#10;Description automatically generated">
            <a:extLst>
              <a:ext uri="{FF2B5EF4-FFF2-40B4-BE49-F238E27FC236}">
                <a16:creationId xmlns:a16="http://schemas.microsoft.com/office/drawing/2014/main" id="{98E61BAD-74C4-4E46-9DAD-17884FFD6B4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04375" y="2374152"/>
            <a:ext cx="209068" cy="288894"/>
          </a:xfrm>
          <a:prstGeom prst="rect">
            <a:avLst/>
          </a:prstGeom>
        </p:spPr>
      </p:pic>
      <p:pic>
        <p:nvPicPr>
          <p:cNvPr id="115" name="Picture 114" descr="Shape, logo&#10;&#10;Description automatically generated">
            <a:extLst>
              <a:ext uri="{FF2B5EF4-FFF2-40B4-BE49-F238E27FC236}">
                <a16:creationId xmlns:a16="http://schemas.microsoft.com/office/drawing/2014/main" id="{D01756D1-F75C-7446-93EB-D8E7A0C8AEB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03181" y="2409135"/>
            <a:ext cx="209068" cy="288894"/>
          </a:xfrm>
          <a:prstGeom prst="rect">
            <a:avLst/>
          </a:prstGeom>
        </p:spPr>
      </p:pic>
      <p:pic>
        <p:nvPicPr>
          <p:cNvPr id="114" name="Picture 113" descr="Shape, logo&#10;&#10;Description automatically generated">
            <a:extLst>
              <a:ext uri="{FF2B5EF4-FFF2-40B4-BE49-F238E27FC236}">
                <a16:creationId xmlns:a16="http://schemas.microsoft.com/office/drawing/2014/main" id="{2393D69C-2A4E-F045-9D45-08FC0F352435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21001" y="2213632"/>
            <a:ext cx="209068" cy="288894"/>
          </a:xfrm>
          <a:prstGeom prst="rect">
            <a:avLst/>
          </a:prstGeom>
        </p:spPr>
      </p:pic>
      <p:pic>
        <p:nvPicPr>
          <p:cNvPr id="113" name="Picture 112" descr="Shape, logo&#10;&#10;Description automatically generated">
            <a:extLst>
              <a:ext uri="{FF2B5EF4-FFF2-40B4-BE49-F238E27FC236}">
                <a16:creationId xmlns:a16="http://schemas.microsoft.com/office/drawing/2014/main" id="{B18C7BB6-C47C-0C4C-BDC4-7FAA91BE372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7915" y="2328388"/>
            <a:ext cx="209068" cy="288894"/>
          </a:xfrm>
          <a:prstGeom prst="rect">
            <a:avLst/>
          </a:prstGeom>
        </p:spPr>
      </p:pic>
      <p:pic>
        <p:nvPicPr>
          <p:cNvPr id="119" name="Picture 118" descr="Shape, logo&#10;&#10;Description automatically generated">
            <a:extLst>
              <a:ext uri="{FF2B5EF4-FFF2-40B4-BE49-F238E27FC236}">
                <a16:creationId xmlns:a16="http://schemas.microsoft.com/office/drawing/2014/main" id="{954AFB8C-1C60-6548-B534-64BFF9E37B2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72707" y="1980293"/>
            <a:ext cx="209068" cy="288894"/>
          </a:xfrm>
          <a:prstGeom prst="rect">
            <a:avLst/>
          </a:prstGeom>
        </p:spPr>
      </p:pic>
      <p:pic>
        <p:nvPicPr>
          <p:cNvPr id="120" name="Picture 119" descr="Shape, logo&#10;&#10;Description automatically generated">
            <a:extLst>
              <a:ext uri="{FF2B5EF4-FFF2-40B4-BE49-F238E27FC236}">
                <a16:creationId xmlns:a16="http://schemas.microsoft.com/office/drawing/2014/main" id="{212408AB-9B10-0745-88EA-9471F50AA8C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05596" y="2024574"/>
            <a:ext cx="209068" cy="288894"/>
          </a:xfrm>
          <a:prstGeom prst="rect">
            <a:avLst/>
          </a:prstGeom>
        </p:spPr>
      </p:pic>
      <p:pic>
        <p:nvPicPr>
          <p:cNvPr id="121" name="Picture 120" descr="Shape, logo&#10;&#10;Description automatically generated">
            <a:extLst>
              <a:ext uri="{FF2B5EF4-FFF2-40B4-BE49-F238E27FC236}">
                <a16:creationId xmlns:a16="http://schemas.microsoft.com/office/drawing/2014/main" id="{0555818F-C1B2-4242-A123-269D506EDAA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19633" y="2014744"/>
            <a:ext cx="209068" cy="288894"/>
          </a:xfrm>
          <a:prstGeom prst="rect">
            <a:avLst/>
          </a:prstGeom>
        </p:spPr>
      </p:pic>
      <p:sp>
        <p:nvSpPr>
          <p:cNvPr id="102" name="Freeform: Shape 20">
            <a:extLst>
              <a:ext uri="{FF2B5EF4-FFF2-40B4-BE49-F238E27FC236}">
                <a16:creationId xmlns:a16="http://schemas.microsoft.com/office/drawing/2014/main" id="{BA2899CE-24A0-4EE3-8166-57DE8C9404FC}"/>
              </a:ext>
            </a:extLst>
          </p:cNvPr>
          <p:cNvSpPr/>
          <p:nvPr/>
        </p:nvSpPr>
        <p:spPr>
          <a:xfrm>
            <a:off x="6606653" y="1077865"/>
            <a:ext cx="520888" cy="952221"/>
          </a:xfrm>
          <a:custGeom>
            <a:avLst/>
            <a:gdLst>
              <a:gd name="connsiteX0" fmla="*/ 318977 w 318977"/>
              <a:gd name="connsiteY0" fmla="*/ 0 h 191386"/>
              <a:gd name="connsiteX1" fmla="*/ 0 w 318977"/>
              <a:gd name="connsiteY1" fmla="*/ 0 h 191386"/>
              <a:gd name="connsiteX2" fmla="*/ 0 w 318977"/>
              <a:gd name="connsiteY2" fmla="*/ 191386 h 1913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18977" h="191386">
                <a:moveTo>
                  <a:pt x="318977" y="0"/>
                </a:moveTo>
                <a:lnTo>
                  <a:pt x="0" y="0"/>
                </a:lnTo>
                <a:lnTo>
                  <a:pt x="0" y="191386"/>
                </a:lnTo>
              </a:path>
            </a:pathLst>
          </a:custGeom>
          <a:noFill/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22" name="Picture 121" descr="Shape, logo&#10;&#10;Description automatically generated">
            <a:extLst>
              <a:ext uri="{FF2B5EF4-FFF2-40B4-BE49-F238E27FC236}">
                <a16:creationId xmlns:a16="http://schemas.microsoft.com/office/drawing/2014/main" id="{05BC9BC0-C7CC-E54A-97FB-39532C1B9CD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45075" y="2959729"/>
            <a:ext cx="209068" cy="288894"/>
          </a:xfrm>
          <a:prstGeom prst="rect">
            <a:avLst/>
          </a:prstGeom>
        </p:spPr>
      </p:pic>
      <p:pic>
        <p:nvPicPr>
          <p:cNvPr id="123" name="Picture 122" descr="Shape, logo&#10;&#10;Description automatically generated">
            <a:extLst>
              <a:ext uri="{FF2B5EF4-FFF2-40B4-BE49-F238E27FC236}">
                <a16:creationId xmlns:a16="http://schemas.microsoft.com/office/drawing/2014/main" id="{8C7068AD-74FF-C742-BDAC-0C5FF48F941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35077" y="2681089"/>
            <a:ext cx="209068" cy="288894"/>
          </a:xfrm>
          <a:prstGeom prst="rect">
            <a:avLst/>
          </a:prstGeom>
        </p:spPr>
      </p:pic>
      <p:pic>
        <p:nvPicPr>
          <p:cNvPr id="124" name="Picture 123" descr="Shape, logo&#10;&#10;Description automatically generated">
            <a:extLst>
              <a:ext uri="{FF2B5EF4-FFF2-40B4-BE49-F238E27FC236}">
                <a16:creationId xmlns:a16="http://schemas.microsoft.com/office/drawing/2014/main" id="{091BAB46-402A-A445-BA18-B0FB97C5A1C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89691" y="3500061"/>
            <a:ext cx="209068" cy="288894"/>
          </a:xfrm>
          <a:prstGeom prst="rect">
            <a:avLst/>
          </a:prstGeom>
        </p:spPr>
      </p:pic>
      <p:pic>
        <p:nvPicPr>
          <p:cNvPr id="125" name="Picture 124" descr="Shape, logo&#10;&#10;Description automatically generated">
            <a:extLst>
              <a:ext uri="{FF2B5EF4-FFF2-40B4-BE49-F238E27FC236}">
                <a16:creationId xmlns:a16="http://schemas.microsoft.com/office/drawing/2014/main" id="{F5B1D3C9-7AC7-AF4C-953E-4D3445E67E2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40163" y="5103989"/>
            <a:ext cx="209068" cy="2888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1051602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6408D04-5631-F74E-AFAE-B7D669E5789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12"/>
            <a:ext cx="12192000" cy="6858000"/>
          </a:xfrm>
          <a:prstGeom prst="rect">
            <a:avLst/>
          </a:prstGeom>
        </p:spPr>
      </p:pic>
      <p:sp>
        <p:nvSpPr>
          <p:cNvPr id="11" name="Title 10">
            <a:extLst>
              <a:ext uri="{FF2B5EF4-FFF2-40B4-BE49-F238E27FC236}">
                <a16:creationId xmlns:a16="http://schemas.microsoft.com/office/drawing/2014/main" id="{BD1EB7CB-F34F-4AD2-B610-5F952E8904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MEA Facilities</a:t>
            </a:r>
          </a:p>
        </p:txBody>
      </p:sp>
      <p:sp>
        <p:nvSpPr>
          <p:cNvPr id="91" name="Slide Number Placeholder 2">
            <a:extLst>
              <a:ext uri="{FF2B5EF4-FFF2-40B4-BE49-F238E27FC236}">
                <a16:creationId xmlns:a16="http://schemas.microsoft.com/office/drawing/2014/main" id="{3ED3F04F-AC9F-F148-A83A-071F69B0E23F}"/>
              </a:ext>
            </a:extLst>
          </p:cNvPr>
          <p:cNvSpPr txBox="1">
            <a:spLocks/>
          </p:cNvSpPr>
          <p:nvPr/>
        </p:nvSpPr>
        <p:spPr>
          <a:xfrm>
            <a:off x="308056" y="6496407"/>
            <a:ext cx="455756" cy="17222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chemeClr val="tx2"/>
                </a:solidFill>
                <a:latin typeface="+mn-lt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666666"/>
                </a:solidFill>
                <a:latin typeface="Arial" panose="020B0604020202020204"/>
              </a:rPr>
              <a:t>6</a:t>
            </a:r>
          </a:p>
        </p:txBody>
      </p:sp>
      <p:sp>
        <p:nvSpPr>
          <p:cNvPr id="109" name="Footer Placeholder 1">
            <a:extLst>
              <a:ext uri="{FF2B5EF4-FFF2-40B4-BE49-F238E27FC236}">
                <a16:creationId xmlns:a16="http://schemas.microsoft.com/office/drawing/2014/main" id="{74532774-AEF7-A94B-90C7-FD0E87AED5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63811" y="6496407"/>
            <a:ext cx="9460550" cy="172221"/>
          </a:xfrm>
        </p:spPr>
        <p:txBody>
          <a:bodyPr/>
          <a:lstStyle/>
          <a:p>
            <a:pPr marL="0" marR="0" lvl="0" indent="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Powder Coatings from PPG ©2023 PPG Industries, Inc. All rights reserved</a:t>
            </a:r>
          </a:p>
        </p:txBody>
      </p:sp>
      <p:pic>
        <p:nvPicPr>
          <p:cNvPr id="92" name="Picture 91">
            <a:extLst>
              <a:ext uri="{FF2B5EF4-FFF2-40B4-BE49-F238E27FC236}">
                <a16:creationId xmlns:a16="http://schemas.microsoft.com/office/drawing/2014/main" id="{1D38D508-8CF9-2242-8A8F-42CCCC87A37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262732" y="6144323"/>
            <a:ext cx="698632" cy="551466"/>
          </a:xfrm>
          <a:prstGeom prst="rect">
            <a:avLst/>
          </a:prstGeom>
        </p:spPr>
      </p:pic>
      <p:graphicFrame>
        <p:nvGraphicFramePr>
          <p:cNvPr id="93" name="Table 92">
            <a:extLst>
              <a:ext uri="{FF2B5EF4-FFF2-40B4-BE49-F238E27FC236}">
                <a16:creationId xmlns:a16="http://schemas.microsoft.com/office/drawing/2014/main" id="{E5610956-FC84-4040-8AE9-6F9776CC7EB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77386967"/>
              </p:ext>
            </p:extLst>
          </p:nvPr>
        </p:nvGraphicFramePr>
        <p:xfrm>
          <a:off x="6758279" y="1183385"/>
          <a:ext cx="5193568" cy="3495427"/>
        </p:xfrm>
        <a:graphic>
          <a:graphicData uri="http://schemas.openxmlformats.org/drawingml/2006/table">
            <a:tbl>
              <a:tblPr firstRow="1" bandRow="1">
                <a:effectLst/>
                <a:tableStyleId>{5C22544A-7EE6-4342-B048-85BDC9FD1C3A}</a:tableStyleId>
              </a:tblPr>
              <a:tblGrid>
                <a:gridCol w="178300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105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86611">
                <a:tc>
                  <a:txBody>
                    <a:bodyPr/>
                    <a:lstStyle/>
                    <a:p>
                      <a:r>
                        <a:rPr lang="en-US" sz="1600" noProof="0" dirty="0">
                          <a:solidFill>
                            <a:schemeClr val="bg1"/>
                          </a:solidFill>
                        </a:rPr>
                        <a:t>Location</a:t>
                      </a:r>
                    </a:p>
                  </a:txBody>
                  <a:tcPr marL="91416" marR="91416" marT="45708" marB="45708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noProof="0" dirty="0">
                          <a:solidFill>
                            <a:schemeClr val="bg1"/>
                          </a:solidFill>
                        </a:rPr>
                        <a:t>Capabilities</a:t>
                      </a:r>
                    </a:p>
                  </a:txBody>
                  <a:tcPr marL="91416" marR="91416" marT="45708" marB="45708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18136">
                <a:tc>
                  <a:txBody>
                    <a:bodyPr/>
                    <a:lstStyle/>
                    <a:p>
                      <a:r>
                        <a:rPr lang="en-US" sz="1600" noProof="0" dirty="0"/>
                        <a:t>Poland</a:t>
                      </a:r>
                    </a:p>
                  </a:txBody>
                  <a:tcPr marL="91416" marR="91416" marT="45708" marB="45708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noProof="0" dirty="0" err="1"/>
                        <a:t>Mfg</a:t>
                      </a:r>
                      <a:r>
                        <a:rPr lang="en-US" sz="1600" noProof="0" dirty="0"/>
                        <a:t> + Lab + Resin + Warehouse</a:t>
                      </a:r>
                    </a:p>
                  </a:txBody>
                  <a:tcPr marL="91416" marR="91416" marT="45708" marB="45708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alpha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18136">
                <a:tc>
                  <a:txBody>
                    <a:bodyPr/>
                    <a:lstStyle/>
                    <a:p>
                      <a:r>
                        <a:rPr lang="en-US" sz="1600" noProof="0" dirty="0"/>
                        <a:t>Germany</a:t>
                      </a:r>
                    </a:p>
                  </a:txBody>
                  <a:tcPr marL="91416" marR="91416" marT="45708" marB="45708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noProof="0" dirty="0" err="1"/>
                        <a:t>Mfg</a:t>
                      </a:r>
                      <a:r>
                        <a:rPr lang="en-US" sz="1600" noProof="0" dirty="0"/>
                        <a:t> + Lab + Warehouse </a:t>
                      </a:r>
                      <a:r>
                        <a:rPr lang="en-US" sz="1200" b="0" i="0" noProof="0" dirty="0"/>
                        <a:t>(ex </a:t>
                      </a:r>
                      <a:r>
                        <a:rPr lang="en-US" sz="1200" b="0" i="0" noProof="0" dirty="0" err="1"/>
                        <a:t>Woerwag</a:t>
                      </a:r>
                      <a:r>
                        <a:rPr lang="en-US" sz="1200" b="0" i="0" noProof="0" dirty="0"/>
                        <a:t>)</a:t>
                      </a:r>
                    </a:p>
                    <a:p>
                      <a:r>
                        <a:rPr lang="en-US" sz="1200" noProof="0" dirty="0"/>
                        <a:t>Including Acrylics</a:t>
                      </a:r>
                    </a:p>
                  </a:txBody>
                  <a:tcPr marL="91416" marR="91416" marT="45708" marB="45708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alpha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49494450"/>
                  </a:ext>
                </a:extLst>
              </a:tr>
              <a:tr h="518136">
                <a:tc>
                  <a:txBody>
                    <a:bodyPr/>
                    <a:lstStyle/>
                    <a:p>
                      <a:r>
                        <a:rPr lang="en-US" sz="1600" kern="1200" noProof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taly</a:t>
                      </a:r>
                    </a:p>
                  </a:txBody>
                  <a:tcPr marL="91416" marR="91416" marT="45708" marB="45708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entral Lab, Warehouse</a:t>
                      </a:r>
                    </a:p>
                  </a:txBody>
                  <a:tcPr marL="91416" marR="91416" marT="45708" marB="45708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alpha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0435390"/>
                  </a:ext>
                </a:extLst>
              </a:tr>
              <a:tr h="518136">
                <a:tc>
                  <a:txBody>
                    <a:bodyPr/>
                    <a:lstStyle/>
                    <a:p>
                      <a:r>
                        <a:rPr lang="en-US" sz="1600" noProof="0" dirty="0"/>
                        <a:t>France</a:t>
                      </a:r>
                      <a:r>
                        <a:rPr lang="en-US" sz="1600" baseline="0" noProof="0" dirty="0"/>
                        <a:t> </a:t>
                      </a:r>
                      <a:endParaRPr lang="en-US" sz="1600" noProof="0" dirty="0"/>
                    </a:p>
                  </a:txBody>
                  <a:tcPr marL="91416" marR="91416" marT="45708" marB="45708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noProof="0" dirty="0"/>
                        <a:t>Warehousing</a:t>
                      </a:r>
                      <a:r>
                        <a:rPr lang="en-US" sz="1600" baseline="0" noProof="0" dirty="0"/>
                        <a:t> </a:t>
                      </a:r>
                      <a:endParaRPr lang="en-US" sz="1600" noProof="0" dirty="0"/>
                    </a:p>
                  </a:txBody>
                  <a:tcPr marL="91416" marR="91416" marT="45708" marB="45708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alpha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0064805"/>
                  </a:ext>
                </a:extLst>
              </a:tr>
              <a:tr h="518136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aseline="0" noProof="0"/>
                        <a:t>UK</a:t>
                      </a:r>
                      <a:endParaRPr lang="en-US" sz="1600" noProof="0"/>
                    </a:p>
                  </a:txBody>
                  <a:tcPr marL="91416" marR="91416" marT="45708" marB="45708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noProof="0" dirty="0"/>
                        <a:t>Warehousing</a:t>
                      </a:r>
                      <a:r>
                        <a:rPr lang="en-US" sz="1600" baseline="0" noProof="0" dirty="0"/>
                        <a:t> </a:t>
                      </a:r>
                      <a:endParaRPr lang="en-US" sz="1600" noProof="0" dirty="0"/>
                    </a:p>
                  </a:txBody>
                  <a:tcPr marL="91416" marR="91416" marT="45708" marB="45708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alpha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5622712"/>
                  </a:ext>
                </a:extLst>
              </a:tr>
              <a:tr h="518136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aseline="0" noProof="0"/>
                        <a:t>Spain</a:t>
                      </a:r>
                      <a:endParaRPr lang="en-US" sz="1600" noProof="0"/>
                    </a:p>
                  </a:txBody>
                  <a:tcPr marL="91416" marR="91416" marT="45708" marB="45708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noProof="0" dirty="0"/>
                        <a:t>Warehousing</a:t>
                      </a:r>
                      <a:r>
                        <a:rPr lang="en-US" sz="1600" baseline="0" noProof="0" dirty="0"/>
                        <a:t> </a:t>
                      </a:r>
                      <a:endParaRPr lang="en-US" sz="1600" noProof="0" dirty="0"/>
                    </a:p>
                  </a:txBody>
                  <a:tcPr marL="91416" marR="91416" marT="45708" marB="45708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alpha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5115"/>
                  </a:ext>
                </a:extLst>
              </a:tr>
            </a:tbl>
          </a:graphicData>
        </a:graphic>
      </p:graphicFrame>
      <p:pic>
        <p:nvPicPr>
          <p:cNvPr id="5" name="Picture 4" descr="Shape, logo&#10;&#10;Description automatically generated">
            <a:extLst>
              <a:ext uri="{FF2B5EF4-FFF2-40B4-BE49-F238E27FC236}">
                <a16:creationId xmlns:a16="http://schemas.microsoft.com/office/drawing/2014/main" id="{A4DF2FAE-7DAB-F34C-891D-8D6EF62C550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77766" y="2491753"/>
            <a:ext cx="220150" cy="304207"/>
          </a:xfrm>
          <a:prstGeom prst="rect">
            <a:avLst/>
          </a:prstGeom>
        </p:spPr>
      </p:pic>
      <p:pic>
        <p:nvPicPr>
          <p:cNvPr id="134" name="Picture 133" descr="Shape, logo&#10;&#10;Description automatically generated">
            <a:extLst>
              <a:ext uri="{FF2B5EF4-FFF2-40B4-BE49-F238E27FC236}">
                <a16:creationId xmlns:a16="http://schemas.microsoft.com/office/drawing/2014/main" id="{EC80DBBB-DAEC-D345-8DD1-9B9C9389F1E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05356" y="3359646"/>
            <a:ext cx="220150" cy="304207"/>
          </a:xfrm>
          <a:prstGeom prst="rect">
            <a:avLst/>
          </a:prstGeom>
        </p:spPr>
      </p:pic>
      <p:pic>
        <p:nvPicPr>
          <p:cNvPr id="135" name="Picture 134" descr="Shape, logo&#10;&#10;Description automatically generated">
            <a:extLst>
              <a:ext uri="{FF2B5EF4-FFF2-40B4-BE49-F238E27FC236}">
                <a16:creationId xmlns:a16="http://schemas.microsoft.com/office/drawing/2014/main" id="{233620DF-D677-0C47-ABBD-351DF8BC41C9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84874" y="4190890"/>
            <a:ext cx="220150" cy="304207"/>
          </a:xfrm>
          <a:prstGeom prst="rect">
            <a:avLst/>
          </a:prstGeom>
        </p:spPr>
      </p:pic>
      <p:pic>
        <p:nvPicPr>
          <p:cNvPr id="136" name="Picture 135" descr="Shape, logo&#10;&#10;Description automatically generated">
            <a:extLst>
              <a:ext uri="{FF2B5EF4-FFF2-40B4-BE49-F238E27FC236}">
                <a16:creationId xmlns:a16="http://schemas.microsoft.com/office/drawing/2014/main" id="{2EB1E198-C759-924A-BBAA-09BA8067FED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91960" y="3236296"/>
            <a:ext cx="197098" cy="272353"/>
          </a:xfrm>
          <a:prstGeom prst="rect">
            <a:avLst/>
          </a:prstGeom>
        </p:spPr>
      </p:pic>
      <p:pic>
        <p:nvPicPr>
          <p:cNvPr id="137" name="Picture 136" descr="Shape, logo&#10;&#10;Description automatically generated">
            <a:extLst>
              <a:ext uri="{FF2B5EF4-FFF2-40B4-BE49-F238E27FC236}">
                <a16:creationId xmlns:a16="http://schemas.microsoft.com/office/drawing/2014/main" id="{643C799C-2A6B-274B-986C-644E9C491ACE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91960" y="3762993"/>
            <a:ext cx="197098" cy="272353"/>
          </a:xfrm>
          <a:prstGeom prst="rect">
            <a:avLst/>
          </a:prstGeom>
        </p:spPr>
      </p:pic>
      <p:pic>
        <p:nvPicPr>
          <p:cNvPr id="138" name="Picture 137" descr="Shape, logo&#10;&#10;Description automatically generated">
            <a:extLst>
              <a:ext uri="{FF2B5EF4-FFF2-40B4-BE49-F238E27FC236}">
                <a16:creationId xmlns:a16="http://schemas.microsoft.com/office/drawing/2014/main" id="{1494223F-137E-3544-8C5F-712A265CF1BF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91960" y="4289690"/>
            <a:ext cx="197098" cy="272353"/>
          </a:xfrm>
          <a:prstGeom prst="rect">
            <a:avLst/>
          </a:prstGeom>
        </p:spPr>
      </p:pic>
      <p:pic>
        <p:nvPicPr>
          <p:cNvPr id="139" name="Picture 138">
            <a:extLst>
              <a:ext uri="{FF2B5EF4-FFF2-40B4-BE49-F238E27FC236}">
                <a16:creationId xmlns:a16="http://schemas.microsoft.com/office/drawing/2014/main" id="{D035B2D0-A43F-9841-A858-21B24546DF13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91960" y="1664625"/>
            <a:ext cx="197097" cy="272353"/>
          </a:xfrm>
          <a:prstGeom prst="rect">
            <a:avLst/>
          </a:prstGeom>
        </p:spPr>
      </p:pic>
      <p:pic>
        <p:nvPicPr>
          <p:cNvPr id="140" name="Picture 139">
            <a:extLst>
              <a:ext uri="{FF2B5EF4-FFF2-40B4-BE49-F238E27FC236}">
                <a16:creationId xmlns:a16="http://schemas.microsoft.com/office/drawing/2014/main" id="{E4244654-D271-7D44-A799-8EF6CE1BBF38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91960" y="2191322"/>
            <a:ext cx="197097" cy="272353"/>
          </a:xfrm>
          <a:prstGeom prst="rect">
            <a:avLst/>
          </a:prstGeom>
        </p:spPr>
      </p:pic>
      <p:pic>
        <p:nvPicPr>
          <p:cNvPr id="141" name="Picture 140">
            <a:extLst>
              <a:ext uri="{FF2B5EF4-FFF2-40B4-BE49-F238E27FC236}">
                <a16:creationId xmlns:a16="http://schemas.microsoft.com/office/drawing/2014/main" id="{B07E7F4C-ECD4-6342-815A-51BC643DB0AE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91960" y="2719810"/>
            <a:ext cx="197098" cy="268770"/>
          </a:xfrm>
          <a:prstGeom prst="rect">
            <a:avLst/>
          </a:prstGeom>
        </p:spPr>
      </p:pic>
      <p:pic>
        <p:nvPicPr>
          <p:cNvPr id="142" name="Picture 141">
            <a:extLst>
              <a:ext uri="{FF2B5EF4-FFF2-40B4-BE49-F238E27FC236}">
                <a16:creationId xmlns:a16="http://schemas.microsoft.com/office/drawing/2014/main" id="{AA7E9CFE-08D4-EF46-BB8F-B2C559BE69AB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677796" y="2988580"/>
            <a:ext cx="220149" cy="304207"/>
          </a:xfrm>
          <a:prstGeom prst="rect">
            <a:avLst/>
          </a:prstGeom>
        </p:spPr>
      </p:pic>
      <p:pic>
        <p:nvPicPr>
          <p:cNvPr id="143" name="Picture 142">
            <a:extLst>
              <a:ext uri="{FF2B5EF4-FFF2-40B4-BE49-F238E27FC236}">
                <a16:creationId xmlns:a16="http://schemas.microsoft.com/office/drawing/2014/main" id="{11A2A9F3-6BED-D749-99CB-F0233D3DF416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981818" y="2838490"/>
            <a:ext cx="220149" cy="304207"/>
          </a:xfrm>
          <a:prstGeom prst="rect">
            <a:avLst/>
          </a:prstGeom>
        </p:spPr>
      </p:pic>
      <p:pic>
        <p:nvPicPr>
          <p:cNvPr id="144" name="Picture 143">
            <a:extLst>
              <a:ext uri="{FF2B5EF4-FFF2-40B4-BE49-F238E27FC236}">
                <a16:creationId xmlns:a16="http://schemas.microsoft.com/office/drawing/2014/main" id="{58300691-AD55-4A46-973E-38B1FC0C2389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90623" y="3901887"/>
            <a:ext cx="220149" cy="300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968157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ABA75FB2-BCC7-4AC9-ADAB-2250DDD0D11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45456" y="1183385"/>
            <a:ext cx="3312000" cy="2092239"/>
          </a:xfrm>
          <a:prstGeom prst="rect">
            <a:avLst/>
          </a:prstGeom>
        </p:spPr>
      </p:pic>
      <p:pic>
        <p:nvPicPr>
          <p:cNvPr id="18" name="Obraz 2">
            <a:extLst>
              <a:ext uri="{FF2B5EF4-FFF2-40B4-BE49-F238E27FC236}">
                <a16:creationId xmlns:a16="http://schemas.microsoft.com/office/drawing/2014/main" id="{B2701888-864E-46E6-8E3F-416691426C5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0233" y="1183385"/>
            <a:ext cx="3312000" cy="1862155"/>
          </a:xfrm>
          <a:prstGeom prst="rect">
            <a:avLst/>
          </a:prstGeom>
        </p:spPr>
      </p:pic>
      <p:pic>
        <p:nvPicPr>
          <p:cNvPr id="31" name="Grafik 30">
            <a:extLst>
              <a:ext uri="{FF2B5EF4-FFF2-40B4-BE49-F238E27FC236}">
                <a16:creationId xmlns:a16="http://schemas.microsoft.com/office/drawing/2014/main" id="{87C385F6-992E-4D12-A429-2B1D16CA5DF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50679" y="1183385"/>
            <a:ext cx="3312000" cy="1811707"/>
          </a:xfrm>
          <a:prstGeom prst="rect">
            <a:avLst/>
          </a:prstGeom>
        </p:spPr>
      </p:pic>
      <p:sp>
        <p:nvSpPr>
          <p:cNvPr id="10" name="Rechteck 9">
            <a:extLst>
              <a:ext uri="{FF2B5EF4-FFF2-40B4-BE49-F238E27FC236}">
                <a16:creationId xmlns:a16="http://schemas.microsoft.com/office/drawing/2014/main" id="{09F3AB27-0B12-4C6E-BCFC-37D960A57BD9}"/>
              </a:ext>
            </a:extLst>
          </p:cNvPr>
          <p:cNvSpPr/>
          <p:nvPr/>
        </p:nvSpPr>
        <p:spPr>
          <a:xfrm>
            <a:off x="540233" y="2973395"/>
            <a:ext cx="3312000" cy="383829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8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ieszyn, Poland              </a:t>
            </a:r>
          </a:p>
        </p:txBody>
      </p:sp>
      <p:pic>
        <p:nvPicPr>
          <p:cNvPr id="35" name="Picture 34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9017" y="2897806"/>
            <a:ext cx="562432" cy="562432"/>
          </a:xfrm>
          <a:prstGeom prst="rect">
            <a:avLst/>
          </a:prstGeom>
        </p:spPr>
      </p:pic>
      <p:sp>
        <p:nvSpPr>
          <p:cNvPr id="21" name="Rechteck 20">
            <a:extLst>
              <a:ext uri="{FF2B5EF4-FFF2-40B4-BE49-F238E27FC236}">
                <a16:creationId xmlns:a16="http://schemas.microsoft.com/office/drawing/2014/main" id="{4610B16F-CF71-4D40-8225-39A704534983}"/>
              </a:ext>
            </a:extLst>
          </p:cNvPr>
          <p:cNvSpPr/>
          <p:nvPr/>
        </p:nvSpPr>
        <p:spPr>
          <a:xfrm>
            <a:off x="4445456" y="2973395"/>
            <a:ext cx="3312000" cy="383829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8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nningen, Germany</a:t>
            </a:r>
          </a:p>
        </p:txBody>
      </p:sp>
      <p:pic>
        <p:nvPicPr>
          <p:cNvPr id="22" name="Picture 34">
            <a:extLst>
              <a:ext uri="{FF2B5EF4-FFF2-40B4-BE49-F238E27FC236}">
                <a16:creationId xmlns:a16="http://schemas.microsoft.com/office/drawing/2014/main" id="{D36750F7-3F7C-4834-BA15-92ACDBCA0D39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64240" y="2897806"/>
            <a:ext cx="562432" cy="562432"/>
          </a:xfrm>
          <a:prstGeom prst="rect">
            <a:avLst/>
          </a:prstGeom>
        </p:spPr>
      </p:pic>
      <p:sp>
        <p:nvSpPr>
          <p:cNvPr id="24" name="Rechteck 23">
            <a:extLst>
              <a:ext uri="{FF2B5EF4-FFF2-40B4-BE49-F238E27FC236}">
                <a16:creationId xmlns:a16="http://schemas.microsoft.com/office/drawing/2014/main" id="{E80A38B6-DDAF-44CD-8373-D60B94E2309F}"/>
              </a:ext>
            </a:extLst>
          </p:cNvPr>
          <p:cNvSpPr/>
          <p:nvPr/>
        </p:nvSpPr>
        <p:spPr>
          <a:xfrm>
            <a:off x="8350679" y="2973395"/>
            <a:ext cx="3312000" cy="383829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8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uffenhausen, Germany</a:t>
            </a:r>
          </a:p>
        </p:txBody>
      </p:sp>
      <p:pic>
        <p:nvPicPr>
          <p:cNvPr id="25" name="Picture 34">
            <a:extLst>
              <a:ext uri="{FF2B5EF4-FFF2-40B4-BE49-F238E27FC236}">
                <a16:creationId xmlns:a16="http://schemas.microsoft.com/office/drawing/2014/main" id="{3149F8A9-D478-4E0C-8FF9-20E32BCCCD48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69463" y="2897806"/>
            <a:ext cx="562432" cy="562432"/>
          </a:xfrm>
          <a:prstGeom prst="rect">
            <a:avLst/>
          </a:prstGeom>
        </p:spPr>
      </p:pic>
      <p:sp>
        <p:nvSpPr>
          <p:cNvPr id="26" name="Content Placeholder 10">
            <a:extLst>
              <a:ext uri="{FF2B5EF4-FFF2-40B4-BE49-F238E27FC236}">
                <a16:creationId xmlns:a16="http://schemas.microsoft.com/office/drawing/2014/main" id="{39835B78-8302-4812-A142-7F32B00D92D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0233" y="3535827"/>
            <a:ext cx="3407429" cy="2984054"/>
          </a:xfrm>
        </p:spPr>
        <p:txBody>
          <a:bodyPr>
            <a:normAutofit/>
          </a:bodyPr>
          <a:lstStyle/>
          <a:p>
            <a:pPr marL="180975" lvl="1" indent="-180975"/>
            <a:r>
              <a:rPr lang="en-US" sz="1400" b="1" dirty="0"/>
              <a:t>Capacity</a:t>
            </a:r>
            <a:r>
              <a:rPr lang="en-US" sz="1400" dirty="0"/>
              <a:t> 10,000 tons/year </a:t>
            </a:r>
          </a:p>
          <a:p>
            <a:pPr marL="180975" lvl="1" indent="-180975"/>
            <a:r>
              <a:rPr lang="en-US" sz="1400" b="1" dirty="0"/>
              <a:t>Product range </a:t>
            </a:r>
          </a:p>
          <a:p>
            <a:pPr marL="358775" lvl="2" indent="-188913">
              <a:buFont typeface="System Font Regular"/>
              <a:buChar char="-"/>
            </a:pPr>
            <a:r>
              <a:rPr lang="en-US" sz="1400" dirty="0"/>
              <a:t>Epoxy</a:t>
            </a:r>
          </a:p>
          <a:p>
            <a:pPr marL="358775" lvl="2" indent="-188913">
              <a:buFont typeface="System Font Regular"/>
              <a:buChar char="-"/>
            </a:pPr>
            <a:r>
              <a:rPr lang="en-US" sz="1400" dirty="0"/>
              <a:t>Epoxy-Polyester</a:t>
            </a:r>
          </a:p>
          <a:p>
            <a:pPr marL="358775" lvl="2" indent="-188913">
              <a:buFont typeface="System Font Regular"/>
              <a:buChar char="-"/>
            </a:pPr>
            <a:r>
              <a:rPr lang="en-US" sz="1400" dirty="0"/>
              <a:t>Polyester</a:t>
            </a:r>
          </a:p>
          <a:p>
            <a:pPr marL="358775" lvl="2" indent="-188913">
              <a:buFont typeface="System Font Regular"/>
              <a:buChar char="-"/>
            </a:pPr>
            <a:r>
              <a:rPr lang="en-US" sz="1400" dirty="0"/>
              <a:t>Polyurethane</a:t>
            </a:r>
          </a:p>
          <a:p>
            <a:pPr marL="358775" lvl="2" indent="-188913">
              <a:buFont typeface="System Font Regular"/>
              <a:buChar char="-"/>
            </a:pPr>
            <a:r>
              <a:rPr lang="en-US" sz="1400" dirty="0"/>
              <a:t>Hybrid Acrylic </a:t>
            </a:r>
          </a:p>
          <a:p>
            <a:pPr marL="180975" lvl="1"/>
            <a:r>
              <a:rPr lang="en-US" sz="1400" b="1" dirty="0"/>
              <a:t>Qualicoat / GSB</a:t>
            </a:r>
            <a:r>
              <a:rPr lang="en-US" sz="1400" dirty="0"/>
              <a:t> Standards</a:t>
            </a:r>
          </a:p>
        </p:txBody>
      </p:sp>
      <p:sp>
        <p:nvSpPr>
          <p:cNvPr id="27" name="Content Placeholder 10">
            <a:extLst>
              <a:ext uri="{FF2B5EF4-FFF2-40B4-BE49-F238E27FC236}">
                <a16:creationId xmlns:a16="http://schemas.microsoft.com/office/drawing/2014/main" id="{134866EB-D57D-4FC9-9BF7-AF21DA32A2B3}"/>
              </a:ext>
            </a:extLst>
          </p:cNvPr>
          <p:cNvSpPr txBox="1">
            <a:spLocks/>
          </p:cNvSpPr>
          <p:nvPr/>
        </p:nvSpPr>
        <p:spPr>
          <a:xfrm>
            <a:off x="4445456" y="3535827"/>
            <a:ext cx="3407429" cy="19740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33363" indent="-233363" algn="l" defTabSz="457200" rtl="0" eaLnBrk="1" latinLnBrk="0" hangingPunct="1">
              <a:spcBef>
                <a:spcPts val="528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Arial"/>
              </a:defRPr>
            </a:lvl1pPr>
            <a:lvl2pPr marL="339725" indent="-169863" algn="l" defTabSz="457200" rtl="0" eaLnBrk="1" latinLnBrk="0" hangingPunct="1">
              <a:spcBef>
                <a:spcPts val="528"/>
              </a:spcBef>
              <a:spcAft>
                <a:spcPts val="0"/>
              </a:spcAft>
              <a:buClr>
                <a:schemeClr val="accent1"/>
              </a:buClr>
              <a:buFont typeface="Arial"/>
              <a:buChar char="•"/>
              <a:defRPr sz="22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509588" indent="-169863" algn="l" defTabSz="457200" rtl="0" eaLnBrk="1" latinLnBrk="0" hangingPunct="1">
              <a:spcBef>
                <a:spcPts val="528"/>
              </a:spcBef>
              <a:spcAft>
                <a:spcPts val="0"/>
              </a:spcAft>
              <a:buClr>
                <a:schemeClr val="accent1"/>
              </a:buClr>
              <a:buFont typeface="Arial"/>
              <a:buChar char="•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Arial"/>
              </a:defRPr>
            </a:lvl3pPr>
            <a:lvl4pPr marL="690563" indent="-180975" algn="l" defTabSz="457200" rtl="0" eaLnBrk="1" latinLnBrk="0" hangingPunct="1">
              <a:spcBef>
                <a:spcPts val="528"/>
              </a:spcBef>
              <a:spcAft>
                <a:spcPts val="0"/>
              </a:spcAft>
              <a:buClr>
                <a:schemeClr val="accent1"/>
              </a:buClr>
              <a:buFont typeface="Arial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Arial"/>
              </a:defRPr>
            </a:lvl4pPr>
            <a:lvl5pPr marL="857250" indent="-166688" algn="l" defTabSz="457200" rtl="0" eaLnBrk="1" latinLnBrk="0" hangingPunct="1">
              <a:spcBef>
                <a:spcPts val="528"/>
              </a:spcBef>
              <a:spcAft>
                <a:spcPts val="0"/>
              </a:spcAft>
              <a:buClr>
                <a:schemeClr val="accent1"/>
              </a:buClr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/>
              </a:defRPr>
            </a:lvl5pPr>
            <a:lvl6pPr marL="800100" indent="-114300" algn="l" defTabSz="457200" rtl="0" eaLnBrk="1" latinLnBrk="0" hangingPunct="1">
              <a:spcBef>
                <a:spcPts val="528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5988" indent="-115888" algn="l" defTabSz="457200" rtl="0" eaLnBrk="1" latinLnBrk="0" hangingPunct="1">
              <a:spcBef>
                <a:spcPts val="528"/>
              </a:spcBef>
              <a:spcAft>
                <a:spcPts val="0"/>
              </a:spcAft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30288" indent="-114300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•"/>
              <a:defRPr sz="105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198563" indent="-106363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•"/>
              <a:defRPr sz="105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9388" marR="0" lvl="1" algn="l" defTabSz="457200" rtl="0" eaLnBrk="1" fontAlgn="auto" latinLnBrk="0" hangingPunct="1">
              <a:lnSpc>
                <a:spcPct val="100000"/>
              </a:lnSpc>
              <a:spcBef>
                <a:spcPts val="528"/>
              </a:spcBef>
              <a:spcAft>
                <a:spcPts val="0"/>
              </a:spcAft>
              <a:buClr>
                <a:srgbClr val="0078A9"/>
              </a:buClr>
              <a:buSzTx/>
              <a:buFont typeface="Arial"/>
              <a:buChar char="•"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apacity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8,000 tons/year </a:t>
            </a:r>
          </a:p>
          <a:p>
            <a:pPr marL="179388" marR="0" lvl="2" algn="l" defTabSz="457200" rtl="0" eaLnBrk="1" fontAlgn="auto" latinLnBrk="0" hangingPunct="1">
              <a:lnSpc>
                <a:spcPct val="100000"/>
              </a:lnSpc>
              <a:spcBef>
                <a:spcPts val="528"/>
              </a:spcBef>
              <a:spcAft>
                <a:spcPts val="0"/>
              </a:spcAft>
              <a:buClr>
                <a:srgbClr val="0078A9"/>
              </a:buClr>
              <a:buSzTx/>
              <a:buFont typeface="Arial"/>
              <a:buChar char="•"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Product range </a:t>
            </a:r>
          </a:p>
          <a:p>
            <a:pPr marL="358775" marR="0" lvl="3" indent="-179388" algn="l" defTabSz="457200" rtl="0" eaLnBrk="1" fontAlgn="auto" latinLnBrk="0" hangingPunct="1">
              <a:lnSpc>
                <a:spcPct val="100000"/>
              </a:lnSpc>
              <a:spcBef>
                <a:spcPts val="528"/>
              </a:spcBef>
              <a:spcAft>
                <a:spcPts val="0"/>
              </a:spcAft>
              <a:buClr>
                <a:srgbClr val="0078A9"/>
              </a:buClr>
              <a:buSzTx/>
              <a:buFont typeface="System Font Regular"/>
              <a:buChar char="-"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Epoxy</a:t>
            </a:r>
          </a:p>
          <a:p>
            <a:pPr marL="358775" marR="0" lvl="3" indent="-179388" algn="l" defTabSz="457200" rtl="0" eaLnBrk="1" fontAlgn="auto" latinLnBrk="0" hangingPunct="1">
              <a:lnSpc>
                <a:spcPct val="100000"/>
              </a:lnSpc>
              <a:spcBef>
                <a:spcPts val="528"/>
              </a:spcBef>
              <a:spcAft>
                <a:spcPts val="0"/>
              </a:spcAft>
              <a:buClr>
                <a:srgbClr val="0078A9"/>
              </a:buClr>
              <a:buSzTx/>
              <a:buFont typeface="System Font Regular"/>
              <a:buChar char="-"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Epoxy-Polyester</a:t>
            </a:r>
          </a:p>
          <a:p>
            <a:pPr marL="358775" marR="0" lvl="3" indent="-179388" algn="l" defTabSz="457200" rtl="0" eaLnBrk="1" fontAlgn="auto" latinLnBrk="0" hangingPunct="1">
              <a:lnSpc>
                <a:spcPct val="100000"/>
              </a:lnSpc>
              <a:spcBef>
                <a:spcPts val="528"/>
              </a:spcBef>
              <a:spcAft>
                <a:spcPts val="0"/>
              </a:spcAft>
              <a:buClr>
                <a:srgbClr val="0078A9"/>
              </a:buClr>
              <a:buSzTx/>
              <a:buFont typeface="System Font Regular"/>
              <a:buChar char="-"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Polyester</a:t>
            </a:r>
          </a:p>
          <a:p>
            <a:pPr marL="358775" marR="0" lvl="3" indent="-179388" algn="l" defTabSz="457200" rtl="0" eaLnBrk="1" fontAlgn="auto" latinLnBrk="0" hangingPunct="1">
              <a:lnSpc>
                <a:spcPct val="100000"/>
              </a:lnSpc>
              <a:spcBef>
                <a:spcPts val="528"/>
              </a:spcBef>
              <a:spcAft>
                <a:spcPts val="0"/>
              </a:spcAft>
              <a:buClr>
                <a:srgbClr val="0078A9"/>
              </a:buClr>
              <a:buSzTx/>
              <a:buFont typeface="System Font Regular"/>
              <a:buChar char="-"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Polyurethane</a:t>
            </a:r>
          </a:p>
        </p:txBody>
      </p:sp>
      <p:sp>
        <p:nvSpPr>
          <p:cNvPr id="32" name="Content Placeholder 10">
            <a:extLst>
              <a:ext uri="{FF2B5EF4-FFF2-40B4-BE49-F238E27FC236}">
                <a16:creationId xmlns:a16="http://schemas.microsoft.com/office/drawing/2014/main" id="{8F83CB9D-96F2-45F6-A014-D61F6689C1B4}"/>
              </a:ext>
            </a:extLst>
          </p:cNvPr>
          <p:cNvSpPr txBox="1">
            <a:spLocks/>
          </p:cNvSpPr>
          <p:nvPr/>
        </p:nvSpPr>
        <p:spPr>
          <a:xfrm>
            <a:off x="8350679" y="3535826"/>
            <a:ext cx="3617033" cy="2788708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>
            <a:lvl1pPr marL="233363" indent="-233363" algn="l" defTabSz="457200" rtl="0" eaLnBrk="1" latinLnBrk="0" hangingPunct="1">
              <a:spcBef>
                <a:spcPts val="528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Arial"/>
              </a:defRPr>
            </a:lvl1pPr>
            <a:lvl2pPr marL="339725" indent="-169863" algn="l" defTabSz="457200" rtl="0" eaLnBrk="1" latinLnBrk="0" hangingPunct="1">
              <a:spcBef>
                <a:spcPts val="528"/>
              </a:spcBef>
              <a:spcAft>
                <a:spcPts val="0"/>
              </a:spcAft>
              <a:buClr>
                <a:schemeClr val="accent1"/>
              </a:buClr>
              <a:buFont typeface="Arial"/>
              <a:buChar char="•"/>
              <a:defRPr sz="22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509588" indent="-169863" algn="l" defTabSz="457200" rtl="0" eaLnBrk="1" latinLnBrk="0" hangingPunct="1">
              <a:spcBef>
                <a:spcPts val="528"/>
              </a:spcBef>
              <a:spcAft>
                <a:spcPts val="0"/>
              </a:spcAft>
              <a:buClr>
                <a:schemeClr val="accent1"/>
              </a:buClr>
              <a:buFont typeface="Arial"/>
              <a:buChar char="•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Arial"/>
              </a:defRPr>
            </a:lvl3pPr>
            <a:lvl4pPr marL="690563" indent="-180975" algn="l" defTabSz="457200" rtl="0" eaLnBrk="1" latinLnBrk="0" hangingPunct="1">
              <a:spcBef>
                <a:spcPts val="528"/>
              </a:spcBef>
              <a:spcAft>
                <a:spcPts val="0"/>
              </a:spcAft>
              <a:buClr>
                <a:schemeClr val="accent1"/>
              </a:buClr>
              <a:buFont typeface="Arial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Arial"/>
              </a:defRPr>
            </a:lvl4pPr>
            <a:lvl5pPr marL="857250" indent="-166688" algn="l" defTabSz="457200" rtl="0" eaLnBrk="1" latinLnBrk="0" hangingPunct="1">
              <a:spcBef>
                <a:spcPts val="528"/>
              </a:spcBef>
              <a:spcAft>
                <a:spcPts val="0"/>
              </a:spcAft>
              <a:buClr>
                <a:schemeClr val="accent1"/>
              </a:buClr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/>
              </a:defRPr>
            </a:lvl5pPr>
            <a:lvl6pPr marL="800100" indent="-114300" algn="l" defTabSz="457200" rtl="0" eaLnBrk="1" latinLnBrk="0" hangingPunct="1">
              <a:spcBef>
                <a:spcPts val="528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5988" indent="-115888" algn="l" defTabSz="457200" rtl="0" eaLnBrk="1" latinLnBrk="0" hangingPunct="1">
              <a:spcBef>
                <a:spcPts val="528"/>
              </a:spcBef>
              <a:spcAft>
                <a:spcPts val="0"/>
              </a:spcAft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30288" indent="-114300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•"/>
              <a:defRPr sz="105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198563" indent="-106363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•"/>
              <a:defRPr sz="105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9388" marR="0" lvl="1" algn="l" defTabSz="457200" rtl="0" eaLnBrk="1" fontAlgn="auto" latinLnBrk="0" hangingPunct="1">
              <a:lnSpc>
                <a:spcPct val="100000"/>
              </a:lnSpc>
              <a:spcBef>
                <a:spcPts val="528"/>
              </a:spcBef>
              <a:spcAft>
                <a:spcPts val="0"/>
              </a:spcAft>
              <a:buClr>
                <a:srgbClr val="0078A9"/>
              </a:buClr>
              <a:buSzTx/>
              <a:buFont typeface="Arial"/>
              <a:buChar char="•"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apacity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500 tons/year </a:t>
            </a:r>
          </a:p>
          <a:p>
            <a:pPr marL="179388" marR="0" lvl="2" algn="l" defTabSz="457200" rtl="0" eaLnBrk="1" fontAlgn="auto" latinLnBrk="0" hangingPunct="1">
              <a:lnSpc>
                <a:spcPct val="100000"/>
              </a:lnSpc>
              <a:spcBef>
                <a:spcPts val="528"/>
              </a:spcBef>
              <a:spcAft>
                <a:spcPts val="0"/>
              </a:spcAft>
              <a:buClr>
                <a:srgbClr val="0078A9"/>
              </a:buClr>
              <a:buSzTx/>
              <a:buFont typeface="Arial"/>
              <a:buChar char="•"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Product range </a:t>
            </a:r>
          </a:p>
          <a:p>
            <a:pPr marL="358775" marR="0" lvl="3" indent="-179388" algn="l" defTabSz="457200" rtl="0" eaLnBrk="1" fontAlgn="auto" latinLnBrk="0" hangingPunct="1">
              <a:lnSpc>
                <a:spcPct val="100000"/>
              </a:lnSpc>
              <a:spcBef>
                <a:spcPts val="528"/>
              </a:spcBef>
              <a:spcAft>
                <a:spcPts val="0"/>
              </a:spcAft>
              <a:buClr>
                <a:srgbClr val="0078A9"/>
              </a:buClr>
              <a:buSzTx/>
              <a:buFont typeface="System Font Regular"/>
              <a:buChar char="-"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GMA Acrylic</a:t>
            </a:r>
          </a:p>
          <a:p>
            <a:pPr marL="358775" marR="0" lvl="3" indent="-179388" algn="l" defTabSz="457200" rtl="0" eaLnBrk="1" fontAlgn="auto" latinLnBrk="0" hangingPunct="1">
              <a:lnSpc>
                <a:spcPct val="100000"/>
              </a:lnSpc>
              <a:spcBef>
                <a:spcPts val="528"/>
              </a:spcBef>
              <a:spcAft>
                <a:spcPts val="0"/>
              </a:spcAft>
              <a:buClr>
                <a:srgbClr val="0078A9"/>
              </a:buClr>
              <a:buSzTx/>
              <a:buFont typeface="System Font Regular"/>
              <a:buChar char="-"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Polyester Acrylic</a:t>
            </a:r>
          </a:p>
        </p:txBody>
      </p:sp>
      <p:sp>
        <p:nvSpPr>
          <p:cNvPr id="29" name="Title 3">
            <a:extLst>
              <a:ext uri="{FF2B5EF4-FFF2-40B4-BE49-F238E27FC236}">
                <a16:creationId xmlns:a16="http://schemas.microsoft.com/office/drawing/2014/main" id="{31035223-7A55-4F5E-A285-6E0A8D983EA3}"/>
              </a:ext>
            </a:extLst>
          </p:cNvPr>
          <p:cNvSpPr txBox="1">
            <a:spLocks/>
          </p:cNvSpPr>
          <p:nvPr/>
        </p:nvSpPr>
        <p:spPr>
          <a:xfrm>
            <a:off x="312883" y="323849"/>
            <a:ext cx="11670783" cy="859536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Arial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j-ea"/>
                <a:cs typeface="Arial"/>
              </a:rPr>
              <a:t>EMEA Powder Production Footprint</a:t>
            </a:r>
            <a:endParaRPr kumimoji="0" lang="pl-PL" sz="2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j-ea"/>
              <a:cs typeface="Arial"/>
            </a:endParaRPr>
          </a:p>
        </p:txBody>
      </p:sp>
      <p:sp>
        <p:nvSpPr>
          <p:cNvPr id="19" name="Slide Number Placeholder 2">
            <a:extLst>
              <a:ext uri="{FF2B5EF4-FFF2-40B4-BE49-F238E27FC236}">
                <a16:creationId xmlns:a16="http://schemas.microsoft.com/office/drawing/2014/main" id="{30471DC2-9E26-0C42-B148-60E12EE77486}"/>
              </a:ext>
            </a:extLst>
          </p:cNvPr>
          <p:cNvSpPr txBox="1">
            <a:spLocks/>
          </p:cNvSpPr>
          <p:nvPr/>
        </p:nvSpPr>
        <p:spPr>
          <a:xfrm>
            <a:off x="308056" y="6496407"/>
            <a:ext cx="455756" cy="17222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chemeClr val="tx2"/>
                </a:solidFill>
                <a:latin typeface="+mn-lt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666666"/>
                </a:solidFill>
                <a:latin typeface="Arial" panose="020B0604020202020204"/>
              </a:rPr>
              <a:t>7</a:t>
            </a:r>
          </a:p>
        </p:txBody>
      </p:sp>
      <p:sp>
        <p:nvSpPr>
          <p:cNvPr id="20" name="Footer Placeholder 1">
            <a:extLst>
              <a:ext uri="{FF2B5EF4-FFF2-40B4-BE49-F238E27FC236}">
                <a16:creationId xmlns:a16="http://schemas.microsoft.com/office/drawing/2014/main" id="{61B56B05-7715-E84D-8A26-610F6338BE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63811" y="6496407"/>
            <a:ext cx="9460550" cy="172221"/>
          </a:xfrm>
        </p:spPr>
        <p:txBody>
          <a:bodyPr/>
          <a:lstStyle/>
          <a:p>
            <a:pPr marL="0" marR="0" lvl="0" indent="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Powder Coatings from PPG ©2023 PPG Industries, Inc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621096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6950BFC3-D8DA-4A85-94F7-54DA5524770B}">
      <p188:commentRel xmlns:p188="http://schemas.microsoft.com/office/powerpoint/2018/8/main" r:id="rId2"/>
    </p:ext>
  </p:extLs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_qdXvWUS9Wix8nJPqHtaQ"/>
</p:tagLst>
</file>

<file path=ppt/theme/theme1.xml><?xml version="1.0" encoding="utf-8"?>
<a:theme xmlns:a="http://schemas.openxmlformats.org/drawingml/2006/main" name="1_Master slide">
  <a:themeElements>
    <a:clrScheme name="PPG 2">
      <a:dk1>
        <a:sysClr val="windowText" lastClr="000000"/>
      </a:dk1>
      <a:lt1>
        <a:sysClr val="window" lastClr="FFFFFF"/>
      </a:lt1>
      <a:dk2>
        <a:srgbClr val="666666"/>
      </a:dk2>
      <a:lt2>
        <a:srgbClr val="FFFFFF"/>
      </a:lt2>
      <a:accent1>
        <a:srgbClr val="0078A9"/>
      </a:accent1>
      <a:accent2>
        <a:srgbClr val="3EC7F4"/>
      </a:accent2>
      <a:accent3>
        <a:srgbClr val="0033A0"/>
      </a:accent3>
      <a:accent4>
        <a:srgbClr val="00B149"/>
      </a:accent4>
      <a:accent5>
        <a:srgbClr val="D0006F"/>
      </a:accent5>
      <a:accent6>
        <a:srgbClr val="FF7C13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D6498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Master slide">
  <a:themeElements>
    <a:clrScheme name="PPG 2">
      <a:dk1>
        <a:sysClr val="windowText" lastClr="000000"/>
      </a:dk1>
      <a:lt1>
        <a:sysClr val="window" lastClr="FFFFFF"/>
      </a:lt1>
      <a:dk2>
        <a:srgbClr val="666666"/>
      </a:dk2>
      <a:lt2>
        <a:srgbClr val="FFFFFF"/>
      </a:lt2>
      <a:accent1>
        <a:srgbClr val="0078A9"/>
      </a:accent1>
      <a:accent2>
        <a:srgbClr val="3EC7F4"/>
      </a:accent2>
      <a:accent3>
        <a:srgbClr val="0033A0"/>
      </a:accent3>
      <a:accent4>
        <a:srgbClr val="00B149"/>
      </a:accent4>
      <a:accent5>
        <a:srgbClr val="D0006F"/>
      </a:accent5>
      <a:accent6>
        <a:srgbClr val="FF7C13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D6498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PG Widescreen Template_11-08-17.pptx" id="{0199AC34-CE77-4224-AB6C-DE67587FAE49}" vid="{D3BFD4E8-924D-4011-BFB0-A12F02ED353A}"/>
    </a:ext>
  </a:extLst>
</a:theme>
</file>

<file path=ppt/theme/theme3.xml><?xml version="1.0" encoding="utf-8"?>
<a:theme xmlns:a="http://schemas.openxmlformats.org/drawingml/2006/main" name="2_Master slide">
  <a:themeElements>
    <a:clrScheme name="PPG 2">
      <a:dk1>
        <a:sysClr val="windowText" lastClr="000000"/>
      </a:dk1>
      <a:lt1>
        <a:sysClr val="window" lastClr="FFFFFF"/>
      </a:lt1>
      <a:dk2>
        <a:srgbClr val="666666"/>
      </a:dk2>
      <a:lt2>
        <a:srgbClr val="FFFFFF"/>
      </a:lt2>
      <a:accent1>
        <a:srgbClr val="0078A9"/>
      </a:accent1>
      <a:accent2>
        <a:srgbClr val="3EC7F4"/>
      </a:accent2>
      <a:accent3>
        <a:srgbClr val="0033A0"/>
      </a:accent3>
      <a:accent4>
        <a:srgbClr val="00B149"/>
      </a:accent4>
      <a:accent5>
        <a:srgbClr val="D0006F"/>
      </a:accent5>
      <a:accent6>
        <a:srgbClr val="FF7C13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D6498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3_Master slide">
  <a:themeElements>
    <a:clrScheme name="PPG 2">
      <a:dk1>
        <a:sysClr val="windowText" lastClr="000000"/>
      </a:dk1>
      <a:lt1>
        <a:sysClr val="window" lastClr="FFFFFF"/>
      </a:lt1>
      <a:dk2>
        <a:srgbClr val="666666"/>
      </a:dk2>
      <a:lt2>
        <a:srgbClr val="FFFFFF"/>
      </a:lt2>
      <a:accent1>
        <a:srgbClr val="0078A9"/>
      </a:accent1>
      <a:accent2>
        <a:srgbClr val="3EC7F4"/>
      </a:accent2>
      <a:accent3>
        <a:srgbClr val="0033A0"/>
      </a:accent3>
      <a:accent4>
        <a:srgbClr val="00B149"/>
      </a:accent4>
      <a:accent5>
        <a:srgbClr val="D0006F"/>
      </a:accent5>
      <a:accent6>
        <a:srgbClr val="FF7C13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D6498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PG Widescreen Template_11-08-17.pptx" id="{0199AC34-CE77-4224-AB6C-DE67587FAE49}" vid="{D3BFD4E8-924D-4011-BFB0-A12F02ED353A}"/>
    </a:ext>
  </a:extLst>
</a:theme>
</file>

<file path=ppt/theme/theme5.xml><?xml version="1.0" encoding="utf-8"?>
<a:theme xmlns:a="http://schemas.openxmlformats.org/drawingml/2006/main" name="5_Master slide">
  <a:themeElements>
    <a:clrScheme name="PPG 2">
      <a:dk1>
        <a:sysClr val="windowText" lastClr="000000"/>
      </a:dk1>
      <a:lt1>
        <a:sysClr val="window" lastClr="FFFFFF"/>
      </a:lt1>
      <a:dk2>
        <a:srgbClr val="666666"/>
      </a:dk2>
      <a:lt2>
        <a:srgbClr val="FFFFFF"/>
      </a:lt2>
      <a:accent1>
        <a:srgbClr val="0078A9"/>
      </a:accent1>
      <a:accent2>
        <a:srgbClr val="3EC7F4"/>
      </a:accent2>
      <a:accent3>
        <a:srgbClr val="0033A0"/>
      </a:accent3>
      <a:accent4>
        <a:srgbClr val="00B149"/>
      </a:accent4>
      <a:accent5>
        <a:srgbClr val="D0006F"/>
      </a:accent5>
      <a:accent6>
        <a:srgbClr val="FF7C13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D6498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PG Widescreen Template_11-08-17.pptx" id="{0199AC34-CE77-4224-AB6C-DE67587FAE49}" vid="{D3BFD4E8-924D-4011-BFB0-A12F02ED353A}"/>
    </a:ext>
  </a:extLst>
</a:theme>
</file>

<file path=ppt/theme/theme6.xml><?xml version="1.0" encoding="utf-8"?>
<a:theme xmlns:a="http://schemas.openxmlformats.org/drawingml/2006/main" name="4_Master slide">
  <a:themeElements>
    <a:clrScheme name="PPG 2">
      <a:dk1>
        <a:sysClr val="windowText" lastClr="000000"/>
      </a:dk1>
      <a:lt1>
        <a:sysClr val="window" lastClr="FFFFFF"/>
      </a:lt1>
      <a:dk2>
        <a:srgbClr val="666666"/>
      </a:dk2>
      <a:lt2>
        <a:srgbClr val="FFFFFF"/>
      </a:lt2>
      <a:accent1>
        <a:srgbClr val="0078A9"/>
      </a:accent1>
      <a:accent2>
        <a:srgbClr val="3EC7F4"/>
      </a:accent2>
      <a:accent3>
        <a:srgbClr val="0033A0"/>
      </a:accent3>
      <a:accent4>
        <a:srgbClr val="00B149"/>
      </a:accent4>
      <a:accent5>
        <a:srgbClr val="D0006F"/>
      </a:accent5>
      <a:accent6>
        <a:srgbClr val="FF7C13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D6498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PG Widescreen Template_11-08-17.pptx" id="{0199AC34-CE77-4224-AB6C-DE67587FAE49}" vid="{D3BFD4E8-924D-4011-BFB0-A12F02ED353A}"/>
    </a:ext>
  </a:extLst>
</a:theme>
</file>

<file path=ppt/theme/theme7.xml><?xml version="1.0" encoding="utf-8"?>
<a:theme xmlns:a="http://schemas.openxmlformats.org/drawingml/2006/main" name="6_Master slide">
  <a:themeElements>
    <a:clrScheme name="PPG 2">
      <a:dk1>
        <a:sysClr val="windowText" lastClr="000000"/>
      </a:dk1>
      <a:lt1>
        <a:sysClr val="window" lastClr="FFFFFF"/>
      </a:lt1>
      <a:dk2>
        <a:srgbClr val="666666"/>
      </a:dk2>
      <a:lt2>
        <a:srgbClr val="FFFFFF"/>
      </a:lt2>
      <a:accent1>
        <a:srgbClr val="0078A9"/>
      </a:accent1>
      <a:accent2>
        <a:srgbClr val="3EC7F4"/>
      </a:accent2>
      <a:accent3>
        <a:srgbClr val="0033A0"/>
      </a:accent3>
      <a:accent4>
        <a:srgbClr val="00B149"/>
      </a:accent4>
      <a:accent5>
        <a:srgbClr val="D0006F"/>
      </a:accent5>
      <a:accent6>
        <a:srgbClr val="FF7C13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PG Widescreen Template_11-08-17.pptx" id="{0199AC34-CE77-4224-AB6C-DE67587FAE49}" vid="{D3BFD4E8-924D-4011-BFB0-A12F02ED353A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578A49D8C036045A52CEC5D55B50B59" ma:contentTypeVersion="17" ma:contentTypeDescription="Create a new document." ma:contentTypeScope="" ma:versionID="6f26e24dcec0ad266714a7583cb8599c">
  <xsd:schema xmlns:xsd="http://www.w3.org/2001/XMLSchema" xmlns:xs="http://www.w3.org/2001/XMLSchema" xmlns:p="http://schemas.microsoft.com/office/2006/metadata/properties" xmlns:ns2="ed1eb06f-e50d-4d39-a2a3-cba2ce3ec54c" xmlns:ns3="73e7704a-a064-4748-a378-bdc9486f9324" targetNamespace="http://schemas.microsoft.com/office/2006/metadata/properties" ma:root="true" ma:fieldsID="739370351487c4cc61df5940329519c0" ns2:_="" ns3:_="">
    <xsd:import namespace="ed1eb06f-e50d-4d39-a2a3-cba2ce3ec54c"/>
    <xsd:import namespace="73e7704a-a064-4748-a378-bdc9486f932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d1eb06f-e50d-4d39-a2a3-cba2ce3ec54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62fd6493-12f4-40ee-a142-2575533147f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4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3e7704a-a064-4748-a378-bdc9486f9324" elementFormDefault="qualified">
    <xsd:import namespace="http://schemas.microsoft.com/office/2006/documentManagement/types"/>
    <xsd:import namespace="http://schemas.microsoft.com/office/infopath/2007/PartnerControls"/>
    <xsd:element name="TaxCatchAll" ma:index="20" nillable="true" ma:displayName="Taxonomy Catch All Column" ma:hidden="true" ma:list="{b248ed8c-ddbe-4d8e-8718-fd14655bf56d}" ma:internalName="TaxCatchAll" ma:showField="CatchAllData" ma:web="73e7704a-a064-4748-a378-bdc9486f932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73e7704a-a064-4748-a378-bdc9486f9324" xsi:nil="true"/>
    <lcf76f155ced4ddcb4097134ff3c332f xmlns="ed1eb06f-e50d-4d39-a2a3-cba2ce3ec54c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962C057A-555D-4539-926E-F6CFE4ED22B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2AC181B-8E78-4616-ABCA-31753F29F27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d1eb06f-e50d-4d39-a2a3-cba2ce3ec54c"/>
    <ds:schemaRef ds:uri="73e7704a-a064-4748-a378-bdc9486f932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6A3F4CBA-9259-4A23-8ED0-3DD3EF64EC52}">
  <ds:schemaRefs>
    <ds:schemaRef ds:uri="http://purl.org/dc/elements/1.1/"/>
    <ds:schemaRef ds:uri="http://schemas.openxmlformats.org/package/2006/metadata/core-properties"/>
    <ds:schemaRef ds:uri="http://schemas.microsoft.com/office/2006/metadata/properties"/>
    <ds:schemaRef ds:uri="http://schemas.microsoft.com/office/2006/documentManagement/types"/>
    <ds:schemaRef ds:uri="http://purl.org/dc/dcmitype/"/>
    <ds:schemaRef ds:uri="http://purl.org/dc/terms/"/>
    <ds:schemaRef ds:uri="http://www.w3.org/XML/1998/namespace"/>
    <ds:schemaRef ds:uri="http://schemas.microsoft.com/office/infopath/2007/PartnerControls"/>
    <ds:schemaRef ds:uri="6166d815-c713-458f-9de6-c023c87f98b5"/>
    <ds:schemaRef ds:uri="73e7704a-a064-4748-a378-bdc9486f9324"/>
    <ds:schemaRef ds:uri="ed1eb06f-e50d-4d39-a2a3-cba2ce3ec54c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63</TotalTime>
  <Words>2840</Words>
  <Application>Microsoft Office PowerPoint</Application>
  <PresentationFormat>Widescreen</PresentationFormat>
  <Paragraphs>592</Paragraphs>
  <Slides>30</Slides>
  <Notes>2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0</vt:i4>
      </vt:variant>
    </vt:vector>
  </HeadingPairs>
  <TitlesOfParts>
    <vt:vector size="44" baseType="lpstr">
      <vt:lpstr>Arial</vt:lpstr>
      <vt:lpstr>Calibri</vt:lpstr>
      <vt:lpstr>Gotham Light</vt:lpstr>
      <vt:lpstr>Segoe UI</vt:lpstr>
      <vt:lpstr>Segoe UI Semilight</vt:lpstr>
      <vt:lpstr>System Font Regular</vt:lpstr>
      <vt:lpstr>1_Master slide</vt:lpstr>
      <vt:lpstr>Master slide</vt:lpstr>
      <vt:lpstr>2_Master slide</vt:lpstr>
      <vt:lpstr>3_Master slide</vt:lpstr>
      <vt:lpstr>5_Master slide</vt:lpstr>
      <vt:lpstr>4_Master slide</vt:lpstr>
      <vt:lpstr>6_Master slide</vt:lpstr>
      <vt:lpstr>think-cell Slide</vt:lpstr>
      <vt:lpstr>Industrial Coatings from PPG</vt:lpstr>
      <vt:lpstr>Industrial Coatings from PPG</vt:lpstr>
      <vt:lpstr>PPG is a global maker of paints, coatings and specialty materials</vt:lpstr>
      <vt:lpstr>We are a recognized leader in…</vt:lpstr>
      <vt:lpstr>We are one of the few suppliers offering products and capabilities in every major coatings technology</vt:lpstr>
      <vt:lpstr>Global Reach</vt:lpstr>
      <vt:lpstr>Global powder manufacturing footprint</vt:lpstr>
      <vt:lpstr>EMEA Facilities</vt:lpstr>
      <vt:lpstr>PowerPoint Presentation</vt:lpstr>
      <vt:lpstr>PowerPoint Presentation</vt:lpstr>
      <vt:lpstr>PowerPoint Presentation</vt:lpstr>
      <vt:lpstr>Powder Coatings from PPG</vt:lpstr>
      <vt:lpstr>PowerPoint Presentation</vt:lpstr>
      <vt:lpstr>Powder innovative technologies responding to industry challenges</vt:lpstr>
      <vt:lpstr>Powder innovative technologies responding to industry challenges</vt:lpstr>
      <vt:lpstr>ENVIROCRON ENERGXTM ULTRA  Ultradurable low bake powder topcoat - efficient and sustainable</vt:lpstr>
      <vt:lpstr>How EnergX ULTRA can help you?</vt:lpstr>
      <vt:lpstr>Become safer! Protect your people and your products.</vt:lpstr>
      <vt:lpstr>Become stronger! Weathering resistance at the highest level.</vt:lpstr>
      <vt:lpstr>Become more efficient! EnergX ULTRA speedcure option – reduced curing time for increased line speed. </vt:lpstr>
      <vt:lpstr>Become more efficient! EnergX ULTRA speedcure option – a case study</vt:lpstr>
      <vt:lpstr>Become more efficient! EnergX ULTRA speedcure option – a case study</vt:lpstr>
      <vt:lpstr>Become more efficient! EnergX ULTRA speedcure option – a case study</vt:lpstr>
      <vt:lpstr>Become more sustainable! EnergX ULTRA low cure option – reduced curing temperature for energy savings.</vt:lpstr>
      <vt:lpstr>Become more sustainable! EnergX ULTRA low cure option – a case study</vt:lpstr>
      <vt:lpstr>Become more sustainable! EnergX ULTRA low cure option – a case study</vt:lpstr>
      <vt:lpstr>Become more sustainable! EnergX ULTRA low cure option – a case study</vt:lpstr>
      <vt:lpstr>A curing window with high process stability</vt:lpstr>
      <vt:lpstr>Performance features at a glance</vt:lpstr>
      <vt:lpstr>What can we do to enhance your products? </vt:lpstr>
    </vt:vector>
  </TitlesOfParts>
  <Company>PPG Industries,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genthaler, Anya [C]</dc:creator>
  <cp:lastModifiedBy>Munarini, Jessica</cp:lastModifiedBy>
  <cp:revision>597</cp:revision>
  <cp:lastPrinted>2020-09-15T06:26:44Z</cp:lastPrinted>
  <dcterms:created xsi:type="dcterms:W3CDTF">2016-03-30T12:35:36Z</dcterms:created>
  <dcterms:modified xsi:type="dcterms:W3CDTF">2023-09-06T15:29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4BCF388937CE94D8436FF915F64611B</vt:lpwstr>
  </property>
  <property fmtid="{D5CDD505-2E9C-101B-9397-08002B2CF9AE}" pid="3" name="Order">
    <vt:r8>10900</vt:r8>
  </property>
  <property fmtid="{D5CDD505-2E9C-101B-9397-08002B2CF9AE}" pid="4" name="xd_ProgID">
    <vt:lpwstr/>
  </property>
  <property fmtid="{D5CDD505-2E9C-101B-9397-08002B2CF9AE}" pid="5" name="TemplateUrl">
    <vt:lpwstr/>
  </property>
  <property fmtid="{D5CDD505-2E9C-101B-9397-08002B2CF9AE}" pid="6" name="MediaServiceImageTags">
    <vt:lpwstr/>
  </property>
</Properties>
</file>